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charts/chartEx2.xml" ContentType="application/vnd.ms-office.chartex+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notesSlides/notesSlide6.xml" ContentType="application/vnd.openxmlformats-officedocument.presentationml.notesSlide+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3.xml" ContentType="application/vnd.openxmlformats-officedocument.themeOverride+xml"/>
  <Override PartName="/ppt/drawings/drawing2.xml" ContentType="application/vnd.openxmlformats-officedocument.drawingml.chartshape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4.xml" ContentType="application/vnd.openxmlformats-officedocument.themeOverride+xml"/>
  <Override PartName="/ppt/notesSlides/notesSlide7.xml" ContentType="application/vnd.openxmlformats-officedocument.presentationml.notesSlide+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5.xml" ContentType="application/vnd.openxmlformats-officedocument.themeOverride+xml"/>
  <Override PartName="/ppt/comments/comment1.xml" ContentType="application/vnd.openxmlformats-officedocument.presentationml.comments+xml"/>
  <Override PartName="/ppt/comments/comment2.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66" r:id="rId3"/>
  </p:sldMasterIdLst>
  <p:notesMasterIdLst>
    <p:notesMasterId r:id="rId12"/>
  </p:notesMasterIdLst>
  <p:sldIdLst>
    <p:sldId id="257" r:id="rId4"/>
    <p:sldId id="258" r:id="rId5"/>
    <p:sldId id="261" r:id="rId6"/>
    <p:sldId id="262" r:id="rId7"/>
    <p:sldId id="260" r:id="rId8"/>
    <p:sldId id="267" r:id="rId9"/>
    <p:sldId id="268" r:id="rId10"/>
    <p:sldId id="269"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ib Kaplan" initials="LK" lastIdx="2" clrIdx="0">
    <p:extLst>
      <p:ext uri="{19B8F6BF-5375-455C-9EA6-DF929625EA0E}">
        <p15:presenceInfo xmlns:p15="http://schemas.microsoft.com/office/powerpoint/2012/main" userId="35a63cd63ebff61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4" d="100"/>
          <a:sy n="114" d="100"/>
        </p:scale>
        <p:origin x="41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Users\Lachino\Downloads\Springboard%20Projects%20-%20Cleanup\SW_Corp_Economics_Student_Facing_Updated%20-%20Derick%20Lai%2012.19.19%20EDI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Lachino\Downloads\Springboard%20Projects%20-%20Cleanup\SW_Corp_Economics_Student_Facing_Updated%20-%20Derick%20Lai%2012.19.19%20EDI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Lachino\Downloads\Springboard%20Projects%20-%20Cleanup\SW_Corp_Economics_Student_Facing_Updated%20-%20Derick%20Lai%2012.19.19%20EDI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Lachino\Downloads\Springboard%20Projects%20-%20Cleanup\SW_Corp_Economics_Student_Facing_Updated%20-%20Derick%20Lai%2012.19.19%20EDIT.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Janitor\Desktop\Springboard%20-%20Data%20Analytics\Springboard%20-%20DA%20-%20Chapter%207\SW_Corp_Economics_Student_Facing_Updated%20-%20Derick%20Lai%2012.19.19%20EDIT.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2.xml"/><Relationship Id="rId4" Type="http://schemas.openxmlformats.org/officeDocument/2006/relationships/package" Target="../embeddings/Microsoft_Excel_Worksheet.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1.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2.xlsx"/></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C:\Users\Janitor\Desktop\Springboard%20-%20Data%20Analytics\Springboard%20-%20DA%20-%20Chapter%2011\SW%20Stats%20Slides%20-%20Derick%20Lai.xlsx" TargetMode="External"/><Relationship Id="rId4" Type="http://schemas.openxmlformats.org/officeDocument/2006/relationships/themeOverride" Target="../theme/themeOverride1.xml"/></Relationships>
</file>

<file path=ppt/charts/_rels/chartEx2.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C:\Users\Janitor\Desktop\Springboard%20-%20Data%20Analytics\Springboard%20-%20DA%20-%20Chapter%2011\SW%20Stats%20Slides%20-%20Derick%20Lai.xlsx" TargetMode="External"/><Relationship Id="rId4"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AU" sz="1200" b="1" dirty="0"/>
              <a:t>Rolling Year-to-Date Cost to Produce per </a:t>
            </a:r>
            <a:r>
              <a:rPr lang="en-AU" sz="1200" b="1" dirty="0" err="1"/>
              <a:t>MegaLitre</a:t>
            </a:r>
            <a:r>
              <a:rPr lang="en-AU" sz="1200" b="1" dirty="0"/>
              <a:t> ($/Mega-Litre) Actual 2013-Jul to 2014-Jun Versus 2014-2015 Forecast [Overall]</a:t>
            </a:r>
          </a:p>
        </c:rich>
      </c:tx>
      <c:layout>
        <c:manualLayout>
          <c:xMode val="edge"/>
          <c:yMode val="edge"/>
          <c:x val="0.10922129265091864"/>
          <c:y val="1.298266286341659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areaChart>
        <c:grouping val="standard"/>
        <c:varyColors val="0"/>
        <c:ser>
          <c:idx val="0"/>
          <c:order val="0"/>
          <c:tx>
            <c:v/>
          </c:tx>
          <c:spPr>
            <a:solidFill>
              <a:schemeClr val="accent1">
                <a:lumMod val="75000"/>
              </a:schemeClr>
            </a:solidFill>
            <a:ln>
              <a:noFill/>
            </a:ln>
            <a:effectLst/>
          </c:spPr>
          <c:cat>
            <c:strRef>
              <c:f>'Cost to Produce Forecast'!$C$36:$N$36</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C$11:$N$11</c:f>
              <c:numCache>
                <c:formatCode>"$"#,##0.00;[Red]\-"$"#,##0.00</c:formatCode>
                <c:ptCount val="12"/>
                <c:pt idx="0">
                  <c:v>38.943067984802724</c:v>
                </c:pt>
                <c:pt idx="1">
                  <c:v>40.982085995288685</c:v>
                </c:pt>
                <c:pt idx="2">
                  <c:v>44.817619174921163</c:v>
                </c:pt>
                <c:pt idx="3">
                  <c:v>44.361881339882686</c:v>
                </c:pt>
                <c:pt idx="4">
                  <c:v>47.651292660949061</c:v>
                </c:pt>
                <c:pt idx="5">
                  <c:v>50.263580785289378</c:v>
                </c:pt>
                <c:pt idx="6">
                  <c:v>56.222393729850936</c:v>
                </c:pt>
                <c:pt idx="7">
                  <c:v>62.274076170740628</c:v>
                </c:pt>
                <c:pt idx="8">
                  <c:v>69.446144140815235</c:v>
                </c:pt>
                <c:pt idx="9">
                  <c:v>74.315847830643136</c:v>
                </c:pt>
                <c:pt idx="10">
                  <c:v>72.4987115615005</c:v>
                </c:pt>
                <c:pt idx="11">
                  <c:v>71.67517138959883</c:v>
                </c:pt>
              </c:numCache>
            </c:numRef>
          </c:val>
          <c:extLst>
            <c:ext xmlns:c16="http://schemas.microsoft.com/office/drawing/2014/chart" uri="{C3380CC4-5D6E-409C-BE32-E72D297353CC}">
              <c16:uniqueId val="{00000000-B025-B043-AAA5-A03175D9BCEE}"/>
            </c:ext>
          </c:extLst>
        </c:ser>
        <c:ser>
          <c:idx val="1"/>
          <c:order val="1"/>
          <c:tx>
            <c:v/>
          </c:tx>
          <c:spPr>
            <a:solidFill>
              <a:srgbClr val="FFFFFF"/>
            </a:solidFill>
            <a:ln>
              <a:noFill/>
            </a:ln>
            <a:effectLst/>
          </c:spPr>
          <c:cat>
            <c:strRef>
              <c:f>'Cost to Produce Forecast'!$C$36:$N$36</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C$43:$N$43</c:f>
              <c:numCache>
                <c:formatCode>"$"#,##0.00;[Red]\-"$"#,##0.00</c:formatCode>
                <c:ptCount val="12"/>
                <c:pt idx="0">
                  <c:v>32.51713711737181</c:v>
                </c:pt>
                <c:pt idx="1">
                  <c:v>35.274262321141215</c:v>
                </c:pt>
                <c:pt idx="2">
                  <c:v>36.512178207603895</c:v>
                </c:pt>
                <c:pt idx="3">
                  <c:v>37.65539791300889</c:v>
                </c:pt>
                <c:pt idx="4">
                  <c:v>40.260721514487528</c:v>
                </c:pt>
                <c:pt idx="5">
                  <c:v>38.688207095620903</c:v>
                </c:pt>
                <c:pt idx="6">
                  <c:v>36.941136420629164</c:v>
                </c:pt>
                <c:pt idx="7">
                  <c:v>35.699638303730488</c:v>
                </c:pt>
                <c:pt idx="8">
                  <c:v>34.4419628489632</c:v>
                </c:pt>
                <c:pt idx="9">
                  <c:v>34.058425845177709</c:v>
                </c:pt>
                <c:pt idx="10">
                  <c:v>34.114232796761726</c:v>
                </c:pt>
                <c:pt idx="11">
                  <c:v>33.657442894960795</c:v>
                </c:pt>
              </c:numCache>
            </c:numRef>
          </c:val>
          <c:extLst>
            <c:ext xmlns:c16="http://schemas.microsoft.com/office/drawing/2014/chart" uri="{C3380CC4-5D6E-409C-BE32-E72D297353CC}">
              <c16:uniqueId val="{00000001-B025-B043-AAA5-A03175D9BCEE}"/>
            </c:ext>
          </c:extLst>
        </c:ser>
        <c:dLbls>
          <c:showLegendKey val="0"/>
          <c:showVal val="0"/>
          <c:showCatName val="0"/>
          <c:showSerName val="0"/>
          <c:showPercent val="0"/>
          <c:showBubbleSize val="0"/>
        </c:dLbls>
        <c:axId val="463427416"/>
        <c:axId val="463425448"/>
      </c:areaChart>
      <c:lineChart>
        <c:grouping val="standard"/>
        <c:varyColors val="0"/>
        <c:ser>
          <c:idx val="2"/>
          <c:order val="2"/>
          <c:tx>
            <c:v>Forecast</c:v>
          </c:tx>
          <c:spPr>
            <a:ln w="28575" cap="rnd">
              <a:solidFill>
                <a:srgbClr val="002060"/>
              </a:solidFill>
              <a:round/>
            </a:ln>
            <a:effectLst/>
          </c:spPr>
          <c:marker>
            <c:symbol val="circle"/>
            <c:size val="5"/>
            <c:spPr>
              <a:solidFill>
                <a:srgbClr val="002060"/>
              </a:solidFill>
              <a:ln w="9525">
                <a:solidFill>
                  <a:srgbClr val="002060"/>
                </a:solidFill>
              </a:ln>
              <a:effectLst/>
            </c:spPr>
          </c:marker>
          <c:dLbls>
            <c:spPr>
              <a:solidFill>
                <a:schemeClr val="accent3">
                  <a:lumMod val="40000"/>
                  <a:lumOff val="60000"/>
                </a:schemeClr>
              </a:solid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t"/>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st to Produce Forecast'!$C$11:$N$11</c:f>
              <c:numCache>
                <c:formatCode>"$"#,##0.00;[Red]\-"$"#,##0.00</c:formatCode>
                <c:ptCount val="12"/>
                <c:pt idx="0">
                  <c:v>38.943067984802724</c:v>
                </c:pt>
                <c:pt idx="1">
                  <c:v>40.982085995288685</c:v>
                </c:pt>
                <c:pt idx="2">
                  <c:v>44.817619174921163</c:v>
                </c:pt>
                <c:pt idx="3">
                  <c:v>44.361881339882686</c:v>
                </c:pt>
                <c:pt idx="4">
                  <c:v>47.651292660949061</c:v>
                </c:pt>
                <c:pt idx="5">
                  <c:v>50.263580785289378</c:v>
                </c:pt>
                <c:pt idx="6">
                  <c:v>56.222393729850936</c:v>
                </c:pt>
                <c:pt idx="7">
                  <c:v>62.274076170740628</c:v>
                </c:pt>
                <c:pt idx="8">
                  <c:v>69.446144140815235</c:v>
                </c:pt>
                <c:pt idx="9">
                  <c:v>74.315847830643136</c:v>
                </c:pt>
                <c:pt idx="10">
                  <c:v>72.4987115615005</c:v>
                </c:pt>
                <c:pt idx="11">
                  <c:v>71.67517138959883</c:v>
                </c:pt>
              </c:numCache>
            </c:numRef>
          </c:val>
          <c:smooth val="0"/>
          <c:extLst>
            <c:ext xmlns:c16="http://schemas.microsoft.com/office/drawing/2014/chart" uri="{C3380CC4-5D6E-409C-BE32-E72D297353CC}">
              <c16:uniqueId val="{00000002-B025-B043-AAA5-A03175D9BCEE}"/>
            </c:ext>
          </c:extLst>
        </c:ser>
        <c:ser>
          <c:idx val="3"/>
          <c:order val="3"/>
          <c:tx>
            <c:v>Actuals</c:v>
          </c:tx>
          <c:spPr>
            <a:ln w="28575" cap="rnd">
              <a:solidFill>
                <a:srgbClr val="00B050"/>
              </a:solidFill>
              <a:round/>
            </a:ln>
            <a:effectLst/>
          </c:spPr>
          <c:marker>
            <c:symbol val="circle"/>
            <c:size val="5"/>
            <c:spPr>
              <a:solidFill>
                <a:srgbClr val="00B050"/>
              </a:solidFill>
              <a:ln w="25400">
                <a:solidFill>
                  <a:srgbClr val="00B050"/>
                </a:solidFill>
              </a:ln>
              <a:effectLst/>
            </c:spPr>
          </c:marker>
          <c:dLbls>
            <c:spPr>
              <a:solidFill>
                <a:schemeClr val="accent3">
                  <a:lumMod val="40000"/>
                  <a:lumOff val="60000"/>
                </a:schemeClr>
              </a:solid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b"/>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st to Produce Forecast'!$C$43:$N$43</c:f>
              <c:numCache>
                <c:formatCode>"$"#,##0.00;[Red]\-"$"#,##0.00</c:formatCode>
                <c:ptCount val="12"/>
                <c:pt idx="0">
                  <c:v>32.51713711737181</c:v>
                </c:pt>
                <c:pt idx="1">
                  <c:v>35.274262321141215</c:v>
                </c:pt>
                <c:pt idx="2">
                  <c:v>36.512178207603895</c:v>
                </c:pt>
                <c:pt idx="3">
                  <c:v>37.65539791300889</c:v>
                </c:pt>
                <c:pt idx="4">
                  <c:v>40.260721514487528</c:v>
                </c:pt>
                <c:pt idx="5">
                  <c:v>38.688207095620903</c:v>
                </c:pt>
                <c:pt idx="6">
                  <c:v>36.941136420629164</c:v>
                </c:pt>
                <c:pt idx="7">
                  <c:v>35.699638303730488</c:v>
                </c:pt>
                <c:pt idx="8">
                  <c:v>34.4419628489632</c:v>
                </c:pt>
                <c:pt idx="9">
                  <c:v>34.058425845177709</c:v>
                </c:pt>
                <c:pt idx="10">
                  <c:v>34.114232796761726</c:v>
                </c:pt>
                <c:pt idx="11">
                  <c:v>33.657442894960795</c:v>
                </c:pt>
              </c:numCache>
            </c:numRef>
          </c:val>
          <c:smooth val="0"/>
          <c:extLst>
            <c:ext xmlns:c16="http://schemas.microsoft.com/office/drawing/2014/chart" uri="{C3380CC4-5D6E-409C-BE32-E72D297353CC}">
              <c16:uniqueId val="{00000003-B025-B043-AAA5-A03175D9BCEE}"/>
            </c:ext>
          </c:extLst>
        </c:ser>
        <c:dLbls>
          <c:showLegendKey val="0"/>
          <c:showVal val="0"/>
          <c:showCatName val="0"/>
          <c:showSerName val="0"/>
          <c:showPercent val="0"/>
          <c:showBubbleSize val="0"/>
        </c:dLbls>
        <c:marker val="1"/>
        <c:smooth val="0"/>
        <c:axId val="463427416"/>
        <c:axId val="463425448"/>
      </c:lineChart>
      <c:catAx>
        <c:axId val="4634274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463425448"/>
        <c:crosses val="autoZero"/>
        <c:auto val="1"/>
        <c:lblAlgn val="ctr"/>
        <c:lblOffset val="100"/>
        <c:noMultiLvlLbl val="0"/>
      </c:catAx>
      <c:valAx>
        <c:axId val="463425448"/>
        <c:scaling>
          <c:orientation val="minMax"/>
        </c:scaling>
        <c:delete val="0"/>
        <c:axPos val="l"/>
        <c:numFmt formatCode="&quot;$&quot;#,##0.0&quot;/MegaLitre&quot;"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463427416"/>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AU" sz="900" b="1" i="0" baseline="0" dirty="0">
                <a:solidFill>
                  <a:schemeClr val="tx1"/>
                </a:solidFill>
                <a:effectLst/>
              </a:rPr>
              <a:t>Rolling Year-to-Date Cost to Produce </a:t>
            </a:r>
            <a:r>
              <a:rPr lang="en-AU" sz="900" b="1" i="0" baseline="0" dirty="0" err="1">
                <a:solidFill>
                  <a:schemeClr val="tx1"/>
                </a:solidFill>
                <a:effectLst/>
              </a:rPr>
              <a:t>Kootha</a:t>
            </a:r>
            <a:r>
              <a:rPr lang="en-AU" sz="900" b="1" i="0" baseline="0" dirty="0">
                <a:solidFill>
                  <a:schemeClr val="tx1"/>
                </a:solidFill>
                <a:effectLst/>
              </a:rPr>
              <a:t> per </a:t>
            </a:r>
            <a:r>
              <a:rPr lang="en-AU" sz="900" b="1" i="0" baseline="0" dirty="0" err="1">
                <a:solidFill>
                  <a:schemeClr val="tx1"/>
                </a:solidFill>
                <a:effectLst/>
              </a:rPr>
              <a:t>MegaLitre</a:t>
            </a:r>
            <a:r>
              <a:rPr lang="en-AU" sz="900" b="1" i="0" baseline="0" dirty="0">
                <a:solidFill>
                  <a:schemeClr val="tx1"/>
                </a:solidFill>
                <a:effectLst/>
              </a:rPr>
              <a:t> ($/Mega-Litre) Actual 2013-Jul to 2014-Jun Versus 2014-2015 Forecast</a:t>
            </a:r>
            <a:endParaRPr lang="en-AU" sz="900" b="1" dirty="0">
              <a:solidFill>
                <a:schemeClr val="tx1"/>
              </a:solidFill>
              <a:effectLst/>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v>Kootha Forecast</c:v>
          </c:tx>
          <c:spPr>
            <a:ln w="28575" cap="rnd">
              <a:solidFill>
                <a:srgbClr val="002060"/>
              </a:solidFill>
              <a:round/>
            </a:ln>
            <a:effectLst/>
          </c:spPr>
          <c:marker>
            <c:symbol val="none"/>
          </c:marker>
          <c:cat>
            <c:strRef>
              <c:f>'Cost to Produce Forecast'!$C$59:$N$59</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C$18:$N$18</c:f>
              <c:numCache>
                <c:formatCode>"$"#,##0.00;[Red]\-"$"#,##0.00</c:formatCode>
                <c:ptCount val="12"/>
                <c:pt idx="0">
                  <c:v>23.188327844547569</c:v>
                </c:pt>
                <c:pt idx="1">
                  <c:v>23.239863343113793</c:v>
                </c:pt>
                <c:pt idx="2">
                  <c:v>27.391365091231652</c:v>
                </c:pt>
                <c:pt idx="3">
                  <c:v>27.0729456910748</c:v>
                </c:pt>
                <c:pt idx="4">
                  <c:v>29.931637997470013</c:v>
                </c:pt>
                <c:pt idx="5">
                  <c:v>31.404999568487128</c:v>
                </c:pt>
                <c:pt idx="6">
                  <c:v>38.458339856711966</c:v>
                </c:pt>
                <c:pt idx="7">
                  <c:v>46.550126197311634</c:v>
                </c:pt>
                <c:pt idx="8">
                  <c:v>54.512652793454194</c:v>
                </c:pt>
                <c:pt idx="9">
                  <c:v>60.109150503477686</c:v>
                </c:pt>
                <c:pt idx="10">
                  <c:v>57.083030437779385</c:v>
                </c:pt>
                <c:pt idx="11">
                  <c:v>56.152550267502647</c:v>
                </c:pt>
              </c:numCache>
            </c:numRef>
          </c:val>
          <c:smooth val="0"/>
          <c:extLst>
            <c:ext xmlns:c16="http://schemas.microsoft.com/office/drawing/2014/chart" uri="{C3380CC4-5D6E-409C-BE32-E72D297353CC}">
              <c16:uniqueId val="{00000000-DEF4-4940-B2B7-D83C581B174F}"/>
            </c:ext>
          </c:extLst>
        </c:ser>
        <c:ser>
          <c:idx val="1"/>
          <c:order val="1"/>
          <c:tx>
            <c:v>Kootha Actual</c:v>
          </c:tx>
          <c:spPr>
            <a:ln w="28575" cap="rnd">
              <a:solidFill>
                <a:srgbClr val="17B328"/>
              </a:solidFill>
              <a:round/>
            </a:ln>
            <a:effectLst/>
          </c:spPr>
          <c:marker>
            <c:symbol val="none"/>
          </c:marker>
          <c:cat>
            <c:strRef>
              <c:f>'Cost to Produce Forecast'!$C$59:$N$59</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C$50:$N$50</c:f>
              <c:numCache>
                <c:formatCode>"$"#,##0.00;[Red]\-"$"#,##0.00</c:formatCode>
                <c:ptCount val="12"/>
                <c:pt idx="0">
                  <c:v>18.742832723231448</c:v>
                </c:pt>
                <c:pt idx="1">
                  <c:v>21.93266058189171</c:v>
                </c:pt>
                <c:pt idx="2">
                  <c:v>21.282009505963206</c:v>
                </c:pt>
                <c:pt idx="3">
                  <c:v>20.504969032897606</c:v>
                </c:pt>
                <c:pt idx="4">
                  <c:v>22.386145702756234</c:v>
                </c:pt>
                <c:pt idx="5">
                  <c:v>21.722428671760404</c:v>
                </c:pt>
                <c:pt idx="6">
                  <c:v>21.949977632251699</c:v>
                </c:pt>
                <c:pt idx="7">
                  <c:v>22.0822209539411</c:v>
                </c:pt>
                <c:pt idx="8">
                  <c:v>21.707559358647671</c:v>
                </c:pt>
                <c:pt idx="9">
                  <c:v>21.675000030497195</c:v>
                </c:pt>
                <c:pt idx="10">
                  <c:v>21.78364694006374</c:v>
                </c:pt>
                <c:pt idx="11">
                  <c:v>22.425636564688535</c:v>
                </c:pt>
              </c:numCache>
            </c:numRef>
          </c:val>
          <c:smooth val="0"/>
          <c:extLst>
            <c:ext xmlns:c16="http://schemas.microsoft.com/office/drawing/2014/chart" uri="{C3380CC4-5D6E-409C-BE32-E72D297353CC}">
              <c16:uniqueId val="{00000001-DEF4-4940-B2B7-D83C581B174F}"/>
            </c:ext>
          </c:extLst>
        </c:ser>
        <c:dLbls>
          <c:showLegendKey val="0"/>
          <c:showVal val="0"/>
          <c:showCatName val="0"/>
          <c:showSerName val="0"/>
          <c:showPercent val="0"/>
          <c:showBubbleSize val="0"/>
        </c:dLbls>
        <c:smooth val="0"/>
        <c:axId val="642096264"/>
        <c:axId val="604741888"/>
      </c:lineChart>
      <c:catAx>
        <c:axId val="642096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crossAx val="604741888"/>
        <c:crosses val="autoZero"/>
        <c:auto val="1"/>
        <c:lblAlgn val="ctr"/>
        <c:lblOffset val="100"/>
        <c:noMultiLvlLbl val="0"/>
      </c:catAx>
      <c:valAx>
        <c:axId val="604741888"/>
        <c:scaling>
          <c:orientation val="minMax"/>
          <c:min val="15"/>
        </c:scaling>
        <c:delete val="0"/>
        <c:axPos val="l"/>
        <c:numFmt formatCode="&quot;$&quot;0.00\ &quot;/MegaLitre&quot;" sourceLinked="0"/>
        <c:majorTickMark val="none"/>
        <c:minorTickMark val="none"/>
        <c:tickLblPos val="nextTo"/>
        <c:spPr>
          <a:noFill/>
          <a:ln>
            <a:noFill/>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crossAx val="64209626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AU" sz="900" b="1" i="0" baseline="0" dirty="0">
                <a:solidFill>
                  <a:schemeClr val="tx1"/>
                </a:solidFill>
                <a:effectLst/>
              </a:rPr>
              <a:t>Rolling Year-to-Date Cost to Produce </a:t>
            </a:r>
            <a:r>
              <a:rPr lang="en-AU" sz="900" b="1" i="0" baseline="0" dirty="0" err="1">
                <a:solidFill>
                  <a:schemeClr val="tx1"/>
                </a:solidFill>
                <a:effectLst/>
              </a:rPr>
              <a:t>Surjek</a:t>
            </a:r>
            <a:r>
              <a:rPr lang="en-AU" sz="900" b="1" i="0" baseline="0" dirty="0">
                <a:solidFill>
                  <a:schemeClr val="tx1"/>
                </a:solidFill>
                <a:effectLst/>
              </a:rPr>
              <a:t> per </a:t>
            </a:r>
            <a:r>
              <a:rPr lang="en-AU" sz="900" b="1" i="0" baseline="0" dirty="0" err="1">
                <a:solidFill>
                  <a:schemeClr val="tx1"/>
                </a:solidFill>
                <a:effectLst/>
              </a:rPr>
              <a:t>MegaLitre</a:t>
            </a:r>
            <a:r>
              <a:rPr lang="en-AU" sz="900" b="1" i="0" baseline="0" dirty="0">
                <a:solidFill>
                  <a:schemeClr val="tx1"/>
                </a:solidFill>
                <a:effectLst/>
              </a:rPr>
              <a:t> ($/Mega-Litre) Actual 2013-Jul to 2014-Jun Versus 2014-2015 Forecast</a:t>
            </a:r>
            <a:endParaRPr lang="en-AU" sz="900" dirty="0">
              <a:solidFill>
                <a:schemeClr val="tx1"/>
              </a:solidFill>
              <a:effectLst/>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v>Surjek Forecast</c:v>
          </c:tx>
          <c:spPr>
            <a:ln w="28575" cap="rnd">
              <a:solidFill>
                <a:srgbClr val="002060"/>
              </a:solidFill>
              <a:round/>
            </a:ln>
            <a:effectLst/>
          </c:spPr>
          <c:marker>
            <c:symbol val="none"/>
          </c:marker>
          <c:cat>
            <c:strRef>
              <c:f>'Cost to Produce Forecast'!$C$59:$N$59</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C$25:$N$25</c:f>
              <c:numCache>
                <c:formatCode>"$"#,##0.00;[Red]\-"$"#,##0.00</c:formatCode>
                <c:ptCount val="12"/>
                <c:pt idx="0">
                  <c:v>63.210546089808147</c:v>
                </c:pt>
                <c:pt idx="1">
                  <c:v>65.90618453942237</c:v>
                </c:pt>
                <c:pt idx="2">
                  <c:v>72.805388249369997</c:v>
                </c:pt>
                <c:pt idx="3">
                  <c:v>70.965816356612848</c:v>
                </c:pt>
                <c:pt idx="4">
                  <c:v>73.767950411033581</c:v>
                </c:pt>
                <c:pt idx="5">
                  <c:v>78.473554183878704</c:v>
                </c:pt>
                <c:pt idx="6">
                  <c:v>91.458997652020429</c:v>
                </c:pt>
                <c:pt idx="7">
                  <c:v>105.70141999064022</c:v>
                </c:pt>
                <c:pt idx="8">
                  <c:v>122.40887365413784</c:v>
                </c:pt>
                <c:pt idx="9">
                  <c:v>133.66556807466887</c:v>
                </c:pt>
                <c:pt idx="10">
                  <c:v>122.07301557060879</c:v>
                </c:pt>
                <c:pt idx="11">
                  <c:v>115.33362993631064</c:v>
                </c:pt>
              </c:numCache>
            </c:numRef>
          </c:val>
          <c:smooth val="0"/>
          <c:extLst>
            <c:ext xmlns:c16="http://schemas.microsoft.com/office/drawing/2014/chart" uri="{C3380CC4-5D6E-409C-BE32-E72D297353CC}">
              <c16:uniqueId val="{00000000-BAEE-9042-8AC1-8E26D8718749}"/>
            </c:ext>
          </c:extLst>
        </c:ser>
        <c:ser>
          <c:idx val="1"/>
          <c:order val="1"/>
          <c:tx>
            <c:v>Surjek Actuals</c:v>
          </c:tx>
          <c:spPr>
            <a:ln w="28575" cap="rnd">
              <a:solidFill>
                <a:srgbClr val="00B050"/>
              </a:solidFill>
              <a:round/>
            </a:ln>
            <a:effectLst/>
          </c:spPr>
          <c:marker>
            <c:symbol val="none"/>
          </c:marker>
          <c:cat>
            <c:strRef>
              <c:f>'Cost to Produce Forecast'!$C$59:$N$59</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C$57:$N$57</c:f>
              <c:numCache>
                <c:formatCode>"$"#,##0.00;[Red]\-"$"#,##0.00</c:formatCode>
                <c:ptCount val="12"/>
                <c:pt idx="0">
                  <c:v>57.45487966848652</c:v>
                </c:pt>
                <c:pt idx="1">
                  <c:v>61.392023003463365</c:v>
                </c:pt>
                <c:pt idx="2">
                  <c:v>62.882151555739604</c:v>
                </c:pt>
                <c:pt idx="3">
                  <c:v>63.089544217023779</c:v>
                </c:pt>
                <c:pt idx="4">
                  <c:v>68.065265722846576</c:v>
                </c:pt>
                <c:pt idx="5">
                  <c:v>64.05290179358505</c:v>
                </c:pt>
                <c:pt idx="6">
                  <c:v>59.851811831963715</c:v>
                </c:pt>
                <c:pt idx="7">
                  <c:v>56.785797439154138</c:v>
                </c:pt>
                <c:pt idx="8">
                  <c:v>52.587434391814803</c:v>
                </c:pt>
                <c:pt idx="9">
                  <c:v>51.140998958357393</c:v>
                </c:pt>
                <c:pt idx="10">
                  <c:v>50.508128639335688</c:v>
                </c:pt>
                <c:pt idx="11">
                  <c:v>48.12989502414775</c:v>
                </c:pt>
              </c:numCache>
            </c:numRef>
          </c:val>
          <c:smooth val="0"/>
          <c:extLst>
            <c:ext xmlns:c16="http://schemas.microsoft.com/office/drawing/2014/chart" uri="{C3380CC4-5D6E-409C-BE32-E72D297353CC}">
              <c16:uniqueId val="{00000001-BAEE-9042-8AC1-8E26D8718749}"/>
            </c:ext>
          </c:extLst>
        </c:ser>
        <c:dLbls>
          <c:showLegendKey val="0"/>
          <c:showVal val="0"/>
          <c:showCatName val="0"/>
          <c:showSerName val="0"/>
          <c:showPercent val="0"/>
          <c:showBubbleSize val="0"/>
        </c:dLbls>
        <c:smooth val="0"/>
        <c:axId val="642096264"/>
        <c:axId val="604741888"/>
      </c:lineChart>
      <c:catAx>
        <c:axId val="642096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crossAx val="604741888"/>
        <c:crosses val="autoZero"/>
        <c:auto val="1"/>
        <c:lblAlgn val="ctr"/>
        <c:lblOffset val="100"/>
        <c:noMultiLvlLbl val="0"/>
      </c:catAx>
      <c:valAx>
        <c:axId val="604741888"/>
        <c:scaling>
          <c:orientation val="minMax"/>
          <c:min val="35"/>
        </c:scaling>
        <c:delete val="0"/>
        <c:axPos val="l"/>
        <c:numFmt formatCode="&quot;$&quot;0.00\ &quot;/MegaLitre&quot;" sourceLinked="0"/>
        <c:majorTickMark val="none"/>
        <c:minorTickMark val="none"/>
        <c:tickLblPos val="nextTo"/>
        <c:spPr>
          <a:noFill/>
          <a:ln>
            <a:noFill/>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crossAx val="64209626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AU" sz="900" b="1" i="0" baseline="0" dirty="0">
                <a:solidFill>
                  <a:schemeClr val="tx1"/>
                </a:solidFill>
                <a:effectLst/>
              </a:rPr>
              <a:t>Rolling Year-to-Date Cost to Produce </a:t>
            </a:r>
            <a:r>
              <a:rPr lang="en-AU" sz="900" b="1" i="0" baseline="0" dirty="0" err="1">
                <a:solidFill>
                  <a:schemeClr val="tx1"/>
                </a:solidFill>
                <a:effectLst/>
              </a:rPr>
              <a:t>Jutik</a:t>
            </a:r>
            <a:r>
              <a:rPr lang="en-AU" sz="900" b="1" i="0" baseline="0" dirty="0">
                <a:solidFill>
                  <a:schemeClr val="tx1"/>
                </a:solidFill>
                <a:effectLst/>
              </a:rPr>
              <a:t> per </a:t>
            </a:r>
            <a:r>
              <a:rPr lang="en-AU" sz="900" b="1" i="0" baseline="0" dirty="0" err="1">
                <a:solidFill>
                  <a:schemeClr val="tx1"/>
                </a:solidFill>
                <a:effectLst/>
              </a:rPr>
              <a:t>MegaLitre</a:t>
            </a:r>
            <a:r>
              <a:rPr lang="en-AU" sz="900" b="1" i="0" baseline="0" dirty="0">
                <a:solidFill>
                  <a:schemeClr val="tx1"/>
                </a:solidFill>
                <a:effectLst/>
              </a:rPr>
              <a:t> ($/Mega-Litre) Actual 2013-Jul to 2014-Jun Versus 2014-2015 Forecast</a:t>
            </a:r>
            <a:endParaRPr lang="en-AU" sz="900" dirty="0">
              <a:solidFill>
                <a:schemeClr val="tx1"/>
              </a:solidFill>
              <a:effectLst/>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v>Jutik Forecast</c:v>
          </c:tx>
          <c:spPr>
            <a:ln w="28575" cap="rnd">
              <a:solidFill>
                <a:srgbClr val="002060"/>
              </a:solidFill>
              <a:round/>
            </a:ln>
            <a:effectLst/>
          </c:spPr>
          <c:marker>
            <c:symbol val="none"/>
          </c:marker>
          <c:cat>
            <c:strRef>
              <c:f>'Cost to Produce Forecast'!$C$59:$N$59</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C$32:$N$32</c:f>
              <c:numCache>
                <c:formatCode>"$"#,##0.00;[Red]\-"$"#,##0.00</c:formatCode>
                <c:ptCount val="12"/>
                <c:pt idx="0">
                  <c:v>28.547029637397504</c:v>
                </c:pt>
                <c:pt idx="1">
                  <c:v>30.638232081379904</c:v>
                </c:pt>
                <c:pt idx="2">
                  <c:v>30.699995595017405</c:v>
                </c:pt>
                <c:pt idx="3">
                  <c:v>28.331495587446465</c:v>
                </c:pt>
                <c:pt idx="4">
                  <c:v>30.616636880600712</c:v>
                </c:pt>
                <c:pt idx="5">
                  <c:v>31.054460091173542</c:v>
                </c:pt>
                <c:pt idx="6">
                  <c:v>31.692141291811346</c:v>
                </c:pt>
                <c:pt idx="7">
                  <c:v>32.127686031698332</c:v>
                </c:pt>
                <c:pt idx="8">
                  <c:v>33.20974884520809</c:v>
                </c:pt>
                <c:pt idx="9">
                  <c:v>34.930362445225938</c:v>
                </c:pt>
                <c:pt idx="10">
                  <c:v>37.067792937300183</c:v>
                </c:pt>
                <c:pt idx="11">
                  <c:v>38.5209934230272</c:v>
                </c:pt>
              </c:numCache>
            </c:numRef>
          </c:val>
          <c:smooth val="0"/>
          <c:extLst>
            <c:ext xmlns:c16="http://schemas.microsoft.com/office/drawing/2014/chart" uri="{C3380CC4-5D6E-409C-BE32-E72D297353CC}">
              <c16:uniqueId val="{00000000-D35A-AE43-BF7E-746055AFA789}"/>
            </c:ext>
          </c:extLst>
        </c:ser>
        <c:ser>
          <c:idx val="1"/>
          <c:order val="1"/>
          <c:tx>
            <c:v>Jutik Actual</c:v>
          </c:tx>
          <c:spPr>
            <a:ln w="28575" cap="rnd">
              <a:solidFill>
                <a:srgbClr val="00B050"/>
              </a:solidFill>
              <a:round/>
            </a:ln>
            <a:effectLst/>
          </c:spPr>
          <c:marker>
            <c:symbol val="none"/>
          </c:marker>
          <c:cat>
            <c:strRef>
              <c:f>'Cost to Produce Forecast'!$C$59:$N$59</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C$64:$N$64</c:f>
              <c:numCache>
                <c:formatCode>"$"#,##0.00;[Red]\-"$"#,##0.00</c:formatCode>
                <c:ptCount val="12"/>
                <c:pt idx="0">
                  <c:v>21.108831850686485</c:v>
                </c:pt>
                <c:pt idx="1">
                  <c:v>20.730006681609702</c:v>
                </c:pt>
                <c:pt idx="2">
                  <c:v>22.90486745993811</c:v>
                </c:pt>
                <c:pt idx="3">
                  <c:v>23.797484985969426</c:v>
                </c:pt>
                <c:pt idx="4">
                  <c:v>22.932462422344717</c:v>
                </c:pt>
                <c:pt idx="5">
                  <c:v>22.599512536833679</c:v>
                </c:pt>
                <c:pt idx="6">
                  <c:v>21.891972455245739</c:v>
                </c:pt>
                <c:pt idx="7">
                  <c:v>20.902520234693291</c:v>
                </c:pt>
                <c:pt idx="8">
                  <c:v>21.268804321764097</c:v>
                </c:pt>
                <c:pt idx="9">
                  <c:v>21.20778171926089</c:v>
                </c:pt>
                <c:pt idx="10">
                  <c:v>21.455137549105864</c:v>
                </c:pt>
                <c:pt idx="11">
                  <c:v>22.243839787271916</c:v>
                </c:pt>
              </c:numCache>
            </c:numRef>
          </c:val>
          <c:smooth val="0"/>
          <c:extLst>
            <c:ext xmlns:c16="http://schemas.microsoft.com/office/drawing/2014/chart" uri="{C3380CC4-5D6E-409C-BE32-E72D297353CC}">
              <c16:uniqueId val="{00000001-D35A-AE43-BF7E-746055AFA789}"/>
            </c:ext>
          </c:extLst>
        </c:ser>
        <c:dLbls>
          <c:showLegendKey val="0"/>
          <c:showVal val="0"/>
          <c:showCatName val="0"/>
          <c:showSerName val="0"/>
          <c:showPercent val="0"/>
          <c:showBubbleSize val="0"/>
        </c:dLbls>
        <c:smooth val="0"/>
        <c:axId val="642096264"/>
        <c:axId val="604741888"/>
      </c:lineChart>
      <c:catAx>
        <c:axId val="642096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crossAx val="604741888"/>
        <c:crosses val="autoZero"/>
        <c:auto val="1"/>
        <c:lblAlgn val="ctr"/>
        <c:lblOffset val="100"/>
        <c:noMultiLvlLbl val="0"/>
      </c:catAx>
      <c:valAx>
        <c:axId val="604741888"/>
        <c:scaling>
          <c:orientation val="minMax"/>
          <c:min val="15"/>
        </c:scaling>
        <c:delete val="0"/>
        <c:axPos val="l"/>
        <c:numFmt formatCode="&quot;$&quot;0.00\ &quot;/MegaLitre&quot;" sourceLinked="0"/>
        <c:majorTickMark val="none"/>
        <c:minorTickMark val="none"/>
        <c:tickLblPos val="nextTo"/>
        <c:spPr>
          <a:noFill/>
          <a:ln>
            <a:noFill/>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crossAx val="64209626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a:t>$/ML</a:t>
            </a:r>
            <a:r>
              <a:rPr lang="en-AU" baseline="0"/>
              <a:t> versus Market Price</a:t>
            </a:r>
            <a:endParaRPr lang="en-AU"/>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1"/>
          <c:order val="0"/>
          <c:tx>
            <c:strRef>
              <c:f>'Pseudo Cost Curve'!$B$15</c:f>
              <c:strCache>
                <c:ptCount val="1"/>
                <c:pt idx="0">
                  <c:v>Jutik</c:v>
                </c:pt>
              </c:strCache>
            </c:strRef>
          </c:tx>
          <c:spPr>
            <a:solidFill>
              <a:schemeClr val="accent5">
                <a:tint val="62000"/>
              </a:schemeClr>
            </a:solidFill>
            <a:ln>
              <a:noFill/>
            </a:ln>
            <a:effectLst/>
          </c:spPr>
          <c:dLbls>
            <c:dLbl>
              <c:idx val="0"/>
              <c:layout>
                <c:manualLayout>
                  <c:x val="5.6939501779359428E-2"/>
                  <c:y val="-0.14600550964187328"/>
                </c:manualLayout>
              </c:layout>
              <c:numFmt formatCode="&quot;$&quot;0.0\ &quot;M/L&quot;"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A569-4603-9AB5-381737D56675}"/>
                </c:ext>
              </c:extLst>
            </c:dLbl>
            <c:dLbl>
              <c:idx val="1"/>
              <c:delete val="1"/>
              <c:extLst>
                <c:ext xmlns:c15="http://schemas.microsoft.com/office/drawing/2012/chart" uri="{CE6537A1-D6FC-4f65-9D91-7224C49458BB}"/>
                <c:ext xmlns:c16="http://schemas.microsoft.com/office/drawing/2014/chart" uri="{C3380CC4-5D6E-409C-BE32-E72D297353CC}">
                  <c16:uniqueId val="{00000001-A569-4603-9AB5-381737D56675}"/>
                </c:ext>
              </c:extLst>
            </c:dLbl>
            <c:dLbl>
              <c:idx val="2"/>
              <c:delete val="1"/>
              <c:extLst>
                <c:ext xmlns:c15="http://schemas.microsoft.com/office/drawing/2012/chart" uri="{CE6537A1-D6FC-4f65-9D91-7224C49458BB}"/>
                <c:ext xmlns:c16="http://schemas.microsoft.com/office/drawing/2014/chart" uri="{C3380CC4-5D6E-409C-BE32-E72D297353CC}">
                  <c16:uniqueId val="{00000002-A569-4603-9AB5-381737D56675}"/>
                </c:ext>
              </c:extLst>
            </c:dLbl>
            <c:dLbl>
              <c:idx val="3"/>
              <c:delete val="1"/>
              <c:extLst>
                <c:ext xmlns:c15="http://schemas.microsoft.com/office/drawing/2012/chart" uri="{CE6537A1-D6FC-4f65-9D91-7224C49458BB}"/>
                <c:ext xmlns:c16="http://schemas.microsoft.com/office/drawing/2014/chart" uri="{C3380CC4-5D6E-409C-BE32-E72D297353CC}">
                  <c16:uniqueId val="{00000003-A569-4603-9AB5-381737D56675}"/>
                </c:ext>
              </c:extLst>
            </c:dLbl>
            <c:dLbl>
              <c:idx val="4"/>
              <c:delete val="1"/>
              <c:extLst>
                <c:ext xmlns:c15="http://schemas.microsoft.com/office/drawing/2012/chart" uri="{CE6537A1-D6FC-4f65-9D91-7224C49458BB}"/>
                <c:ext xmlns:c16="http://schemas.microsoft.com/office/drawing/2014/chart" uri="{C3380CC4-5D6E-409C-BE32-E72D297353CC}">
                  <c16:uniqueId val="{00000004-A569-4603-9AB5-381737D56675}"/>
                </c:ext>
              </c:extLst>
            </c:dLbl>
            <c:dLbl>
              <c:idx val="5"/>
              <c:delete val="1"/>
              <c:extLst>
                <c:ext xmlns:c15="http://schemas.microsoft.com/office/drawing/2012/chart" uri="{CE6537A1-D6FC-4f65-9D91-7224C49458BB}"/>
                <c:ext xmlns:c16="http://schemas.microsoft.com/office/drawing/2014/chart" uri="{C3380CC4-5D6E-409C-BE32-E72D297353CC}">
                  <c16:uniqueId val="{00000005-A569-4603-9AB5-381737D56675}"/>
                </c:ext>
              </c:extLst>
            </c:dLbl>
            <c:dLbl>
              <c:idx val="6"/>
              <c:delete val="1"/>
              <c:extLst>
                <c:ext xmlns:c15="http://schemas.microsoft.com/office/drawing/2012/chart" uri="{CE6537A1-D6FC-4f65-9D91-7224C49458BB}"/>
                <c:ext xmlns:c16="http://schemas.microsoft.com/office/drawing/2014/chart" uri="{C3380CC4-5D6E-409C-BE32-E72D297353CC}">
                  <c16:uniqueId val="{00000006-A569-4603-9AB5-381737D56675}"/>
                </c:ext>
              </c:extLst>
            </c:dLbl>
            <c:dLbl>
              <c:idx val="7"/>
              <c:delete val="1"/>
              <c:extLst>
                <c:ext xmlns:c15="http://schemas.microsoft.com/office/drawing/2012/chart" uri="{CE6537A1-D6FC-4f65-9D91-7224C49458BB}"/>
                <c:ext xmlns:c16="http://schemas.microsoft.com/office/drawing/2014/chart" uri="{C3380CC4-5D6E-409C-BE32-E72D297353CC}">
                  <c16:uniqueId val="{00000007-A569-4603-9AB5-381737D56675}"/>
                </c:ext>
              </c:extLst>
            </c:dLbl>
            <c:dLbl>
              <c:idx val="8"/>
              <c:delete val="1"/>
              <c:extLst>
                <c:ext xmlns:c15="http://schemas.microsoft.com/office/drawing/2012/chart" uri="{CE6537A1-D6FC-4f65-9D91-7224C49458BB}"/>
                <c:ext xmlns:c16="http://schemas.microsoft.com/office/drawing/2014/chart" uri="{C3380CC4-5D6E-409C-BE32-E72D297353CC}">
                  <c16:uniqueId val="{00000008-A569-4603-9AB5-381737D56675}"/>
                </c:ext>
              </c:extLst>
            </c:dLbl>
            <c:dLbl>
              <c:idx val="9"/>
              <c:delete val="1"/>
              <c:extLst>
                <c:ext xmlns:c15="http://schemas.microsoft.com/office/drawing/2012/chart" uri="{CE6537A1-D6FC-4f65-9D91-7224C49458BB}"/>
                <c:ext xmlns:c16="http://schemas.microsoft.com/office/drawing/2014/chart" uri="{C3380CC4-5D6E-409C-BE32-E72D297353CC}">
                  <c16:uniqueId val="{00000009-A569-4603-9AB5-381737D56675}"/>
                </c:ext>
              </c:extLst>
            </c:dLbl>
            <c:dLbl>
              <c:idx val="10"/>
              <c:delete val="1"/>
              <c:extLst>
                <c:ext xmlns:c15="http://schemas.microsoft.com/office/drawing/2012/chart" uri="{CE6537A1-D6FC-4f65-9D91-7224C49458BB}"/>
                <c:ext xmlns:c16="http://schemas.microsoft.com/office/drawing/2014/chart" uri="{C3380CC4-5D6E-409C-BE32-E72D297353CC}">
                  <c16:uniqueId val="{0000000A-A569-4603-9AB5-381737D5667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B$16:$B$26</c:f>
              <c:numCache>
                <c:formatCode>"$"#,##0.00;[Red]\-"$"#,##0.00</c:formatCode>
                <c:ptCount val="11"/>
                <c:pt idx="0">
                  <c:v>38.5209934230272</c:v>
                </c:pt>
                <c:pt idx="1">
                  <c:v>38.5209934230272</c:v>
                </c:pt>
                <c:pt idx="2" formatCode="General">
                  <c:v>0</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numCache>
            </c:numRef>
          </c:val>
          <c:extLst>
            <c:ext xmlns:c16="http://schemas.microsoft.com/office/drawing/2014/chart" uri="{C3380CC4-5D6E-409C-BE32-E72D297353CC}">
              <c16:uniqueId val="{0000000B-A569-4603-9AB5-381737D56675}"/>
            </c:ext>
          </c:extLst>
        </c:ser>
        <c:ser>
          <c:idx val="2"/>
          <c:order val="1"/>
          <c:tx>
            <c:strRef>
              <c:f>'Pseudo Cost Curve'!$C$15</c:f>
              <c:strCache>
                <c:ptCount val="1"/>
                <c:pt idx="0">
                  <c:v>Kootha</c:v>
                </c:pt>
              </c:strCache>
            </c:strRef>
          </c:tx>
          <c:spPr>
            <a:solidFill>
              <a:schemeClr val="accent5">
                <a:tint val="77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A569-4603-9AB5-381737D56675}"/>
                </c:ext>
              </c:extLst>
            </c:dLbl>
            <c:dLbl>
              <c:idx val="1"/>
              <c:delete val="1"/>
              <c:extLst>
                <c:ext xmlns:c15="http://schemas.microsoft.com/office/drawing/2012/chart" uri="{CE6537A1-D6FC-4f65-9D91-7224C49458BB}"/>
                <c:ext xmlns:c16="http://schemas.microsoft.com/office/drawing/2014/chart" uri="{C3380CC4-5D6E-409C-BE32-E72D297353CC}">
                  <c16:uniqueId val="{0000000D-A569-4603-9AB5-381737D56675}"/>
                </c:ext>
              </c:extLst>
            </c:dLbl>
            <c:dLbl>
              <c:idx val="2"/>
              <c:delete val="1"/>
              <c:extLst>
                <c:ext xmlns:c15="http://schemas.microsoft.com/office/drawing/2012/chart" uri="{CE6537A1-D6FC-4f65-9D91-7224C49458BB}"/>
                <c:ext xmlns:c16="http://schemas.microsoft.com/office/drawing/2014/chart" uri="{C3380CC4-5D6E-409C-BE32-E72D297353CC}">
                  <c16:uniqueId val="{0000000E-A569-4603-9AB5-381737D56675}"/>
                </c:ext>
              </c:extLst>
            </c:dLbl>
            <c:dLbl>
              <c:idx val="3"/>
              <c:layout>
                <c:manualLayout>
                  <c:x val="5.4528339662460054E-2"/>
                  <c:y val="-0.19167886669952089"/>
                </c:manualLayout>
              </c:layout>
              <c:numFmt formatCode="&quot;$&quot;0.0\ &quot;M/L&quot;"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A569-4603-9AB5-381737D56675}"/>
                </c:ext>
              </c:extLst>
            </c:dLbl>
            <c:dLbl>
              <c:idx val="4"/>
              <c:delete val="1"/>
              <c:extLst>
                <c:ext xmlns:c15="http://schemas.microsoft.com/office/drawing/2012/chart" uri="{CE6537A1-D6FC-4f65-9D91-7224C49458BB}"/>
                <c:ext xmlns:c16="http://schemas.microsoft.com/office/drawing/2014/chart" uri="{C3380CC4-5D6E-409C-BE32-E72D297353CC}">
                  <c16:uniqueId val="{00000010-A569-4603-9AB5-381737D56675}"/>
                </c:ext>
              </c:extLst>
            </c:dLbl>
            <c:dLbl>
              <c:idx val="5"/>
              <c:delete val="1"/>
              <c:extLst>
                <c:ext xmlns:c15="http://schemas.microsoft.com/office/drawing/2012/chart" uri="{CE6537A1-D6FC-4f65-9D91-7224C49458BB}"/>
                <c:ext xmlns:c16="http://schemas.microsoft.com/office/drawing/2014/chart" uri="{C3380CC4-5D6E-409C-BE32-E72D297353CC}">
                  <c16:uniqueId val="{00000011-A569-4603-9AB5-381737D56675}"/>
                </c:ext>
              </c:extLst>
            </c:dLbl>
            <c:dLbl>
              <c:idx val="6"/>
              <c:delete val="1"/>
              <c:extLst>
                <c:ext xmlns:c15="http://schemas.microsoft.com/office/drawing/2012/chart" uri="{CE6537A1-D6FC-4f65-9D91-7224C49458BB}"/>
                <c:ext xmlns:c16="http://schemas.microsoft.com/office/drawing/2014/chart" uri="{C3380CC4-5D6E-409C-BE32-E72D297353CC}">
                  <c16:uniqueId val="{00000012-A569-4603-9AB5-381737D56675}"/>
                </c:ext>
              </c:extLst>
            </c:dLbl>
            <c:dLbl>
              <c:idx val="7"/>
              <c:delete val="1"/>
              <c:extLst>
                <c:ext xmlns:c15="http://schemas.microsoft.com/office/drawing/2012/chart" uri="{CE6537A1-D6FC-4f65-9D91-7224C49458BB}"/>
                <c:ext xmlns:c16="http://schemas.microsoft.com/office/drawing/2014/chart" uri="{C3380CC4-5D6E-409C-BE32-E72D297353CC}">
                  <c16:uniqueId val="{00000013-A569-4603-9AB5-381737D56675}"/>
                </c:ext>
              </c:extLst>
            </c:dLbl>
            <c:dLbl>
              <c:idx val="8"/>
              <c:delete val="1"/>
              <c:extLst>
                <c:ext xmlns:c15="http://schemas.microsoft.com/office/drawing/2012/chart" uri="{CE6537A1-D6FC-4f65-9D91-7224C49458BB}"/>
                <c:ext xmlns:c16="http://schemas.microsoft.com/office/drawing/2014/chart" uri="{C3380CC4-5D6E-409C-BE32-E72D297353CC}">
                  <c16:uniqueId val="{00000014-A569-4603-9AB5-381737D56675}"/>
                </c:ext>
              </c:extLst>
            </c:dLbl>
            <c:dLbl>
              <c:idx val="9"/>
              <c:delete val="1"/>
              <c:extLst>
                <c:ext xmlns:c15="http://schemas.microsoft.com/office/drawing/2012/chart" uri="{CE6537A1-D6FC-4f65-9D91-7224C49458BB}"/>
                <c:ext xmlns:c16="http://schemas.microsoft.com/office/drawing/2014/chart" uri="{C3380CC4-5D6E-409C-BE32-E72D297353CC}">
                  <c16:uniqueId val="{00000015-A569-4603-9AB5-381737D56675}"/>
                </c:ext>
              </c:extLst>
            </c:dLbl>
            <c:dLbl>
              <c:idx val="10"/>
              <c:delete val="1"/>
              <c:extLst>
                <c:ext xmlns:c15="http://schemas.microsoft.com/office/drawing/2012/chart" uri="{CE6537A1-D6FC-4f65-9D91-7224C49458BB}"/>
                <c:ext xmlns:c16="http://schemas.microsoft.com/office/drawing/2014/chart" uri="{C3380CC4-5D6E-409C-BE32-E72D297353CC}">
                  <c16:uniqueId val="{00000016-A569-4603-9AB5-381737D56675}"/>
                </c:ext>
              </c:extLst>
            </c:dLbl>
            <c:numFmt formatCode="&quot;$&quot;0.0\ &quot;M/L&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C$16:$C$26</c:f>
              <c:numCache>
                <c:formatCode>General</c:formatCode>
                <c:ptCount val="11"/>
                <c:pt idx="0">
                  <c:v>0</c:v>
                </c:pt>
                <c:pt idx="1">
                  <c:v>0</c:v>
                </c:pt>
                <c:pt idx="2">
                  <c:v>0</c:v>
                </c:pt>
                <c:pt idx="3" formatCode="&quot;$&quot;#,##0.00;[Red]\-&quot;$&quot;#,##0.00">
                  <c:v>56.152550267502647</c:v>
                </c:pt>
                <c:pt idx="4" formatCode="&quot;$&quot;#,##0.00;[Red]\-&quot;$&quot;#,##0.00">
                  <c:v>56.152550267502647</c:v>
                </c:pt>
                <c:pt idx="5">
                  <c:v>0</c:v>
                </c:pt>
                <c:pt idx="6">
                  <c:v>0</c:v>
                </c:pt>
                <c:pt idx="7">
                  <c:v>0</c:v>
                </c:pt>
                <c:pt idx="8">
                  <c:v>0</c:v>
                </c:pt>
                <c:pt idx="9">
                  <c:v>0</c:v>
                </c:pt>
                <c:pt idx="10">
                  <c:v>0</c:v>
                </c:pt>
              </c:numCache>
            </c:numRef>
          </c:val>
          <c:extLst>
            <c:ext xmlns:c16="http://schemas.microsoft.com/office/drawing/2014/chart" uri="{C3380CC4-5D6E-409C-BE32-E72D297353CC}">
              <c16:uniqueId val="{00000017-A569-4603-9AB5-381737D56675}"/>
            </c:ext>
          </c:extLst>
        </c:ser>
        <c:ser>
          <c:idx val="3"/>
          <c:order val="2"/>
          <c:tx>
            <c:strRef>
              <c:f>'Pseudo Cost Curve'!$D$15</c:f>
              <c:strCache>
                <c:ptCount val="1"/>
                <c:pt idx="0">
                  <c:v>Surjek</c:v>
                </c:pt>
              </c:strCache>
            </c:strRef>
          </c:tx>
          <c:spPr>
            <a:solidFill>
              <a:schemeClr val="accent5">
                <a:tint val="93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A569-4603-9AB5-381737D56675}"/>
                </c:ext>
              </c:extLst>
            </c:dLbl>
            <c:dLbl>
              <c:idx val="1"/>
              <c:delete val="1"/>
              <c:extLst>
                <c:ext xmlns:c15="http://schemas.microsoft.com/office/drawing/2012/chart" uri="{CE6537A1-D6FC-4f65-9D91-7224C49458BB}"/>
                <c:ext xmlns:c16="http://schemas.microsoft.com/office/drawing/2014/chart" uri="{C3380CC4-5D6E-409C-BE32-E72D297353CC}">
                  <c16:uniqueId val="{00000019-A569-4603-9AB5-381737D56675}"/>
                </c:ext>
              </c:extLst>
            </c:dLbl>
            <c:dLbl>
              <c:idx val="2"/>
              <c:delete val="1"/>
              <c:extLst>
                <c:ext xmlns:c15="http://schemas.microsoft.com/office/drawing/2012/chart" uri="{CE6537A1-D6FC-4f65-9D91-7224C49458BB}"/>
                <c:ext xmlns:c16="http://schemas.microsoft.com/office/drawing/2014/chart" uri="{C3380CC4-5D6E-409C-BE32-E72D297353CC}">
                  <c16:uniqueId val="{0000001A-A569-4603-9AB5-381737D56675}"/>
                </c:ext>
              </c:extLst>
            </c:dLbl>
            <c:dLbl>
              <c:idx val="3"/>
              <c:delete val="1"/>
              <c:extLst>
                <c:ext xmlns:c15="http://schemas.microsoft.com/office/drawing/2012/chart" uri="{CE6537A1-D6FC-4f65-9D91-7224C49458BB}"/>
                <c:ext xmlns:c16="http://schemas.microsoft.com/office/drawing/2014/chart" uri="{C3380CC4-5D6E-409C-BE32-E72D297353CC}">
                  <c16:uniqueId val="{0000001B-A569-4603-9AB5-381737D56675}"/>
                </c:ext>
              </c:extLst>
            </c:dLbl>
            <c:dLbl>
              <c:idx val="4"/>
              <c:delete val="1"/>
              <c:extLst>
                <c:ext xmlns:c15="http://schemas.microsoft.com/office/drawing/2012/chart" uri="{CE6537A1-D6FC-4f65-9D91-7224C49458BB}"/>
                <c:ext xmlns:c16="http://schemas.microsoft.com/office/drawing/2014/chart" uri="{C3380CC4-5D6E-409C-BE32-E72D297353CC}">
                  <c16:uniqueId val="{0000001C-A569-4603-9AB5-381737D56675}"/>
                </c:ext>
              </c:extLst>
            </c:dLbl>
            <c:dLbl>
              <c:idx val="5"/>
              <c:delete val="1"/>
              <c:extLst>
                <c:ext xmlns:c15="http://schemas.microsoft.com/office/drawing/2012/chart" uri="{CE6537A1-D6FC-4f65-9D91-7224C49458BB}"/>
                <c:ext xmlns:c16="http://schemas.microsoft.com/office/drawing/2014/chart" uri="{C3380CC4-5D6E-409C-BE32-E72D297353CC}">
                  <c16:uniqueId val="{0000001D-A569-4603-9AB5-381737D56675}"/>
                </c:ext>
              </c:extLst>
            </c:dLbl>
            <c:dLbl>
              <c:idx val="6"/>
              <c:layout>
                <c:manualLayout>
                  <c:x val="8.890449897082367E-2"/>
                  <c:y val="-0.36511471550059738"/>
                </c:manualLayout>
              </c:layout>
              <c:numFmt formatCode="&quot;$&quot;#,##0.00_);[Red]\(&quot;$&quot;#,##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E-A569-4603-9AB5-381737D56675}"/>
                </c:ext>
              </c:extLst>
            </c:dLbl>
            <c:dLbl>
              <c:idx val="7"/>
              <c:delete val="1"/>
              <c:extLst>
                <c:ext xmlns:c15="http://schemas.microsoft.com/office/drawing/2012/chart" uri="{CE6537A1-D6FC-4f65-9D91-7224C49458BB}"/>
                <c:ext xmlns:c16="http://schemas.microsoft.com/office/drawing/2014/chart" uri="{C3380CC4-5D6E-409C-BE32-E72D297353CC}">
                  <c16:uniqueId val="{0000001F-A569-4603-9AB5-381737D56675}"/>
                </c:ext>
              </c:extLst>
            </c:dLbl>
            <c:dLbl>
              <c:idx val="9"/>
              <c:delete val="1"/>
              <c:extLst>
                <c:ext xmlns:c15="http://schemas.microsoft.com/office/drawing/2012/chart" uri="{CE6537A1-D6FC-4f65-9D91-7224C49458BB}"/>
                <c:ext xmlns:c16="http://schemas.microsoft.com/office/drawing/2014/chart" uri="{C3380CC4-5D6E-409C-BE32-E72D297353CC}">
                  <c16:uniqueId val="{00000020-A569-4603-9AB5-381737D5667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D$16:$D$26</c:f>
              <c:numCache>
                <c:formatCode>General</c:formatCode>
                <c:ptCount val="11"/>
                <c:pt idx="0">
                  <c:v>0</c:v>
                </c:pt>
                <c:pt idx="1">
                  <c:v>0</c:v>
                </c:pt>
                <c:pt idx="2">
                  <c:v>0</c:v>
                </c:pt>
                <c:pt idx="3">
                  <c:v>0</c:v>
                </c:pt>
                <c:pt idx="4">
                  <c:v>0</c:v>
                </c:pt>
                <c:pt idx="5">
                  <c:v>0</c:v>
                </c:pt>
                <c:pt idx="6" formatCode="&quot;$&quot;#,##0.00;[Red]\-&quot;$&quot;#,##0.00">
                  <c:v>115.33362993631063</c:v>
                </c:pt>
                <c:pt idx="7" formatCode="&quot;$&quot;#,##0.00;[Red]\-&quot;$&quot;#,##0.00">
                  <c:v>115.33362993631063</c:v>
                </c:pt>
                <c:pt idx="8">
                  <c:v>0</c:v>
                </c:pt>
                <c:pt idx="9">
                  <c:v>0</c:v>
                </c:pt>
                <c:pt idx="10">
                  <c:v>0</c:v>
                </c:pt>
              </c:numCache>
            </c:numRef>
          </c:val>
          <c:extLst>
            <c:ext xmlns:c16="http://schemas.microsoft.com/office/drawing/2014/chart" uri="{C3380CC4-5D6E-409C-BE32-E72D297353CC}">
              <c16:uniqueId val="{00000021-A569-4603-9AB5-381737D56675}"/>
            </c:ext>
          </c:extLst>
        </c:ser>
        <c:ser>
          <c:idx val="4"/>
          <c:order val="3"/>
          <c:tx>
            <c:strRef>
              <c:f>'Pseudo Cost Curve'!$E$15</c:f>
              <c:strCache>
                <c:ptCount val="1"/>
                <c:pt idx="0">
                  <c:v>Overall</c:v>
                </c:pt>
              </c:strCache>
            </c:strRef>
          </c:tx>
          <c:spPr>
            <a:solidFill>
              <a:schemeClr val="accent5">
                <a:shade val="92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2-A569-4603-9AB5-381737D56675}"/>
                </c:ext>
              </c:extLst>
            </c:dLbl>
            <c:dLbl>
              <c:idx val="1"/>
              <c:delete val="1"/>
              <c:extLst>
                <c:ext xmlns:c15="http://schemas.microsoft.com/office/drawing/2012/chart" uri="{CE6537A1-D6FC-4f65-9D91-7224C49458BB}"/>
                <c:ext xmlns:c16="http://schemas.microsoft.com/office/drawing/2014/chart" uri="{C3380CC4-5D6E-409C-BE32-E72D297353CC}">
                  <c16:uniqueId val="{00000023-A569-4603-9AB5-381737D56675}"/>
                </c:ext>
              </c:extLst>
            </c:dLbl>
            <c:dLbl>
              <c:idx val="2"/>
              <c:delete val="1"/>
              <c:extLst>
                <c:ext xmlns:c15="http://schemas.microsoft.com/office/drawing/2012/chart" uri="{CE6537A1-D6FC-4f65-9D91-7224C49458BB}"/>
                <c:ext xmlns:c16="http://schemas.microsoft.com/office/drawing/2014/chart" uri="{C3380CC4-5D6E-409C-BE32-E72D297353CC}">
                  <c16:uniqueId val="{00000024-A569-4603-9AB5-381737D56675}"/>
                </c:ext>
              </c:extLst>
            </c:dLbl>
            <c:dLbl>
              <c:idx val="3"/>
              <c:delete val="1"/>
              <c:extLst>
                <c:ext xmlns:c15="http://schemas.microsoft.com/office/drawing/2012/chart" uri="{CE6537A1-D6FC-4f65-9D91-7224C49458BB}"/>
                <c:ext xmlns:c16="http://schemas.microsoft.com/office/drawing/2014/chart" uri="{C3380CC4-5D6E-409C-BE32-E72D297353CC}">
                  <c16:uniqueId val="{00000025-A569-4603-9AB5-381737D56675}"/>
                </c:ext>
              </c:extLst>
            </c:dLbl>
            <c:dLbl>
              <c:idx val="4"/>
              <c:delete val="1"/>
              <c:extLst>
                <c:ext xmlns:c15="http://schemas.microsoft.com/office/drawing/2012/chart" uri="{CE6537A1-D6FC-4f65-9D91-7224C49458BB}"/>
                <c:ext xmlns:c16="http://schemas.microsoft.com/office/drawing/2014/chart" uri="{C3380CC4-5D6E-409C-BE32-E72D297353CC}">
                  <c16:uniqueId val="{00000026-A569-4603-9AB5-381737D56675}"/>
                </c:ext>
              </c:extLst>
            </c:dLbl>
            <c:dLbl>
              <c:idx val="5"/>
              <c:delete val="1"/>
              <c:extLst>
                <c:ext xmlns:c15="http://schemas.microsoft.com/office/drawing/2012/chart" uri="{CE6537A1-D6FC-4f65-9D91-7224C49458BB}"/>
                <c:ext xmlns:c16="http://schemas.microsoft.com/office/drawing/2014/chart" uri="{C3380CC4-5D6E-409C-BE32-E72D297353CC}">
                  <c16:uniqueId val="{00000027-A569-4603-9AB5-381737D56675}"/>
                </c:ext>
              </c:extLst>
            </c:dLbl>
            <c:dLbl>
              <c:idx val="6"/>
              <c:delete val="1"/>
              <c:extLst>
                <c:ext xmlns:c15="http://schemas.microsoft.com/office/drawing/2012/chart" uri="{CE6537A1-D6FC-4f65-9D91-7224C49458BB}"/>
                <c:ext xmlns:c16="http://schemas.microsoft.com/office/drawing/2014/chart" uri="{C3380CC4-5D6E-409C-BE32-E72D297353CC}">
                  <c16:uniqueId val="{00000028-A569-4603-9AB5-381737D56675}"/>
                </c:ext>
              </c:extLst>
            </c:dLbl>
            <c:dLbl>
              <c:idx val="7"/>
              <c:delete val="1"/>
              <c:extLst>
                <c:ext xmlns:c15="http://schemas.microsoft.com/office/drawing/2012/chart" uri="{CE6537A1-D6FC-4f65-9D91-7224C49458BB}"/>
                <c:ext xmlns:c16="http://schemas.microsoft.com/office/drawing/2014/chart" uri="{C3380CC4-5D6E-409C-BE32-E72D297353CC}">
                  <c16:uniqueId val="{00000029-A569-4603-9AB5-381737D56675}"/>
                </c:ext>
              </c:extLst>
            </c:dLbl>
            <c:dLbl>
              <c:idx val="8"/>
              <c:delete val="1"/>
              <c:extLst>
                <c:ext xmlns:c15="http://schemas.microsoft.com/office/drawing/2012/chart" uri="{CE6537A1-D6FC-4f65-9D91-7224C49458BB}"/>
                <c:ext xmlns:c16="http://schemas.microsoft.com/office/drawing/2014/chart" uri="{C3380CC4-5D6E-409C-BE32-E72D297353CC}">
                  <c16:uniqueId val="{0000002A-A569-4603-9AB5-381737D56675}"/>
                </c:ext>
              </c:extLst>
            </c:dLbl>
            <c:dLbl>
              <c:idx val="9"/>
              <c:layout>
                <c:manualLayout>
                  <c:x val="0.21945437318260538"/>
                  <c:y val="-0.25009948073639526"/>
                </c:manualLayout>
              </c:layou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2B-A569-4603-9AB5-381737D56675}"/>
                </c:ext>
              </c:extLst>
            </c:dLbl>
            <c:dLbl>
              <c:idx val="10"/>
              <c:delete val="1"/>
              <c:extLst>
                <c:ext xmlns:c15="http://schemas.microsoft.com/office/drawing/2012/chart" uri="{CE6537A1-D6FC-4f65-9D91-7224C49458BB}"/>
                <c:ext xmlns:c16="http://schemas.microsoft.com/office/drawing/2014/chart" uri="{C3380CC4-5D6E-409C-BE32-E72D297353CC}">
                  <c16:uniqueId val="{0000002C-A569-4603-9AB5-381737D56675}"/>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E$16:$E$26</c:f>
              <c:numCache>
                <c:formatCode>General</c:formatCode>
                <c:ptCount val="11"/>
                <c:pt idx="0">
                  <c:v>0</c:v>
                </c:pt>
                <c:pt idx="1">
                  <c:v>0</c:v>
                </c:pt>
                <c:pt idx="2">
                  <c:v>0</c:v>
                </c:pt>
                <c:pt idx="3">
                  <c:v>0</c:v>
                </c:pt>
                <c:pt idx="4">
                  <c:v>0</c:v>
                </c:pt>
                <c:pt idx="5">
                  <c:v>0</c:v>
                </c:pt>
                <c:pt idx="6">
                  <c:v>0</c:v>
                </c:pt>
                <c:pt idx="7">
                  <c:v>0</c:v>
                </c:pt>
                <c:pt idx="8">
                  <c:v>0</c:v>
                </c:pt>
                <c:pt idx="9" formatCode="&quot;$&quot;#,##0.00;[Red]\-&quot;$&quot;#,##0.00">
                  <c:v>71.67517138959883</c:v>
                </c:pt>
                <c:pt idx="10" formatCode="&quot;$&quot;#,##0.00;[Red]\-&quot;$&quot;#,##0.00">
                  <c:v>71.67517138959883</c:v>
                </c:pt>
              </c:numCache>
            </c:numRef>
          </c:val>
          <c:extLst>
            <c:ext xmlns:c16="http://schemas.microsoft.com/office/drawing/2014/chart" uri="{C3380CC4-5D6E-409C-BE32-E72D297353CC}">
              <c16:uniqueId val="{0000002D-A569-4603-9AB5-381737D56675}"/>
            </c:ext>
          </c:extLst>
        </c:ser>
        <c:dLbls>
          <c:showLegendKey val="0"/>
          <c:showVal val="0"/>
          <c:showCatName val="0"/>
          <c:showSerName val="0"/>
          <c:showPercent val="0"/>
          <c:showBubbleSize val="0"/>
        </c:dLbls>
        <c:axId val="709085336"/>
        <c:axId val="709091240"/>
      </c:areaChart>
      <c:lineChart>
        <c:grouping val="standard"/>
        <c:varyColors val="0"/>
        <c:ser>
          <c:idx val="0"/>
          <c:order val="4"/>
          <c:tx>
            <c:v>Market Price</c:v>
          </c:tx>
          <c:spPr>
            <a:ln w="28575" cap="rnd">
              <a:solidFill>
                <a:schemeClr val="accent4"/>
              </a:solidFill>
              <a:prstDash val="sysDash"/>
              <a:round/>
            </a:ln>
            <a:effectLst/>
          </c:spPr>
          <c:marker>
            <c:symbol val="none"/>
          </c:marker>
          <c:cat>
            <c:numRef>
              <c:f>'Pseudo Cost Curve'!$A$16:$A$17</c:f>
              <c:numCache>
                <c:formatCode>0</c:formatCode>
                <c:ptCount val="2"/>
                <c:pt idx="0">
                  <c:v>0</c:v>
                </c:pt>
                <c:pt idx="1">
                  <c:v>300</c:v>
                </c:pt>
              </c:numCache>
            </c:numRef>
          </c:cat>
          <c:val>
            <c:numRef>
              <c:f>'Pseudo Cost Curve'!$F$16:$F$26</c:f>
              <c:numCache>
                <c:formatCode>General</c:formatCode>
                <c:ptCount val="11"/>
                <c:pt idx="0">
                  <c:v>53.98</c:v>
                </c:pt>
                <c:pt idx="1">
                  <c:v>53.98</c:v>
                </c:pt>
                <c:pt idx="2">
                  <c:v>53.98</c:v>
                </c:pt>
                <c:pt idx="3">
                  <c:v>53.98</c:v>
                </c:pt>
                <c:pt idx="4">
                  <c:v>53.98</c:v>
                </c:pt>
                <c:pt idx="5">
                  <c:v>53.98</c:v>
                </c:pt>
                <c:pt idx="6">
                  <c:v>53.98</c:v>
                </c:pt>
                <c:pt idx="7">
                  <c:v>53.98</c:v>
                </c:pt>
                <c:pt idx="8">
                  <c:v>53.98</c:v>
                </c:pt>
                <c:pt idx="9">
                  <c:v>53.98</c:v>
                </c:pt>
                <c:pt idx="10">
                  <c:v>53.98</c:v>
                </c:pt>
              </c:numCache>
            </c:numRef>
          </c:val>
          <c:smooth val="0"/>
          <c:extLst>
            <c:ext xmlns:c16="http://schemas.microsoft.com/office/drawing/2014/chart" uri="{C3380CC4-5D6E-409C-BE32-E72D297353CC}">
              <c16:uniqueId val="{0000002E-A569-4603-9AB5-381737D56675}"/>
            </c:ext>
          </c:extLst>
        </c:ser>
        <c:dLbls>
          <c:showLegendKey val="0"/>
          <c:showVal val="0"/>
          <c:showCatName val="0"/>
          <c:showSerName val="0"/>
          <c:showPercent val="0"/>
          <c:showBubbleSize val="0"/>
        </c:dLbls>
        <c:marker val="1"/>
        <c:smooth val="0"/>
        <c:axId val="448228272"/>
        <c:axId val="448229256"/>
      </c:lineChart>
      <c:scatterChart>
        <c:scatterStyle val="lineMarker"/>
        <c:varyColors val="0"/>
        <c:ser>
          <c:idx val="5"/>
          <c:order val="5"/>
          <c:tx>
            <c:v>Jutik Actual</c:v>
          </c:tx>
          <c:spPr>
            <a:ln w="28575" cap="rnd">
              <a:solidFill>
                <a:srgbClr val="7030A0"/>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2F-A569-4603-9AB5-381737D56675}"/>
                </c:ext>
              </c:extLst>
            </c:dLbl>
            <c:dLbl>
              <c:idx val="1"/>
              <c:layout>
                <c:manualLayout>
                  <c:x val="-8.7648210656721542E-2"/>
                  <c:y val="-3.7531436271916734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0-A569-4603-9AB5-381737D5667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Pseudo Cost Curve'!$A$16:$A$17</c:f>
              <c:numCache>
                <c:formatCode>0</c:formatCode>
                <c:ptCount val="2"/>
                <c:pt idx="0">
                  <c:v>0</c:v>
                </c:pt>
                <c:pt idx="1">
                  <c:v>300</c:v>
                </c:pt>
              </c:numCache>
            </c:numRef>
          </c:xVal>
          <c:yVal>
            <c:numRef>
              <c:f>'Pseudo Cost Curve'!$H$16:$H$17</c:f>
              <c:numCache>
                <c:formatCode>"$"#,##0.00_);[Red]\("$"#,##0.00\)</c:formatCode>
                <c:ptCount val="2"/>
                <c:pt idx="0">
                  <c:v>22.243839787271913</c:v>
                </c:pt>
                <c:pt idx="1">
                  <c:v>22.243839787271913</c:v>
                </c:pt>
              </c:numCache>
            </c:numRef>
          </c:yVal>
          <c:smooth val="0"/>
          <c:extLst>
            <c:ext xmlns:c16="http://schemas.microsoft.com/office/drawing/2014/chart" uri="{C3380CC4-5D6E-409C-BE32-E72D297353CC}">
              <c16:uniqueId val="{00000031-A569-4603-9AB5-381737D56675}"/>
            </c:ext>
          </c:extLst>
        </c:ser>
        <c:ser>
          <c:idx val="6"/>
          <c:order val="6"/>
          <c:tx>
            <c:v>Kootha Actual</c:v>
          </c:tx>
          <c:spPr>
            <a:ln w="28575" cap="rnd">
              <a:solidFill>
                <a:srgbClr val="7030A0"/>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32-A569-4603-9AB5-381737D56675}"/>
                </c:ext>
              </c:extLst>
            </c:dLbl>
            <c:dLbl>
              <c:idx val="1"/>
              <c:layout>
                <c:manualLayout>
                  <c:x val="-7.8042927297080872E-2"/>
                  <c:y val="-3.4403816582590341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A569-4603-9AB5-381737D5667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Pseudo Cost Curve'!$A$19:$A$20</c:f>
              <c:numCache>
                <c:formatCode>0</c:formatCode>
                <c:ptCount val="2"/>
                <c:pt idx="0">
                  <c:v>300</c:v>
                </c:pt>
                <c:pt idx="1">
                  <c:v>530</c:v>
                </c:pt>
              </c:numCache>
            </c:numRef>
          </c:xVal>
          <c:yVal>
            <c:numRef>
              <c:f>'Pseudo Cost Curve'!$I$19:$I$20</c:f>
              <c:numCache>
                <c:formatCode>"$"#,##0.00_);[Red]\("$"#,##0.00\)</c:formatCode>
                <c:ptCount val="2"/>
                <c:pt idx="0">
                  <c:v>22.425636564688531</c:v>
                </c:pt>
                <c:pt idx="1">
                  <c:v>22.425636564688531</c:v>
                </c:pt>
              </c:numCache>
            </c:numRef>
          </c:yVal>
          <c:smooth val="0"/>
          <c:extLst>
            <c:ext xmlns:c16="http://schemas.microsoft.com/office/drawing/2014/chart" uri="{C3380CC4-5D6E-409C-BE32-E72D297353CC}">
              <c16:uniqueId val="{00000034-A569-4603-9AB5-381737D56675}"/>
            </c:ext>
          </c:extLst>
        </c:ser>
        <c:ser>
          <c:idx val="7"/>
          <c:order val="7"/>
          <c:tx>
            <c:v>Surjek Actual</c:v>
          </c:tx>
          <c:spPr>
            <a:ln w="28575" cap="rnd">
              <a:solidFill>
                <a:schemeClr val="accent5">
                  <a:shade val="45000"/>
                </a:schemeClr>
              </a:solidFill>
              <a:round/>
            </a:ln>
            <a:effectLst/>
          </c:spPr>
          <c:marker>
            <c:symbol val="none"/>
          </c:marker>
          <c:dPt>
            <c:idx val="1"/>
            <c:marker>
              <c:symbol val="none"/>
            </c:marker>
            <c:bubble3D val="0"/>
            <c:spPr>
              <a:ln w="28575" cap="rnd">
                <a:solidFill>
                  <a:srgbClr val="7030A0"/>
                </a:solidFill>
                <a:round/>
              </a:ln>
              <a:effectLst/>
            </c:spPr>
            <c:extLst>
              <c:ext xmlns:c16="http://schemas.microsoft.com/office/drawing/2014/chart" uri="{C3380CC4-5D6E-409C-BE32-E72D297353CC}">
                <c16:uniqueId val="{00000036-A569-4603-9AB5-381737D56675}"/>
              </c:ext>
            </c:extLst>
          </c:dPt>
          <c:dLbls>
            <c:dLbl>
              <c:idx val="0"/>
              <c:layout>
                <c:manualLayout>
                  <c:x val="6.483566267757479E-2"/>
                  <c:y val="3.75314362719167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7-A569-4603-9AB5-381737D56675}"/>
                </c:ext>
              </c:extLst>
            </c:dLbl>
            <c:dLbl>
              <c:idx val="1"/>
              <c:delete val="1"/>
              <c:extLst>
                <c:ext xmlns:c15="http://schemas.microsoft.com/office/drawing/2012/chart" uri="{CE6537A1-D6FC-4f65-9D91-7224C49458BB}"/>
                <c:ext xmlns:c16="http://schemas.microsoft.com/office/drawing/2014/chart" uri="{C3380CC4-5D6E-409C-BE32-E72D297353CC}">
                  <c16:uniqueId val="{00000036-A569-4603-9AB5-381737D56675}"/>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Pseudo Cost Curve'!$A$22:$A$23</c:f>
              <c:numCache>
                <c:formatCode>0</c:formatCode>
                <c:ptCount val="2"/>
                <c:pt idx="0">
                  <c:v>530</c:v>
                </c:pt>
                <c:pt idx="1">
                  <c:v>950</c:v>
                </c:pt>
              </c:numCache>
            </c:numRef>
          </c:xVal>
          <c:yVal>
            <c:numRef>
              <c:f>'Pseudo Cost Curve'!$J$22:$J$23</c:f>
              <c:numCache>
                <c:formatCode>"$"#,##0.00</c:formatCode>
                <c:ptCount val="2"/>
                <c:pt idx="0">
                  <c:v>48.129895024147736</c:v>
                </c:pt>
                <c:pt idx="1">
                  <c:v>48.129895024147736</c:v>
                </c:pt>
              </c:numCache>
            </c:numRef>
          </c:yVal>
          <c:smooth val="0"/>
          <c:extLst>
            <c:ext xmlns:c16="http://schemas.microsoft.com/office/drawing/2014/chart" uri="{C3380CC4-5D6E-409C-BE32-E72D297353CC}">
              <c16:uniqueId val="{00000038-A569-4603-9AB5-381737D56675}"/>
            </c:ext>
          </c:extLst>
        </c:ser>
        <c:dLbls>
          <c:showLegendKey val="0"/>
          <c:showVal val="0"/>
          <c:showCatName val="0"/>
          <c:showSerName val="0"/>
          <c:showPercent val="0"/>
          <c:showBubbleSize val="0"/>
        </c:dLbls>
        <c:axId val="709085336"/>
        <c:axId val="709091240"/>
      </c:scatterChart>
      <c:dateAx>
        <c:axId val="709085336"/>
        <c:scaling>
          <c:orientation val="minMax"/>
        </c:scaling>
        <c:delete val="1"/>
        <c:axPos val="b"/>
        <c:numFmt formatCode="0" sourceLinked="1"/>
        <c:majorTickMark val="none"/>
        <c:minorTickMark val="none"/>
        <c:tickLblPos val="low"/>
        <c:crossAx val="709091240"/>
        <c:crosses val="autoZero"/>
        <c:auto val="0"/>
        <c:lblOffset val="100"/>
        <c:baseTimeUnit val="days"/>
      </c:dateAx>
      <c:valAx>
        <c:axId val="70909124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ML</a:t>
                </a:r>
                <a:r>
                  <a:rPr lang="en-AU" b="1" baseline="0"/>
                  <a:t> (Cost to Produce)</a:t>
                </a:r>
                <a:endParaRPr lang="en-AU" b="1"/>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9085336"/>
        <c:crosses val="autoZero"/>
        <c:crossBetween val="between"/>
      </c:valAx>
      <c:valAx>
        <c:axId val="448229256"/>
        <c:scaling>
          <c:orientation val="minMax"/>
          <c:max val="14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Market Price (Weighte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8228272"/>
        <c:crosses val="max"/>
        <c:crossBetween val="between"/>
      </c:valAx>
      <c:catAx>
        <c:axId val="448228272"/>
        <c:scaling>
          <c:orientation val="minMax"/>
        </c:scaling>
        <c:delete val="1"/>
        <c:axPos val="b"/>
        <c:numFmt formatCode="0" sourceLinked="1"/>
        <c:majorTickMark val="out"/>
        <c:minorTickMark val="none"/>
        <c:tickLblPos val="nextTo"/>
        <c:crossAx val="44822925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400" b="1" i="0" baseline="0" dirty="0">
                <a:solidFill>
                  <a:schemeClr val="tx1"/>
                </a:solidFill>
                <a:effectLst/>
                <a:latin typeface="Calibri" panose="020F0502020204030204" pitchFamily="34" charset="0"/>
                <a:cs typeface="Calibri" panose="020F0502020204030204" pitchFamily="34" charset="0"/>
              </a:rPr>
              <a:t>Correlation to Pump Failure - Rolling St-Dev</a:t>
            </a:r>
            <a:endParaRPr lang="en-US" sz="1400" b="1" dirty="0">
              <a:solidFill>
                <a:schemeClr val="tx1"/>
              </a:solidFill>
              <a:effectLst/>
              <a:latin typeface="Calibri" panose="020F0502020204030204" pitchFamily="34" charset="0"/>
              <a:cs typeface="Calibri" panose="020F050202020403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clustered"/>
        <c:varyColors val="0"/>
        <c:ser>
          <c:idx val="0"/>
          <c:order val="0"/>
          <c:spPr>
            <a:solidFill>
              <a:srgbClr val="7030A0"/>
            </a:solidFill>
            <a:ln>
              <a:noFill/>
            </a:ln>
            <a:effectLst/>
          </c:spPr>
          <c:invertIfNegative val="0"/>
          <c:dLbls>
            <c:dLbl>
              <c:idx val="5"/>
              <c:layout>
                <c:manualLayout>
                  <c:x val="0"/>
                  <c:y val="8.2580633974344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B47-44B9-A37E-D1A58E0AC09C}"/>
                </c:ext>
              </c:extLst>
            </c:dLbl>
            <c:dLbl>
              <c:idx val="6"/>
              <c:layout>
                <c:manualLayout>
                  <c:x val="0"/>
                  <c:y val="0.123870950961517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B47-44B9-A37E-D1A58E0AC0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olling Stdev - Heatmap'!$B$12:$H$12</c:f>
              <c:strCache>
                <c:ptCount val="7"/>
                <c:pt idx="0">
                  <c:v>SURJEK_FLOW_METER_1 STDEV</c:v>
                </c:pt>
                <c:pt idx="1">
                  <c:v>SURJEK_FLOW_METER_2 STDEV</c:v>
                </c:pt>
                <c:pt idx="2">
                  <c:v>ROTATIONAL_PUMP_RPM STDEV</c:v>
                </c:pt>
                <c:pt idx="3">
                  <c:v>SURJEK_PUMP_TORQUE STDEV</c:v>
                </c:pt>
                <c:pt idx="4">
                  <c:v>MAXIMUM_DAILY_PUMP_TORQUE STDEV</c:v>
                </c:pt>
                <c:pt idx="5">
                  <c:v>SURJEK_TUBE_PRESSURE STDEV</c:v>
                </c:pt>
                <c:pt idx="6">
                  <c:v>SURJEK_ESTIMATED_EFFICIENCY STDEV</c:v>
                </c:pt>
              </c:strCache>
            </c:strRef>
          </c:cat>
          <c:val>
            <c:numRef>
              <c:f>'Rolling Stdev - Heatmap'!$B$13:$H$13</c:f>
              <c:numCache>
                <c:formatCode>General</c:formatCode>
                <c:ptCount val="7"/>
                <c:pt idx="0">
                  <c:v>5.432156486397724E-2</c:v>
                </c:pt>
                <c:pt idx="1">
                  <c:v>0.5625668631162597</c:v>
                </c:pt>
                <c:pt idx="2">
                  <c:v>4.176681155543158E-3</c:v>
                </c:pt>
                <c:pt idx="3">
                  <c:v>0.35403459695239597</c:v>
                </c:pt>
                <c:pt idx="4">
                  <c:v>0.72259124039896927</c:v>
                </c:pt>
                <c:pt idx="5">
                  <c:v>-1.776157330902153E-2</c:v>
                </c:pt>
                <c:pt idx="6">
                  <c:v>-8.334102089447748E-2</c:v>
                </c:pt>
              </c:numCache>
            </c:numRef>
          </c:val>
          <c:extLst>
            <c:ext xmlns:c16="http://schemas.microsoft.com/office/drawing/2014/chart" uri="{C3380CC4-5D6E-409C-BE32-E72D297353CC}">
              <c16:uniqueId val="{00000002-9B47-44B9-A37E-D1A58E0AC09C}"/>
            </c:ext>
          </c:extLst>
        </c:ser>
        <c:dLbls>
          <c:showLegendKey val="0"/>
          <c:showVal val="0"/>
          <c:showCatName val="0"/>
          <c:showSerName val="0"/>
          <c:showPercent val="0"/>
          <c:showBubbleSize val="0"/>
        </c:dLbls>
        <c:gapWidth val="219"/>
        <c:overlap val="-27"/>
        <c:axId val="121285120"/>
        <c:axId val="32355328"/>
      </c:barChart>
      <c:catAx>
        <c:axId val="12128512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solidFill>
                      <a:schemeClr val="tx1"/>
                    </a:solidFill>
                  </a:rPr>
                  <a:t>Variable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2355328"/>
        <c:crosses val="autoZero"/>
        <c:auto val="1"/>
        <c:lblAlgn val="ctr"/>
        <c:lblOffset val="100"/>
        <c:noMultiLvlLbl val="0"/>
      </c:catAx>
      <c:valAx>
        <c:axId val="3235532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solidFill>
                      <a:schemeClr val="tx1"/>
                    </a:solidFill>
                  </a:rPr>
                  <a:t>Correlation Valu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21285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solidFill>
                  <a:schemeClr val="tx1"/>
                </a:solidFill>
                <a:latin typeface="Calibri" panose="020F0502020204030204" pitchFamily="34" charset="0"/>
                <a:cs typeface="Calibri" panose="020F0502020204030204" pitchFamily="34" charset="0"/>
              </a:rPr>
              <a:t>Correlation</a:t>
            </a:r>
            <a:r>
              <a:rPr lang="en-US" b="1" baseline="0" dirty="0">
                <a:solidFill>
                  <a:schemeClr val="tx1"/>
                </a:solidFill>
                <a:latin typeface="Calibri" panose="020F0502020204030204" pitchFamily="34" charset="0"/>
                <a:cs typeface="Calibri" panose="020F0502020204030204" pitchFamily="34" charset="0"/>
              </a:rPr>
              <a:t> to Pump Failure</a:t>
            </a:r>
            <a:endParaRPr lang="en-US" b="1" dirty="0">
              <a:solidFill>
                <a:schemeClr val="tx1"/>
              </a:solidFill>
              <a:latin typeface="Calibri" panose="020F0502020204030204" pitchFamily="34" charset="0"/>
              <a:cs typeface="Calibri" panose="020F050202020403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44174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rrelation Matrix'!$A$18:$G$18</c:f>
              <c:strCache>
                <c:ptCount val="7"/>
                <c:pt idx="0">
                  <c:v>SURJEK_FLOW_METER_1</c:v>
                </c:pt>
                <c:pt idx="1">
                  <c:v>SURJEK_FLOW_METER_2</c:v>
                </c:pt>
                <c:pt idx="2">
                  <c:v>ROTATIONAL_PUMP_RPM</c:v>
                </c:pt>
                <c:pt idx="3">
                  <c:v>SURJEK_PUMP_TORQUE</c:v>
                </c:pt>
                <c:pt idx="4">
                  <c:v>MAXIMUM_DAILY_PUMP_TORQUE</c:v>
                </c:pt>
                <c:pt idx="5">
                  <c:v>SURJEK_TUBE_PRESSURE</c:v>
                </c:pt>
                <c:pt idx="6">
                  <c:v>SURJEK_ESTIMATED_EFFICIENCY</c:v>
                </c:pt>
              </c:strCache>
            </c:strRef>
          </c:cat>
          <c:val>
            <c:numRef>
              <c:f>'Correlation Matrix'!$A$19:$G$19</c:f>
              <c:numCache>
                <c:formatCode>General</c:formatCode>
                <c:ptCount val="7"/>
                <c:pt idx="0">
                  <c:v>0.49410400368353197</c:v>
                </c:pt>
                <c:pt idx="1">
                  <c:v>0.32673980634397926</c:v>
                </c:pt>
                <c:pt idx="2">
                  <c:v>0.41738409973182589</c:v>
                </c:pt>
                <c:pt idx="3">
                  <c:v>0.45276053569638247</c:v>
                </c:pt>
                <c:pt idx="4">
                  <c:v>0.10746679275604611</c:v>
                </c:pt>
                <c:pt idx="5">
                  <c:v>9.9664599721438138E-3</c:v>
                </c:pt>
                <c:pt idx="6">
                  <c:v>2.7142782409621483E-2</c:v>
                </c:pt>
              </c:numCache>
            </c:numRef>
          </c:val>
          <c:extLst>
            <c:ext xmlns:c16="http://schemas.microsoft.com/office/drawing/2014/chart" uri="{C3380CC4-5D6E-409C-BE32-E72D297353CC}">
              <c16:uniqueId val="{00000000-5FAC-48BD-B0E2-0B61BA4E3924}"/>
            </c:ext>
          </c:extLst>
        </c:ser>
        <c:dLbls>
          <c:dLblPos val="outEnd"/>
          <c:showLegendKey val="0"/>
          <c:showVal val="1"/>
          <c:showCatName val="0"/>
          <c:showSerName val="0"/>
          <c:showPercent val="0"/>
          <c:showBubbleSize val="0"/>
        </c:dLbls>
        <c:gapWidth val="219"/>
        <c:overlap val="-27"/>
        <c:axId val="1634131631"/>
        <c:axId val="1686821343"/>
      </c:barChart>
      <c:catAx>
        <c:axId val="163413163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solidFill>
                      <a:schemeClr val="tx1"/>
                    </a:solidFill>
                  </a:rPr>
                  <a:t>Variable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700" b="0" i="0" u="none" strike="noStrike" kern="1200" baseline="0">
                <a:solidFill>
                  <a:sysClr val="windowText" lastClr="000000"/>
                </a:solidFill>
                <a:latin typeface="+mn-lt"/>
                <a:ea typeface="+mn-ea"/>
                <a:cs typeface="+mn-cs"/>
              </a:defRPr>
            </a:pPr>
            <a:endParaRPr lang="en-US"/>
          </a:p>
        </c:txPr>
        <c:crossAx val="1686821343"/>
        <c:crosses val="autoZero"/>
        <c:auto val="1"/>
        <c:lblAlgn val="ctr"/>
        <c:lblOffset val="100"/>
        <c:noMultiLvlLbl val="0"/>
      </c:catAx>
      <c:valAx>
        <c:axId val="168682134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solidFill>
                      <a:schemeClr val="tx1"/>
                    </a:solidFill>
                  </a:rPr>
                  <a:t>Correlation Valu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3413163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solidFill>
                  <a:sysClr val="windowText" lastClr="000000"/>
                </a:solidFill>
              </a:rPr>
              <a:t>Predictive</a:t>
            </a:r>
            <a:r>
              <a:rPr lang="en-US" b="1" baseline="0">
                <a:solidFill>
                  <a:sysClr val="windowText" lastClr="000000"/>
                </a:solidFill>
              </a:rPr>
              <a:t> vs Actual Pump Failure Regression</a:t>
            </a:r>
            <a:endParaRPr lang="en-US" b="1">
              <a:solidFill>
                <a:sysClr val="windowText" lastClr="000000"/>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Regression Equation'!$J$1</c:f>
              <c:strCache>
                <c:ptCount val="1"/>
                <c:pt idx="0">
                  <c:v>Regression Equation</c:v>
                </c:pt>
              </c:strCache>
            </c:strRef>
          </c:tx>
          <c:spPr>
            <a:ln w="28575" cap="rnd">
              <a:solidFill>
                <a:schemeClr val="accent3">
                  <a:lumMod val="60000"/>
                  <a:lumOff val="40000"/>
                </a:schemeClr>
              </a:solidFill>
              <a:round/>
            </a:ln>
            <a:effectLst/>
          </c:spPr>
          <c:marker>
            <c:symbol val="none"/>
          </c:marker>
          <c:val>
            <c:numRef>
              <c:f>'Regression Equation'!$J$2:$J$6969</c:f>
              <c:numCache>
                <c:formatCode>General</c:formatCode>
                <c:ptCount val="6968"/>
                <c:pt idx="0">
                  <c:v>9.247656091830243E-3</c:v>
                </c:pt>
                <c:pt idx="1">
                  <c:v>4.1076842020812358E-3</c:v>
                </c:pt>
                <c:pt idx="2">
                  <c:v>-8.9806511258999702E-3</c:v>
                </c:pt>
                <c:pt idx="3">
                  <c:v>-8.8840759518237118E-3</c:v>
                </c:pt>
                <c:pt idx="4">
                  <c:v>-8.9184758613619457E-3</c:v>
                </c:pt>
                <c:pt idx="5">
                  <c:v>-8.7410949456593143E-3</c:v>
                </c:pt>
                <c:pt idx="6">
                  <c:v>-8.6907967839625205E-3</c:v>
                </c:pt>
                <c:pt idx="7">
                  <c:v>-8.712175240798847E-3</c:v>
                </c:pt>
                <c:pt idx="8">
                  <c:v>-8.734886333658461E-3</c:v>
                </c:pt>
                <c:pt idx="9">
                  <c:v>-8.7639083012898654E-3</c:v>
                </c:pt>
                <c:pt idx="10">
                  <c:v>-8.7852776808665812E-3</c:v>
                </c:pt>
                <c:pt idx="11">
                  <c:v>-8.7673883771336846E-3</c:v>
                </c:pt>
                <c:pt idx="12">
                  <c:v>-8.6607555041903397E-3</c:v>
                </c:pt>
                <c:pt idx="13">
                  <c:v>-8.666629590238048E-3</c:v>
                </c:pt>
                <c:pt idx="14">
                  <c:v>-8.6991945422265175E-3</c:v>
                </c:pt>
                <c:pt idx="15">
                  <c:v>-8.6767474837761323E-3</c:v>
                </c:pt>
                <c:pt idx="16">
                  <c:v>-8.4615022440122974E-3</c:v>
                </c:pt>
                <c:pt idx="17">
                  <c:v>-8.4068726369118905E-3</c:v>
                </c:pt>
                <c:pt idx="18">
                  <c:v>-8.3812040740772406E-3</c:v>
                </c:pt>
                <c:pt idx="19">
                  <c:v>-8.3628162166868303E-3</c:v>
                </c:pt>
                <c:pt idx="20">
                  <c:v>-8.5021483343882733E-3</c:v>
                </c:pt>
                <c:pt idx="21">
                  <c:v>-8.576258499089464E-3</c:v>
                </c:pt>
                <c:pt idx="22">
                  <c:v>-8.5632966991844653E-3</c:v>
                </c:pt>
                <c:pt idx="23">
                  <c:v>-8.5521587571802653E-3</c:v>
                </c:pt>
                <c:pt idx="24">
                  <c:v>-8.5978823134727905E-3</c:v>
                </c:pt>
                <c:pt idx="25">
                  <c:v>-8.6739646166919364E-3</c:v>
                </c:pt>
                <c:pt idx="26">
                  <c:v>-8.7130567817745481E-3</c:v>
                </c:pt>
                <c:pt idx="27">
                  <c:v>-8.7099996437953273E-3</c:v>
                </c:pt>
                <c:pt idx="28">
                  <c:v>-8.6907430372584783E-3</c:v>
                </c:pt>
                <c:pt idx="29">
                  <c:v>-8.6703220551775217E-3</c:v>
                </c:pt>
                <c:pt idx="30">
                  <c:v>-8.6399993954570254E-3</c:v>
                </c:pt>
                <c:pt idx="31">
                  <c:v>-8.7705108931775029E-3</c:v>
                </c:pt>
                <c:pt idx="32">
                  <c:v>-8.9835623573522282E-3</c:v>
                </c:pt>
                <c:pt idx="33">
                  <c:v>-9.2180863080245732E-3</c:v>
                </c:pt>
                <c:pt idx="34">
                  <c:v>-9.4660191254210407E-3</c:v>
                </c:pt>
                <c:pt idx="35">
                  <c:v>-9.6005556880743321E-3</c:v>
                </c:pt>
                <c:pt idx="36">
                  <c:v>-9.6306141807703596E-3</c:v>
                </c:pt>
                <c:pt idx="37">
                  <c:v>-9.4943487427743001E-3</c:v>
                </c:pt>
                <c:pt idx="38">
                  <c:v>-9.469869358424518E-3</c:v>
                </c:pt>
                <c:pt idx="39">
                  <c:v>-9.4825880636925895E-3</c:v>
                </c:pt>
                <c:pt idx="40">
                  <c:v>-9.5173874660517271E-3</c:v>
                </c:pt>
                <c:pt idx="41">
                  <c:v>-9.4676627471114091E-3</c:v>
                </c:pt>
                <c:pt idx="42">
                  <c:v>-9.9184097744528747E-3</c:v>
                </c:pt>
                <c:pt idx="43">
                  <c:v>-9.5342107568824729E-3</c:v>
                </c:pt>
                <c:pt idx="44">
                  <c:v>-9.4779395638892455E-3</c:v>
                </c:pt>
                <c:pt idx="45">
                  <c:v>-9.6409053998825558E-3</c:v>
                </c:pt>
                <c:pt idx="46">
                  <c:v>-9.7212623241061964E-3</c:v>
                </c:pt>
                <c:pt idx="47">
                  <c:v>-9.6300357516185698E-3</c:v>
                </c:pt>
                <c:pt idx="48">
                  <c:v>-9.6300215058159819E-3</c:v>
                </c:pt>
                <c:pt idx="49">
                  <c:v>-9.62894836332342E-3</c:v>
                </c:pt>
                <c:pt idx="50">
                  <c:v>-9.6199363277594575E-3</c:v>
                </c:pt>
                <c:pt idx="51">
                  <c:v>-9.5859843593079242E-3</c:v>
                </c:pt>
                <c:pt idx="52">
                  <c:v>-9.5473419652679792E-3</c:v>
                </c:pt>
                <c:pt idx="53">
                  <c:v>-9.4788292257482667E-3</c:v>
                </c:pt>
                <c:pt idx="54">
                  <c:v>-9.5057344326201759E-3</c:v>
                </c:pt>
                <c:pt idx="55">
                  <c:v>-9.5596079060230182E-3</c:v>
                </c:pt>
                <c:pt idx="56">
                  <c:v>-9.5489867201863799E-3</c:v>
                </c:pt>
                <c:pt idx="57">
                  <c:v>-9.698939681116037E-3</c:v>
                </c:pt>
                <c:pt idx="58">
                  <c:v>-9.7013164149614764E-3</c:v>
                </c:pt>
                <c:pt idx="59">
                  <c:v>-9.6750594366498514E-3</c:v>
                </c:pt>
                <c:pt idx="60">
                  <c:v>-9.5713420701952212E-3</c:v>
                </c:pt>
                <c:pt idx="61">
                  <c:v>-9.5688304675799005E-3</c:v>
                </c:pt>
                <c:pt idx="62">
                  <c:v>-9.502298690440017E-3</c:v>
                </c:pt>
                <c:pt idx="63">
                  <c:v>-9.4128744530383012E-3</c:v>
                </c:pt>
                <c:pt idx="64">
                  <c:v>-9.4204025550988935E-3</c:v>
                </c:pt>
                <c:pt idx="65">
                  <c:v>-9.4109561680960265E-3</c:v>
                </c:pt>
                <c:pt idx="66">
                  <c:v>-9.4272434275926818E-3</c:v>
                </c:pt>
                <c:pt idx="67">
                  <c:v>-9.5061377219005823E-3</c:v>
                </c:pt>
                <c:pt idx="68">
                  <c:v>-9.5086677824464619E-3</c:v>
                </c:pt>
                <c:pt idx="69">
                  <c:v>-9.4923697629739987E-3</c:v>
                </c:pt>
                <c:pt idx="70">
                  <c:v>-9.4731569643912543E-3</c:v>
                </c:pt>
                <c:pt idx="71">
                  <c:v>-9.5079300811651557E-3</c:v>
                </c:pt>
                <c:pt idx="72">
                  <c:v>-9.4314520529527966E-3</c:v>
                </c:pt>
                <c:pt idx="73">
                  <c:v>-9.7456632648784333E-3</c:v>
                </c:pt>
                <c:pt idx="74">
                  <c:v>-9.7763349690513333E-3</c:v>
                </c:pt>
                <c:pt idx="75">
                  <c:v>-9.8045729754772833E-3</c:v>
                </c:pt>
                <c:pt idx="76">
                  <c:v>-9.8115861846532707E-3</c:v>
                </c:pt>
                <c:pt idx="77">
                  <c:v>-9.9185731037443048E-3</c:v>
                </c:pt>
                <c:pt idx="78">
                  <c:v>-9.926542896890482E-3</c:v>
                </c:pt>
                <c:pt idx="79">
                  <c:v>-9.8862659989271441E-3</c:v>
                </c:pt>
                <c:pt idx="80">
                  <c:v>-9.8962525502210314E-3</c:v>
                </c:pt>
                <c:pt idx="81">
                  <c:v>-9.9106419701167695E-3</c:v>
                </c:pt>
                <c:pt idx="82">
                  <c:v>-9.948786018069429E-3</c:v>
                </c:pt>
                <c:pt idx="83">
                  <c:v>-9.9887352867732183E-3</c:v>
                </c:pt>
                <c:pt idx="84">
                  <c:v>-1.0063272427195086E-2</c:v>
                </c:pt>
                <c:pt idx="85">
                  <c:v>-9.5987914142073513E-3</c:v>
                </c:pt>
                <c:pt idx="86">
                  <c:v>-9.6103764267757904E-3</c:v>
                </c:pt>
                <c:pt idx="87">
                  <c:v>-9.6069120049528146E-3</c:v>
                </c:pt>
                <c:pt idx="88">
                  <c:v>-9.6021223629714613E-3</c:v>
                </c:pt>
                <c:pt idx="89">
                  <c:v>-9.5099108438846391E-3</c:v>
                </c:pt>
                <c:pt idx="90">
                  <c:v>-9.6442187045535279E-3</c:v>
                </c:pt>
                <c:pt idx="91">
                  <c:v>-9.6306296656164664E-3</c:v>
                </c:pt>
                <c:pt idx="92">
                  <c:v>-9.6857115378590711E-3</c:v>
                </c:pt>
                <c:pt idx="93">
                  <c:v>-9.5729365762000362E-3</c:v>
                </c:pt>
                <c:pt idx="94">
                  <c:v>-9.4587276396682161E-3</c:v>
                </c:pt>
                <c:pt idx="95">
                  <c:v>-9.4882375512806618E-3</c:v>
                </c:pt>
                <c:pt idx="96">
                  <c:v>-9.4688971572214446E-3</c:v>
                </c:pt>
                <c:pt idx="97">
                  <c:v>-9.4477436112588992E-3</c:v>
                </c:pt>
                <c:pt idx="98">
                  <c:v>-9.3740710666967309E-3</c:v>
                </c:pt>
                <c:pt idx="99">
                  <c:v>-9.3876420036948672E-3</c:v>
                </c:pt>
                <c:pt idx="100">
                  <c:v>-9.2900200586521937E-3</c:v>
                </c:pt>
                <c:pt idx="101">
                  <c:v>-9.2474109786655836E-3</c:v>
                </c:pt>
                <c:pt idx="102">
                  <c:v>-9.2896878946831726E-3</c:v>
                </c:pt>
                <c:pt idx="103">
                  <c:v>-9.3896155568644682E-3</c:v>
                </c:pt>
                <c:pt idx="104">
                  <c:v>-9.3732629424038982E-3</c:v>
                </c:pt>
                <c:pt idx="105">
                  <c:v>-9.2876260992574115E-3</c:v>
                </c:pt>
                <c:pt idx="106">
                  <c:v>-9.2776318811590743E-3</c:v>
                </c:pt>
                <c:pt idx="107">
                  <c:v>-9.1815726092398554E-3</c:v>
                </c:pt>
                <c:pt idx="108">
                  <c:v>-9.1299417293124116E-3</c:v>
                </c:pt>
                <c:pt idx="109">
                  <c:v>-9.0993711247259034E-3</c:v>
                </c:pt>
                <c:pt idx="110">
                  <c:v>-9.0935558384821202E-3</c:v>
                </c:pt>
                <c:pt idx="111">
                  <c:v>-9.1148714067497364E-3</c:v>
                </c:pt>
                <c:pt idx="112">
                  <c:v>-9.1157505033843782E-3</c:v>
                </c:pt>
                <c:pt idx="113">
                  <c:v>-9.1353360240165431E-3</c:v>
                </c:pt>
                <c:pt idx="114">
                  <c:v>-9.136851707477734E-3</c:v>
                </c:pt>
                <c:pt idx="115">
                  <c:v>-9.5617270106537183E-3</c:v>
                </c:pt>
                <c:pt idx="116">
                  <c:v>-9.4920657846798723E-3</c:v>
                </c:pt>
                <c:pt idx="117">
                  <c:v>-9.4749629142164681E-3</c:v>
                </c:pt>
                <c:pt idx="118">
                  <c:v>-9.4870610744662992E-3</c:v>
                </c:pt>
                <c:pt idx="119">
                  <c:v>-9.6477896813683475E-3</c:v>
                </c:pt>
                <c:pt idx="120">
                  <c:v>-9.6814253358273074E-3</c:v>
                </c:pt>
                <c:pt idx="121">
                  <c:v>-9.7224391976756721E-3</c:v>
                </c:pt>
                <c:pt idx="122">
                  <c:v>-9.848334832151551E-3</c:v>
                </c:pt>
                <c:pt idx="123">
                  <c:v>-9.8324852088828747E-3</c:v>
                </c:pt>
                <c:pt idx="124">
                  <c:v>-9.9019280577750286E-3</c:v>
                </c:pt>
                <c:pt idx="125">
                  <c:v>-9.7803467677295992E-3</c:v>
                </c:pt>
                <c:pt idx="126">
                  <c:v>-9.6892374784582295E-3</c:v>
                </c:pt>
                <c:pt idx="127">
                  <c:v>-9.6456278207758296E-3</c:v>
                </c:pt>
                <c:pt idx="128">
                  <c:v>-9.6722127404915322E-3</c:v>
                </c:pt>
                <c:pt idx="129">
                  <c:v>-9.4313057994902961E-3</c:v>
                </c:pt>
                <c:pt idx="130">
                  <c:v>-9.4277358705472519E-3</c:v>
                </c:pt>
                <c:pt idx="131">
                  <c:v>-9.4805876565290208E-3</c:v>
                </c:pt>
                <c:pt idx="132">
                  <c:v>-9.5137334268346977E-3</c:v>
                </c:pt>
                <c:pt idx="133">
                  <c:v>-9.4915831112608005E-3</c:v>
                </c:pt>
                <c:pt idx="134">
                  <c:v>-9.4882397930509781E-3</c:v>
                </c:pt>
                <c:pt idx="135">
                  <c:v>-9.2097741427505445E-3</c:v>
                </c:pt>
                <c:pt idx="136">
                  <c:v>-9.1268795533276017E-3</c:v>
                </c:pt>
                <c:pt idx="137">
                  <c:v>-9.1769086693850501E-3</c:v>
                </c:pt>
                <c:pt idx="138">
                  <c:v>-9.1903116205804113E-3</c:v>
                </c:pt>
                <c:pt idx="139">
                  <c:v>-9.2520996939145332E-3</c:v>
                </c:pt>
                <c:pt idx="140">
                  <c:v>-9.2418398772722721E-3</c:v>
                </c:pt>
                <c:pt idx="141">
                  <c:v>-9.2156824640387703E-3</c:v>
                </c:pt>
                <c:pt idx="142">
                  <c:v>-9.1669686951397072E-3</c:v>
                </c:pt>
                <c:pt idx="143">
                  <c:v>-9.1610142917967381E-3</c:v>
                </c:pt>
                <c:pt idx="144">
                  <c:v>-9.057629767716454E-3</c:v>
                </c:pt>
                <c:pt idx="145">
                  <c:v>-9.0019023990166244E-3</c:v>
                </c:pt>
                <c:pt idx="146">
                  <c:v>-8.9138423417495314E-3</c:v>
                </c:pt>
                <c:pt idx="147">
                  <c:v>-8.9352631949918288E-3</c:v>
                </c:pt>
                <c:pt idx="148">
                  <c:v>-8.8543033691264837E-3</c:v>
                </c:pt>
                <c:pt idx="149">
                  <c:v>-8.8250753566249673E-3</c:v>
                </c:pt>
                <c:pt idx="150">
                  <c:v>-8.7852211601509612E-3</c:v>
                </c:pt>
                <c:pt idx="151">
                  <c:v>-8.7357718698365238E-3</c:v>
                </c:pt>
                <c:pt idx="152">
                  <c:v>-8.7086022548337073E-3</c:v>
                </c:pt>
                <c:pt idx="153">
                  <c:v>-8.8593038918589138E-3</c:v>
                </c:pt>
                <c:pt idx="154">
                  <c:v>-8.873760623176281E-3</c:v>
                </c:pt>
                <c:pt idx="155">
                  <c:v>-8.9507915870520247E-3</c:v>
                </c:pt>
                <c:pt idx="156">
                  <c:v>-9.0042211494515603E-3</c:v>
                </c:pt>
                <c:pt idx="157">
                  <c:v>-9.0459737981696611E-3</c:v>
                </c:pt>
                <c:pt idx="158">
                  <c:v>-9.0421851338533879E-3</c:v>
                </c:pt>
                <c:pt idx="159">
                  <c:v>-9.1368145684078902E-3</c:v>
                </c:pt>
                <c:pt idx="160">
                  <c:v>-9.1807961848513146E-3</c:v>
                </c:pt>
                <c:pt idx="161">
                  <c:v>-9.1165869716790682E-3</c:v>
                </c:pt>
                <c:pt idx="162">
                  <c:v>-9.0916834889491534E-3</c:v>
                </c:pt>
                <c:pt idx="163">
                  <c:v>-9.0878817290243625E-3</c:v>
                </c:pt>
                <c:pt idx="164">
                  <c:v>-9.0820907478552093E-3</c:v>
                </c:pt>
                <c:pt idx="165">
                  <c:v>-9.5439069885469643E-3</c:v>
                </c:pt>
                <c:pt idx="166">
                  <c:v>-9.4557227248990416E-3</c:v>
                </c:pt>
                <c:pt idx="167">
                  <c:v>-8.2561706388023341E-3</c:v>
                </c:pt>
                <c:pt idx="168">
                  <c:v>-8.2219171589218397E-3</c:v>
                </c:pt>
                <c:pt idx="169">
                  <c:v>-8.2392407667331771E-3</c:v>
                </c:pt>
                <c:pt idx="170">
                  <c:v>-8.2168339848551208E-3</c:v>
                </c:pt>
                <c:pt idx="171">
                  <c:v>-8.2176473174253844E-3</c:v>
                </c:pt>
                <c:pt idx="172">
                  <c:v>-8.2235665864409547E-3</c:v>
                </c:pt>
                <c:pt idx="173">
                  <c:v>-8.2026905868266484E-3</c:v>
                </c:pt>
                <c:pt idx="174">
                  <c:v>-8.2332464662492038E-3</c:v>
                </c:pt>
                <c:pt idx="175">
                  <c:v>-8.2061261211994179E-3</c:v>
                </c:pt>
                <c:pt idx="176">
                  <c:v>-8.3043292908060728E-3</c:v>
                </c:pt>
                <c:pt idx="177">
                  <c:v>-8.2860852501394303E-3</c:v>
                </c:pt>
                <c:pt idx="178">
                  <c:v>-8.3122056585159063E-3</c:v>
                </c:pt>
                <c:pt idx="179">
                  <c:v>-8.3222288782676748E-3</c:v>
                </c:pt>
                <c:pt idx="180">
                  <c:v>-7.7585231001409544E-3</c:v>
                </c:pt>
                <c:pt idx="181">
                  <c:v>-7.7789726417198312E-3</c:v>
                </c:pt>
                <c:pt idx="182">
                  <c:v>-7.8225733292959596E-3</c:v>
                </c:pt>
                <c:pt idx="183">
                  <c:v>-7.8932623023149837E-3</c:v>
                </c:pt>
                <c:pt idx="184">
                  <c:v>-7.8799536457006616E-3</c:v>
                </c:pt>
                <c:pt idx="185">
                  <c:v>-7.8798395899585937E-3</c:v>
                </c:pt>
                <c:pt idx="186">
                  <c:v>-7.9063218665562617E-3</c:v>
                </c:pt>
                <c:pt idx="187">
                  <c:v>-7.9292200471750111E-3</c:v>
                </c:pt>
                <c:pt idx="188">
                  <c:v>-8.0045604757656222E-3</c:v>
                </c:pt>
                <c:pt idx="189">
                  <c:v>-8.0780736062621584E-3</c:v>
                </c:pt>
                <c:pt idx="190">
                  <c:v>-8.1066953323254247E-3</c:v>
                </c:pt>
                <c:pt idx="191">
                  <c:v>-8.0801085869833499E-3</c:v>
                </c:pt>
                <c:pt idx="192">
                  <c:v>-8.1116376756618733E-3</c:v>
                </c:pt>
                <c:pt idx="193">
                  <c:v>-8.0266874822995243E-3</c:v>
                </c:pt>
                <c:pt idx="194">
                  <c:v>-7.9622441839352076E-3</c:v>
                </c:pt>
                <c:pt idx="195">
                  <c:v>-8.0609440552080712E-3</c:v>
                </c:pt>
                <c:pt idx="196">
                  <c:v>-8.075903248025448E-3</c:v>
                </c:pt>
                <c:pt idx="197">
                  <c:v>-8.9621667804699531E-3</c:v>
                </c:pt>
                <c:pt idx="198">
                  <c:v>-9.0046882266663977E-3</c:v>
                </c:pt>
                <c:pt idx="199">
                  <c:v>-8.9727580514508461E-3</c:v>
                </c:pt>
                <c:pt idx="200">
                  <c:v>-9.0367087661217937E-3</c:v>
                </c:pt>
                <c:pt idx="201">
                  <c:v>-9.0136374462397861E-3</c:v>
                </c:pt>
                <c:pt idx="202">
                  <c:v>-8.9756995079570464E-3</c:v>
                </c:pt>
                <c:pt idx="203">
                  <c:v>-8.5644698492923638E-3</c:v>
                </c:pt>
                <c:pt idx="204">
                  <c:v>-8.5666512216086878E-3</c:v>
                </c:pt>
                <c:pt idx="205">
                  <c:v>-8.6757849258516963E-3</c:v>
                </c:pt>
                <c:pt idx="206">
                  <c:v>-8.7058629793854356E-3</c:v>
                </c:pt>
                <c:pt idx="207">
                  <c:v>-8.6101155983621183E-3</c:v>
                </c:pt>
                <c:pt idx="208">
                  <c:v>-8.5804706356452341E-3</c:v>
                </c:pt>
                <c:pt idx="209">
                  <c:v>-8.5730678692980209E-3</c:v>
                </c:pt>
                <c:pt idx="210">
                  <c:v>-9.1674862154200454E-3</c:v>
                </c:pt>
                <c:pt idx="211">
                  <c:v>-8.6263841632460529E-3</c:v>
                </c:pt>
                <c:pt idx="212">
                  <c:v>-8.6213918711578741E-3</c:v>
                </c:pt>
                <c:pt idx="213">
                  <c:v>-8.3793605249758169E-3</c:v>
                </c:pt>
                <c:pt idx="214">
                  <c:v>-8.378634475571323E-3</c:v>
                </c:pt>
                <c:pt idx="215">
                  <c:v>-8.3795314892825459E-3</c:v>
                </c:pt>
                <c:pt idx="216">
                  <c:v>-8.3986361238052448E-3</c:v>
                </c:pt>
                <c:pt idx="217">
                  <c:v>-8.3519007682061365E-3</c:v>
                </c:pt>
                <c:pt idx="218">
                  <c:v>-8.3373970393483925E-3</c:v>
                </c:pt>
                <c:pt idx="219">
                  <c:v>-8.2287532886686152E-3</c:v>
                </c:pt>
                <c:pt idx="220">
                  <c:v>-8.0938686473445709E-3</c:v>
                </c:pt>
                <c:pt idx="221">
                  <c:v>-8.0669316625926225E-3</c:v>
                </c:pt>
                <c:pt idx="222">
                  <c:v>-8.0501434115300193E-3</c:v>
                </c:pt>
                <c:pt idx="223">
                  <c:v>-8.0232100097477766E-3</c:v>
                </c:pt>
                <c:pt idx="224">
                  <c:v>-8.0135078760863836E-3</c:v>
                </c:pt>
                <c:pt idx="225">
                  <c:v>-7.9873082406362733E-3</c:v>
                </c:pt>
                <c:pt idx="226">
                  <c:v>-7.9803558627891385E-3</c:v>
                </c:pt>
                <c:pt idx="227">
                  <c:v>-7.9919550015449797E-3</c:v>
                </c:pt>
                <c:pt idx="228">
                  <c:v>-7.970024361486654E-3</c:v>
                </c:pt>
                <c:pt idx="229">
                  <c:v>-7.991664189080587E-3</c:v>
                </c:pt>
                <c:pt idx="230">
                  <c:v>-7.9922378368696978E-3</c:v>
                </c:pt>
                <c:pt idx="231">
                  <c:v>-7.9112347104553088E-3</c:v>
                </c:pt>
                <c:pt idx="232">
                  <c:v>-7.9599416791995767E-3</c:v>
                </c:pt>
                <c:pt idx="233">
                  <c:v>-8.2096503949852448E-3</c:v>
                </c:pt>
                <c:pt idx="234">
                  <c:v>-8.1963034750772296E-3</c:v>
                </c:pt>
                <c:pt idx="235">
                  <c:v>-8.1997484070601215E-3</c:v>
                </c:pt>
                <c:pt idx="236">
                  <c:v>-8.3022007021196585E-3</c:v>
                </c:pt>
                <c:pt idx="237">
                  <c:v>-8.3338271921337345E-3</c:v>
                </c:pt>
                <c:pt idx="238">
                  <c:v>-8.3500931883319536E-3</c:v>
                </c:pt>
                <c:pt idx="239">
                  <c:v>-8.325519728642098E-3</c:v>
                </c:pt>
                <c:pt idx="240">
                  <c:v>-8.3396799420763761E-3</c:v>
                </c:pt>
                <c:pt idx="241">
                  <c:v>-8.7459106541420036E-3</c:v>
                </c:pt>
                <c:pt idx="242">
                  <c:v>-8.7383136798798548E-3</c:v>
                </c:pt>
                <c:pt idx="243">
                  <c:v>-8.9551339330432647E-3</c:v>
                </c:pt>
                <c:pt idx="244">
                  <c:v>-8.9527508011078803E-3</c:v>
                </c:pt>
                <c:pt idx="245">
                  <c:v>-8.9561543303814158E-3</c:v>
                </c:pt>
                <c:pt idx="246">
                  <c:v>-8.9454973486696853E-3</c:v>
                </c:pt>
                <c:pt idx="247">
                  <c:v>-9.0157229886598852E-3</c:v>
                </c:pt>
                <c:pt idx="248">
                  <c:v>-9.0062902228364734E-3</c:v>
                </c:pt>
                <c:pt idx="249">
                  <c:v>-9.1219294619926915E-3</c:v>
                </c:pt>
                <c:pt idx="250">
                  <c:v>-9.2116702599556212E-3</c:v>
                </c:pt>
                <c:pt idx="251">
                  <c:v>-9.2321504797845087E-3</c:v>
                </c:pt>
                <c:pt idx="252">
                  <c:v>-9.4176250726724173E-3</c:v>
                </c:pt>
                <c:pt idx="253">
                  <c:v>-9.506329418444143E-3</c:v>
                </c:pt>
                <c:pt idx="254">
                  <c:v>-9.471082054097418E-3</c:v>
                </c:pt>
                <c:pt idx="255">
                  <c:v>-9.3802669729190075E-3</c:v>
                </c:pt>
                <c:pt idx="256">
                  <c:v>-9.3551486770407366E-3</c:v>
                </c:pt>
                <c:pt idx="257">
                  <c:v>-9.3769101154675977E-3</c:v>
                </c:pt>
                <c:pt idx="258">
                  <c:v>-9.3926484263755633E-3</c:v>
                </c:pt>
                <c:pt idx="259">
                  <c:v>-9.3990778055732908E-3</c:v>
                </c:pt>
                <c:pt idx="260">
                  <c:v>-9.570753106361192E-3</c:v>
                </c:pt>
                <c:pt idx="261">
                  <c:v>-9.689856567886292E-3</c:v>
                </c:pt>
                <c:pt idx="262">
                  <c:v>-9.6826915193028544E-3</c:v>
                </c:pt>
                <c:pt idx="263">
                  <c:v>-9.8021282711207199E-3</c:v>
                </c:pt>
                <c:pt idx="264">
                  <c:v>-9.803298612985456E-3</c:v>
                </c:pt>
                <c:pt idx="265">
                  <c:v>-9.7973355994602582E-3</c:v>
                </c:pt>
                <c:pt idx="266">
                  <c:v>-9.7459384533887666E-3</c:v>
                </c:pt>
                <c:pt idx="267">
                  <c:v>-9.8774746839871211E-3</c:v>
                </c:pt>
                <c:pt idx="268">
                  <c:v>-1.0007486300285307E-2</c:v>
                </c:pt>
                <c:pt idx="269">
                  <c:v>-1.0186798406757926E-2</c:v>
                </c:pt>
                <c:pt idx="270">
                  <c:v>-1.0229793052935067E-2</c:v>
                </c:pt>
                <c:pt idx="271">
                  <c:v>-1.0250832960055221E-2</c:v>
                </c:pt>
                <c:pt idx="272">
                  <c:v>-1.025437677704532E-2</c:v>
                </c:pt>
                <c:pt idx="273">
                  <c:v>-1.0007189873135749E-2</c:v>
                </c:pt>
                <c:pt idx="274">
                  <c:v>-9.9436421867525136E-3</c:v>
                </c:pt>
                <c:pt idx="275">
                  <c:v>-9.9489232933537217E-3</c:v>
                </c:pt>
                <c:pt idx="276">
                  <c:v>-9.911316957727203E-3</c:v>
                </c:pt>
                <c:pt idx="277">
                  <c:v>-9.8989212527464017E-3</c:v>
                </c:pt>
                <c:pt idx="278">
                  <c:v>-9.7718983988306432E-3</c:v>
                </c:pt>
                <c:pt idx="279">
                  <c:v>-9.9526806838705142E-3</c:v>
                </c:pt>
                <c:pt idx="280">
                  <c:v>-9.9092796042169681E-3</c:v>
                </c:pt>
                <c:pt idx="281">
                  <c:v>-9.7972575982899161E-3</c:v>
                </c:pt>
                <c:pt idx="282">
                  <c:v>-9.7354656638301146E-3</c:v>
                </c:pt>
                <c:pt idx="283">
                  <c:v>-9.6422836912370725E-3</c:v>
                </c:pt>
                <c:pt idx="284">
                  <c:v>-9.6637739258719994E-3</c:v>
                </c:pt>
                <c:pt idx="285">
                  <c:v>-9.700055816069194E-3</c:v>
                </c:pt>
                <c:pt idx="286">
                  <c:v>-9.6884010459452313E-3</c:v>
                </c:pt>
                <c:pt idx="287">
                  <c:v>-9.7316759244884463E-3</c:v>
                </c:pt>
                <c:pt idx="288">
                  <c:v>-9.7459704840355214E-3</c:v>
                </c:pt>
                <c:pt idx="289">
                  <c:v>-9.7374629738445472E-3</c:v>
                </c:pt>
                <c:pt idx="290">
                  <c:v>-9.671961674040953E-3</c:v>
                </c:pt>
                <c:pt idx="291">
                  <c:v>-9.545785327911973E-3</c:v>
                </c:pt>
                <c:pt idx="292">
                  <c:v>-9.5452707995232998E-3</c:v>
                </c:pt>
                <c:pt idx="293">
                  <c:v>-9.5270209662280132E-3</c:v>
                </c:pt>
                <c:pt idx="294">
                  <c:v>-9.5225496269854045E-3</c:v>
                </c:pt>
                <c:pt idx="295">
                  <c:v>-9.5226724392193738E-3</c:v>
                </c:pt>
                <c:pt idx="296">
                  <c:v>-9.5638382949972435E-3</c:v>
                </c:pt>
                <c:pt idx="297">
                  <c:v>-9.5036010957182341E-3</c:v>
                </c:pt>
                <c:pt idx="298">
                  <c:v>-9.39467034161829E-3</c:v>
                </c:pt>
                <c:pt idx="299">
                  <c:v>-9.4052254324199884E-3</c:v>
                </c:pt>
                <c:pt idx="300">
                  <c:v>-9.3983414990328681E-3</c:v>
                </c:pt>
                <c:pt idx="301">
                  <c:v>-9.316046956416954E-3</c:v>
                </c:pt>
                <c:pt idx="302">
                  <c:v>-9.287250366446221E-3</c:v>
                </c:pt>
                <c:pt idx="303">
                  <c:v>-9.3928339340393942E-3</c:v>
                </c:pt>
                <c:pt idx="304">
                  <c:v>-9.479118271918623E-3</c:v>
                </c:pt>
                <c:pt idx="305">
                  <c:v>-9.407024656489172E-3</c:v>
                </c:pt>
                <c:pt idx="306">
                  <c:v>-9.4018821302971362E-3</c:v>
                </c:pt>
                <c:pt idx="307">
                  <c:v>-9.4078663255594604E-3</c:v>
                </c:pt>
                <c:pt idx="308">
                  <c:v>-9.4731347359367502E-3</c:v>
                </c:pt>
                <c:pt idx="309">
                  <c:v>-9.4922429962215858E-3</c:v>
                </c:pt>
                <c:pt idx="310">
                  <c:v>-9.5645368151932864E-3</c:v>
                </c:pt>
                <c:pt idx="311">
                  <c:v>-9.4755727650675473E-3</c:v>
                </c:pt>
                <c:pt idx="312">
                  <c:v>-9.5952295405424114E-3</c:v>
                </c:pt>
                <c:pt idx="313">
                  <c:v>-9.6265751633068039E-3</c:v>
                </c:pt>
                <c:pt idx="314">
                  <c:v>-9.6666049789452119E-3</c:v>
                </c:pt>
                <c:pt idx="315">
                  <c:v>-9.6829862541216623E-3</c:v>
                </c:pt>
                <c:pt idx="316">
                  <c:v>-9.5075763300927277E-3</c:v>
                </c:pt>
                <c:pt idx="317">
                  <c:v>-9.4901275879806738E-3</c:v>
                </c:pt>
                <c:pt idx="318">
                  <c:v>-9.4746204351140902E-3</c:v>
                </c:pt>
                <c:pt idx="319">
                  <c:v>-9.456069646729447E-3</c:v>
                </c:pt>
                <c:pt idx="320">
                  <c:v>-9.5067212227337786E-3</c:v>
                </c:pt>
                <c:pt idx="321">
                  <c:v>-9.3461640014083549E-3</c:v>
                </c:pt>
                <c:pt idx="322">
                  <c:v>-9.2202678288351193E-3</c:v>
                </c:pt>
                <c:pt idx="323">
                  <c:v>-8.976111835426178E-3</c:v>
                </c:pt>
                <c:pt idx="324">
                  <c:v>-8.8124618933109675E-3</c:v>
                </c:pt>
                <c:pt idx="325">
                  <c:v>-8.4164829783695966E-3</c:v>
                </c:pt>
                <c:pt idx="326">
                  <c:v>-8.3691997570038562E-3</c:v>
                </c:pt>
                <c:pt idx="327">
                  <c:v>-8.4326798957420311E-3</c:v>
                </c:pt>
                <c:pt idx="328">
                  <c:v>-8.3201009305621122E-3</c:v>
                </c:pt>
                <c:pt idx="329">
                  <c:v>-8.2080264882633067E-3</c:v>
                </c:pt>
                <c:pt idx="330">
                  <c:v>-8.1757404309693374E-3</c:v>
                </c:pt>
                <c:pt idx="331">
                  <c:v>-8.1106542555973368E-3</c:v>
                </c:pt>
                <c:pt idx="332">
                  <c:v>-8.1396148526069207E-3</c:v>
                </c:pt>
                <c:pt idx="333">
                  <c:v>-8.1260864283681303E-3</c:v>
                </c:pt>
                <c:pt idx="334">
                  <c:v>-7.7383706874720251E-3</c:v>
                </c:pt>
                <c:pt idx="335">
                  <c:v>-7.7675731075939388E-3</c:v>
                </c:pt>
                <c:pt idx="336">
                  <c:v>-7.6307007324040513E-3</c:v>
                </c:pt>
                <c:pt idx="337">
                  <c:v>-7.4959809464395103E-3</c:v>
                </c:pt>
                <c:pt idx="338">
                  <c:v>-7.4346259828066228E-3</c:v>
                </c:pt>
                <c:pt idx="339">
                  <c:v>-7.3895712902290311E-3</c:v>
                </c:pt>
                <c:pt idx="340">
                  <c:v>-7.3835114269878545E-3</c:v>
                </c:pt>
                <c:pt idx="341">
                  <c:v>-7.3059092496763267E-3</c:v>
                </c:pt>
                <c:pt idx="342">
                  <c:v>-7.1863814607516724E-3</c:v>
                </c:pt>
                <c:pt idx="343">
                  <c:v>-7.220863590191702E-3</c:v>
                </c:pt>
                <c:pt idx="344">
                  <c:v>-7.287060023629912E-3</c:v>
                </c:pt>
                <c:pt idx="345">
                  <c:v>-7.1876286521580131E-3</c:v>
                </c:pt>
                <c:pt idx="346">
                  <c:v>-7.2593824642055481E-3</c:v>
                </c:pt>
                <c:pt idx="347">
                  <c:v>-7.310684613258552E-3</c:v>
                </c:pt>
                <c:pt idx="348">
                  <c:v>-7.2913736756945787E-3</c:v>
                </c:pt>
                <c:pt idx="349">
                  <c:v>-7.3121052019413423E-3</c:v>
                </c:pt>
                <c:pt idx="350">
                  <c:v>-7.6517886362045297E-3</c:v>
                </c:pt>
                <c:pt idx="351">
                  <c:v>-7.65263721938126E-3</c:v>
                </c:pt>
                <c:pt idx="352">
                  <c:v>-7.6610545024270111E-3</c:v>
                </c:pt>
                <c:pt idx="353">
                  <c:v>-7.729839273221204E-3</c:v>
                </c:pt>
                <c:pt idx="354">
                  <c:v>-7.782079316956271E-3</c:v>
                </c:pt>
                <c:pt idx="355">
                  <c:v>-7.9410310143209449E-3</c:v>
                </c:pt>
                <c:pt idx="356">
                  <c:v>-7.8797809718300343E-3</c:v>
                </c:pt>
                <c:pt idx="357">
                  <c:v>-7.8409210604049595E-3</c:v>
                </c:pt>
                <c:pt idx="358">
                  <c:v>-7.8604468940851428E-3</c:v>
                </c:pt>
                <c:pt idx="359">
                  <c:v>-7.9406725011890601E-3</c:v>
                </c:pt>
                <c:pt idx="360">
                  <c:v>-7.9429464597132876E-3</c:v>
                </c:pt>
                <c:pt idx="361">
                  <c:v>-8.0194852756460162E-3</c:v>
                </c:pt>
                <c:pt idx="362">
                  <c:v>-8.0197412929350117E-3</c:v>
                </c:pt>
                <c:pt idx="363">
                  <c:v>-7.9485284182072465E-3</c:v>
                </c:pt>
                <c:pt idx="364">
                  <c:v>-8.1993094161214967E-3</c:v>
                </c:pt>
                <c:pt idx="365">
                  <c:v>-8.1780321119488478E-3</c:v>
                </c:pt>
                <c:pt idx="366">
                  <c:v>-8.4218902726743046E-3</c:v>
                </c:pt>
                <c:pt idx="367">
                  <c:v>-8.4220134121105721E-3</c:v>
                </c:pt>
                <c:pt idx="368">
                  <c:v>-8.4627774196475124E-3</c:v>
                </c:pt>
                <c:pt idx="369">
                  <c:v>-8.6299849989108328E-3</c:v>
                </c:pt>
                <c:pt idx="370">
                  <c:v>-8.6301198161040545E-3</c:v>
                </c:pt>
                <c:pt idx="371">
                  <c:v>-8.6155868817808165E-3</c:v>
                </c:pt>
                <c:pt idx="372">
                  <c:v>-8.5715128347407816E-3</c:v>
                </c:pt>
                <c:pt idx="373">
                  <c:v>-8.5701146358414387E-3</c:v>
                </c:pt>
                <c:pt idx="374">
                  <c:v>-8.541049398991564E-3</c:v>
                </c:pt>
                <c:pt idx="375">
                  <c:v>-8.8383557028424379E-3</c:v>
                </c:pt>
                <c:pt idx="376">
                  <c:v>-8.7880094543838685E-3</c:v>
                </c:pt>
                <c:pt idx="377">
                  <c:v>-8.7624120070026353E-3</c:v>
                </c:pt>
                <c:pt idx="378">
                  <c:v>-8.8742624161775793E-3</c:v>
                </c:pt>
                <c:pt idx="379">
                  <c:v>-8.8825153592228707E-3</c:v>
                </c:pt>
                <c:pt idx="380">
                  <c:v>-8.8661245486838808E-3</c:v>
                </c:pt>
                <c:pt idx="381">
                  <c:v>-8.8629558581535019E-3</c:v>
                </c:pt>
                <c:pt idx="382">
                  <c:v>-8.8655742533037089E-3</c:v>
                </c:pt>
                <c:pt idx="383">
                  <c:v>-8.8796601955014893E-3</c:v>
                </c:pt>
                <c:pt idx="384">
                  <c:v>-9.0156299293690095E-3</c:v>
                </c:pt>
                <c:pt idx="385">
                  <c:v>-9.0953576983662104E-3</c:v>
                </c:pt>
                <c:pt idx="386">
                  <c:v>-9.1246186089248282E-3</c:v>
                </c:pt>
                <c:pt idx="387">
                  <c:v>-9.0051049104283038E-3</c:v>
                </c:pt>
                <c:pt idx="388">
                  <c:v>-9.1479799545456722E-3</c:v>
                </c:pt>
                <c:pt idx="389">
                  <c:v>-9.1984778313076894E-3</c:v>
                </c:pt>
                <c:pt idx="390">
                  <c:v>-9.1711809333360813E-3</c:v>
                </c:pt>
                <c:pt idx="391">
                  <c:v>-7.1791646340915094E-3</c:v>
                </c:pt>
                <c:pt idx="392">
                  <c:v>-6.3308728838892938E-3</c:v>
                </c:pt>
                <c:pt idx="393">
                  <c:v>-5.8105332494217572E-3</c:v>
                </c:pt>
                <c:pt idx="394">
                  <c:v>-5.423634683318984E-3</c:v>
                </c:pt>
                <c:pt idx="395">
                  <c:v>-5.1219341101477397E-3</c:v>
                </c:pt>
                <c:pt idx="396">
                  <c:v>-4.8176689004431131E-3</c:v>
                </c:pt>
                <c:pt idx="397">
                  <c:v>-4.6041141323191932E-3</c:v>
                </c:pt>
                <c:pt idx="398">
                  <c:v>-4.5459159883350945E-3</c:v>
                </c:pt>
                <c:pt idx="399">
                  <c:v>-4.3641320466494653E-3</c:v>
                </c:pt>
                <c:pt idx="400">
                  <c:v>-4.2348989933815497E-3</c:v>
                </c:pt>
                <c:pt idx="401">
                  <c:v>-4.2015417624892745E-3</c:v>
                </c:pt>
                <c:pt idx="402">
                  <c:v>-4.2997336655117777E-3</c:v>
                </c:pt>
                <c:pt idx="403">
                  <c:v>-4.2467136255694392E-3</c:v>
                </c:pt>
                <c:pt idx="404">
                  <c:v>-4.2217085320873302E-3</c:v>
                </c:pt>
                <c:pt idx="405">
                  <c:v>-4.3221486538566299E-3</c:v>
                </c:pt>
                <c:pt idx="406">
                  <c:v>-4.4389739639008885E-3</c:v>
                </c:pt>
                <c:pt idx="407">
                  <c:v>-4.3223706278993461E-3</c:v>
                </c:pt>
                <c:pt idx="408">
                  <c:v>-4.3579616049880098E-3</c:v>
                </c:pt>
                <c:pt idx="409">
                  <c:v>-4.4885772545572048E-3</c:v>
                </c:pt>
                <c:pt idx="410">
                  <c:v>-4.5753031406924258E-3</c:v>
                </c:pt>
                <c:pt idx="411">
                  <c:v>-4.4672544622333318E-3</c:v>
                </c:pt>
                <c:pt idx="412">
                  <c:v>-4.5567360947912083E-3</c:v>
                </c:pt>
                <c:pt idx="413">
                  <c:v>-4.705803754903138E-3</c:v>
                </c:pt>
                <c:pt idx="414">
                  <c:v>-4.74233213885318E-3</c:v>
                </c:pt>
                <c:pt idx="415">
                  <c:v>-5.0478508958290771E-3</c:v>
                </c:pt>
                <c:pt idx="416">
                  <c:v>-5.4726067100569174E-3</c:v>
                </c:pt>
                <c:pt idx="417">
                  <c:v>-6.1405247380926413E-3</c:v>
                </c:pt>
                <c:pt idx="418">
                  <c:v>-6.6797149903939255E-3</c:v>
                </c:pt>
                <c:pt idx="419">
                  <c:v>-7.4375886235843111E-3</c:v>
                </c:pt>
                <c:pt idx="420">
                  <c:v>-9.3938689516838512E-3</c:v>
                </c:pt>
                <c:pt idx="421">
                  <c:v>-9.3585612799726992E-3</c:v>
                </c:pt>
                <c:pt idx="422">
                  <c:v>-9.225521158715267E-3</c:v>
                </c:pt>
                <c:pt idx="423">
                  <c:v>-9.3231276693887481E-3</c:v>
                </c:pt>
                <c:pt idx="424">
                  <c:v>-9.321239622329348E-3</c:v>
                </c:pt>
                <c:pt idx="425">
                  <c:v>-9.3352191310411298E-3</c:v>
                </c:pt>
                <c:pt idx="426">
                  <c:v>-9.3402675967944396E-3</c:v>
                </c:pt>
                <c:pt idx="427">
                  <c:v>-9.3808288853721479E-3</c:v>
                </c:pt>
                <c:pt idx="428">
                  <c:v>-9.416631391794026E-3</c:v>
                </c:pt>
                <c:pt idx="429">
                  <c:v>-9.4345593429718162E-3</c:v>
                </c:pt>
                <c:pt idx="430">
                  <c:v>-9.3095423245312565E-3</c:v>
                </c:pt>
                <c:pt idx="431">
                  <c:v>-9.306339943134824E-3</c:v>
                </c:pt>
                <c:pt idx="432">
                  <c:v>-9.3027409914087887E-3</c:v>
                </c:pt>
                <c:pt idx="433">
                  <c:v>-9.2960420946682602E-3</c:v>
                </c:pt>
                <c:pt idx="434">
                  <c:v>-9.3049053495036955E-3</c:v>
                </c:pt>
                <c:pt idx="435">
                  <c:v>-9.0071627155539399E-3</c:v>
                </c:pt>
                <c:pt idx="436">
                  <c:v>-9.0076827639661034E-3</c:v>
                </c:pt>
                <c:pt idx="437">
                  <c:v>-9.1671203105286678E-3</c:v>
                </c:pt>
                <c:pt idx="438">
                  <c:v>-8.531047714755928E-3</c:v>
                </c:pt>
                <c:pt idx="439">
                  <c:v>-8.5272833103723911E-3</c:v>
                </c:pt>
                <c:pt idx="440">
                  <c:v>-8.6212691240433528E-3</c:v>
                </c:pt>
                <c:pt idx="441">
                  <c:v>-8.7279217494488272E-3</c:v>
                </c:pt>
                <c:pt idx="442">
                  <c:v>-8.8233384356156408E-3</c:v>
                </c:pt>
                <c:pt idx="443">
                  <c:v>-8.7177840429947459E-3</c:v>
                </c:pt>
                <c:pt idx="444">
                  <c:v>-8.8350260937269717E-3</c:v>
                </c:pt>
                <c:pt idx="445">
                  <c:v>-8.8358374314964419E-3</c:v>
                </c:pt>
                <c:pt idx="446">
                  <c:v>-8.7415700354569366E-3</c:v>
                </c:pt>
                <c:pt idx="447">
                  <c:v>-8.7762638751742693E-3</c:v>
                </c:pt>
                <c:pt idx="448">
                  <c:v>-8.7573399029031371E-3</c:v>
                </c:pt>
                <c:pt idx="449">
                  <c:v>-8.7369149604755499E-3</c:v>
                </c:pt>
                <c:pt idx="450">
                  <c:v>-8.7318939557150029E-3</c:v>
                </c:pt>
                <c:pt idx="451">
                  <c:v>-8.8299558443857944E-3</c:v>
                </c:pt>
                <c:pt idx="452">
                  <c:v>-8.9334792949825274E-3</c:v>
                </c:pt>
                <c:pt idx="453">
                  <c:v>-8.896086976847269E-3</c:v>
                </c:pt>
                <c:pt idx="454">
                  <c:v>-8.5938439104171118E-3</c:v>
                </c:pt>
                <c:pt idx="455">
                  <c:v>-8.5650012346096434E-3</c:v>
                </c:pt>
                <c:pt idx="456">
                  <c:v>-8.559536165247069E-3</c:v>
                </c:pt>
                <c:pt idx="457">
                  <c:v>-8.5562275921965275E-3</c:v>
                </c:pt>
                <c:pt idx="458">
                  <c:v>-8.5190275582257523E-3</c:v>
                </c:pt>
                <c:pt idx="459">
                  <c:v>-8.4854304379686669E-3</c:v>
                </c:pt>
                <c:pt idx="460">
                  <c:v>-8.4848801323709755E-3</c:v>
                </c:pt>
                <c:pt idx="461">
                  <c:v>-8.4566428788201038E-3</c:v>
                </c:pt>
                <c:pt idx="462">
                  <c:v>-8.4715996507762053E-3</c:v>
                </c:pt>
                <c:pt idx="463">
                  <c:v>-8.5171130809356226E-3</c:v>
                </c:pt>
                <c:pt idx="464">
                  <c:v>-8.5299699487582283E-3</c:v>
                </c:pt>
                <c:pt idx="465">
                  <c:v>-8.7271036195502687E-3</c:v>
                </c:pt>
                <c:pt idx="466">
                  <c:v>-8.6365142697187453E-3</c:v>
                </c:pt>
                <c:pt idx="467">
                  <c:v>-8.5184055800832797E-3</c:v>
                </c:pt>
                <c:pt idx="468">
                  <c:v>-9.0652301510904289E-3</c:v>
                </c:pt>
                <c:pt idx="469">
                  <c:v>-8.971422824077202E-3</c:v>
                </c:pt>
                <c:pt idx="470">
                  <c:v>-8.9094625503430835E-3</c:v>
                </c:pt>
                <c:pt idx="471">
                  <c:v>-8.9470864317092481E-3</c:v>
                </c:pt>
                <c:pt idx="472">
                  <c:v>-8.9417282953331619E-3</c:v>
                </c:pt>
                <c:pt idx="473">
                  <c:v>-9.0319861449338901E-3</c:v>
                </c:pt>
                <c:pt idx="474">
                  <c:v>-9.0055394576304317E-3</c:v>
                </c:pt>
                <c:pt idx="475">
                  <c:v>-8.9219092898007307E-3</c:v>
                </c:pt>
                <c:pt idx="476">
                  <c:v>-9.0038226103665853E-3</c:v>
                </c:pt>
                <c:pt idx="477">
                  <c:v>-8.935882977480724E-3</c:v>
                </c:pt>
                <c:pt idx="478">
                  <c:v>-8.9338667532577638E-3</c:v>
                </c:pt>
                <c:pt idx="479">
                  <c:v>-8.5799539786235099E-3</c:v>
                </c:pt>
                <c:pt idx="480">
                  <c:v>-8.5437645351956071E-3</c:v>
                </c:pt>
                <c:pt idx="481">
                  <c:v>-8.5224032264581782E-3</c:v>
                </c:pt>
                <c:pt idx="482">
                  <c:v>-8.5197584675435652E-3</c:v>
                </c:pt>
                <c:pt idx="483">
                  <c:v>-8.5007691306615424E-3</c:v>
                </c:pt>
                <c:pt idx="484">
                  <c:v>-8.9146661744395235E-3</c:v>
                </c:pt>
                <c:pt idx="485">
                  <c:v>-8.8875298363868885E-3</c:v>
                </c:pt>
                <c:pt idx="486">
                  <c:v>-8.9053608584209343E-3</c:v>
                </c:pt>
                <c:pt idx="487">
                  <c:v>-8.8293609758290752E-3</c:v>
                </c:pt>
                <c:pt idx="488">
                  <c:v>-8.8727035876419984E-3</c:v>
                </c:pt>
                <c:pt idx="489">
                  <c:v>-8.9064607037595712E-3</c:v>
                </c:pt>
                <c:pt idx="490">
                  <c:v>-8.8623527804365543E-3</c:v>
                </c:pt>
                <c:pt idx="491">
                  <c:v>-8.8770335794070235E-3</c:v>
                </c:pt>
                <c:pt idx="492">
                  <c:v>-8.9392158862509827E-3</c:v>
                </c:pt>
                <c:pt idx="493">
                  <c:v>-8.4532597855180077E-3</c:v>
                </c:pt>
                <c:pt idx="494">
                  <c:v>-8.38239004975826E-3</c:v>
                </c:pt>
                <c:pt idx="495">
                  <c:v>-8.3440089706634992E-3</c:v>
                </c:pt>
                <c:pt idx="496">
                  <c:v>-8.2400145349657804E-3</c:v>
                </c:pt>
                <c:pt idx="497">
                  <c:v>-8.2148665007898795E-3</c:v>
                </c:pt>
                <c:pt idx="498">
                  <c:v>-8.3167163698811292E-3</c:v>
                </c:pt>
                <c:pt idx="499">
                  <c:v>-8.4321894645472528E-3</c:v>
                </c:pt>
                <c:pt idx="500">
                  <c:v>-8.4436858144577021E-3</c:v>
                </c:pt>
                <c:pt idx="501">
                  <c:v>-8.4433538460238853E-3</c:v>
                </c:pt>
                <c:pt idx="502">
                  <c:v>-8.3606438227646906E-3</c:v>
                </c:pt>
                <c:pt idx="503">
                  <c:v>-8.2918505094551724E-3</c:v>
                </c:pt>
                <c:pt idx="504">
                  <c:v>-8.2887596691921112E-3</c:v>
                </c:pt>
                <c:pt idx="505">
                  <c:v>-8.3643325616615406E-3</c:v>
                </c:pt>
                <c:pt idx="506">
                  <c:v>-8.3752949615194406E-3</c:v>
                </c:pt>
                <c:pt idx="507">
                  <c:v>-8.3440754608007477E-3</c:v>
                </c:pt>
                <c:pt idx="508">
                  <c:v>-8.3980961580328323E-3</c:v>
                </c:pt>
                <c:pt idx="509">
                  <c:v>-8.6635280046208438E-3</c:v>
                </c:pt>
                <c:pt idx="510">
                  <c:v>-8.5906284453530577E-3</c:v>
                </c:pt>
                <c:pt idx="511">
                  <c:v>-8.568090242454536E-3</c:v>
                </c:pt>
                <c:pt idx="512">
                  <c:v>-8.5794117108889088E-3</c:v>
                </c:pt>
                <c:pt idx="513">
                  <c:v>-8.5763190965951527E-3</c:v>
                </c:pt>
                <c:pt idx="514">
                  <c:v>-8.612182766860401E-3</c:v>
                </c:pt>
                <c:pt idx="515">
                  <c:v>-8.6649997379922815E-3</c:v>
                </c:pt>
                <c:pt idx="516">
                  <c:v>-8.6685379311039496E-3</c:v>
                </c:pt>
                <c:pt idx="517">
                  <c:v>-8.5802946547086732E-3</c:v>
                </c:pt>
                <c:pt idx="518">
                  <c:v>-8.4622568668763255E-3</c:v>
                </c:pt>
                <c:pt idx="519">
                  <c:v>-8.185060624668658E-3</c:v>
                </c:pt>
                <c:pt idx="520">
                  <c:v>-8.1763566529764169E-3</c:v>
                </c:pt>
                <c:pt idx="521">
                  <c:v>-8.1349788052721937E-3</c:v>
                </c:pt>
                <c:pt idx="522">
                  <c:v>-8.1220915482643832E-3</c:v>
                </c:pt>
                <c:pt idx="523">
                  <c:v>-8.4375775909249964E-3</c:v>
                </c:pt>
                <c:pt idx="524">
                  <c:v>-8.4972983970406941E-3</c:v>
                </c:pt>
                <c:pt idx="525">
                  <c:v>-8.424382876630724E-3</c:v>
                </c:pt>
                <c:pt idx="526">
                  <c:v>-8.5384843066119431E-3</c:v>
                </c:pt>
                <c:pt idx="527">
                  <c:v>-8.6040165902809829E-3</c:v>
                </c:pt>
                <c:pt idx="528">
                  <c:v>-8.5220934008088528E-3</c:v>
                </c:pt>
                <c:pt idx="529">
                  <c:v>-8.5194485024337914E-3</c:v>
                </c:pt>
                <c:pt idx="530">
                  <c:v>-7.919248076063222E-3</c:v>
                </c:pt>
                <c:pt idx="531">
                  <c:v>-7.9262971826419299E-3</c:v>
                </c:pt>
                <c:pt idx="532">
                  <c:v>-7.9201484498470174E-3</c:v>
                </c:pt>
                <c:pt idx="533">
                  <c:v>-7.7295480424050111E-3</c:v>
                </c:pt>
                <c:pt idx="534">
                  <c:v>-7.6673134004712649E-3</c:v>
                </c:pt>
                <c:pt idx="535">
                  <c:v>-7.6530292593854554E-3</c:v>
                </c:pt>
                <c:pt idx="536">
                  <c:v>-7.6015019189431344E-3</c:v>
                </c:pt>
                <c:pt idx="537">
                  <c:v>-7.6094601186230387E-3</c:v>
                </c:pt>
                <c:pt idx="538">
                  <c:v>-7.610845304086301E-3</c:v>
                </c:pt>
                <c:pt idx="539">
                  <c:v>-7.6127533283793384E-3</c:v>
                </c:pt>
                <c:pt idx="540">
                  <c:v>-7.6673746458289201E-3</c:v>
                </c:pt>
                <c:pt idx="541">
                  <c:v>-7.7047715097463831E-3</c:v>
                </c:pt>
                <c:pt idx="542">
                  <c:v>-7.7551981707558474E-3</c:v>
                </c:pt>
                <c:pt idx="543">
                  <c:v>-7.7611129301256932E-3</c:v>
                </c:pt>
                <c:pt idx="544">
                  <c:v>-7.7086060519820634E-3</c:v>
                </c:pt>
                <c:pt idx="545">
                  <c:v>-7.6596762082149434E-3</c:v>
                </c:pt>
                <c:pt idx="546">
                  <c:v>-7.655859633896445E-3</c:v>
                </c:pt>
                <c:pt idx="547">
                  <c:v>-7.7469757661453621E-3</c:v>
                </c:pt>
                <c:pt idx="548">
                  <c:v>-7.8076798695464623E-3</c:v>
                </c:pt>
                <c:pt idx="549">
                  <c:v>-8.0273552299870675E-3</c:v>
                </c:pt>
                <c:pt idx="550">
                  <c:v>-8.0083391517173017E-3</c:v>
                </c:pt>
                <c:pt idx="551">
                  <c:v>-8.0216122549192498E-3</c:v>
                </c:pt>
                <c:pt idx="552">
                  <c:v>-7.9766440639936105E-3</c:v>
                </c:pt>
                <c:pt idx="553">
                  <c:v>-8.0485095092926156E-3</c:v>
                </c:pt>
                <c:pt idx="554">
                  <c:v>-8.0803859045667104E-3</c:v>
                </c:pt>
                <c:pt idx="555">
                  <c:v>-8.1006356471303061E-3</c:v>
                </c:pt>
                <c:pt idx="556">
                  <c:v>-8.111796738498489E-3</c:v>
                </c:pt>
                <c:pt idx="557">
                  <c:v>-8.0411528890031794E-3</c:v>
                </c:pt>
                <c:pt idx="558">
                  <c:v>-8.0597027626266166E-3</c:v>
                </c:pt>
                <c:pt idx="559">
                  <c:v>-8.0348061697161806E-3</c:v>
                </c:pt>
                <c:pt idx="560">
                  <c:v>-8.7615175972329384E-3</c:v>
                </c:pt>
                <c:pt idx="561">
                  <c:v>-8.7294320357933289E-3</c:v>
                </c:pt>
                <c:pt idx="562">
                  <c:v>-8.7369974989539821E-3</c:v>
                </c:pt>
                <c:pt idx="563">
                  <c:v>-9.2096321368164737E-3</c:v>
                </c:pt>
                <c:pt idx="564">
                  <c:v>-9.2449564669807478E-3</c:v>
                </c:pt>
                <c:pt idx="565">
                  <c:v>-9.3555244326857523E-3</c:v>
                </c:pt>
                <c:pt idx="566">
                  <c:v>-9.3625805825518164E-3</c:v>
                </c:pt>
                <c:pt idx="567">
                  <c:v>-9.3737438000704963E-3</c:v>
                </c:pt>
                <c:pt idx="568">
                  <c:v>-9.414344330032097E-3</c:v>
                </c:pt>
                <c:pt idx="569">
                  <c:v>-9.4453840302941398E-3</c:v>
                </c:pt>
                <c:pt idx="570">
                  <c:v>-9.3221100125918232E-3</c:v>
                </c:pt>
                <c:pt idx="571">
                  <c:v>-9.216266428836533E-3</c:v>
                </c:pt>
                <c:pt idx="572">
                  <c:v>-9.1884484709576202E-3</c:v>
                </c:pt>
                <c:pt idx="573">
                  <c:v>-9.2103381873663015E-3</c:v>
                </c:pt>
                <c:pt idx="574">
                  <c:v>-8.9404068569654809E-3</c:v>
                </c:pt>
                <c:pt idx="575">
                  <c:v>-8.9287362345777839E-3</c:v>
                </c:pt>
                <c:pt idx="576">
                  <c:v>-8.9838948559237235E-3</c:v>
                </c:pt>
                <c:pt idx="577">
                  <c:v>-8.9891289952264714E-3</c:v>
                </c:pt>
                <c:pt idx="578">
                  <c:v>-8.9932871756848842E-3</c:v>
                </c:pt>
                <c:pt idx="579">
                  <c:v>-8.9777135450004042E-3</c:v>
                </c:pt>
                <c:pt idx="580">
                  <c:v>-9.0331022211172802E-3</c:v>
                </c:pt>
                <c:pt idx="581">
                  <c:v>-9.0739187609378234E-3</c:v>
                </c:pt>
                <c:pt idx="582">
                  <c:v>-9.1040052425920732E-3</c:v>
                </c:pt>
                <c:pt idx="583">
                  <c:v>-9.110395610028646E-3</c:v>
                </c:pt>
                <c:pt idx="584">
                  <c:v>-9.1001992466520996E-3</c:v>
                </c:pt>
                <c:pt idx="585">
                  <c:v>-9.0861267500730036E-3</c:v>
                </c:pt>
                <c:pt idx="586">
                  <c:v>-9.0572150761024529E-3</c:v>
                </c:pt>
                <c:pt idx="587">
                  <c:v>-9.2802036480724836E-3</c:v>
                </c:pt>
                <c:pt idx="588">
                  <c:v>-8.2605633912935968E-3</c:v>
                </c:pt>
                <c:pt idx="589">
                  <c:v>-8.2908556896762464E-3</c:v>
                </c:pt>
                <c:pt idx="590">
                  <c:v>-8.1741658729784332E-3</c:v>
                </c:pt>
                <c:pt idx="591">
                  <c:v>-8.1907219268490625E-3</c:v>
                </c:pt>
                <c:pt idx="592">
                  <c:v>-8.229439006990899E-3</c:v>
                </c:pt>
                <c:pt idx="593">
                  <c:v>-8.2264822758842497E-3</c:v>
                </c:pt>
                <c:pt idx="594">
                  <c:v>-8.2078958526711227E-3</c:v>
                </c:pt>
                <c:pt idx="595">
                  <c:v>-8.16773442022007E-3</c:v>
                </c:pt>
                <c:pt idx="596">
                  <c:v>-8.1742435105279683E-3</c:v>
                </c:pt>
                <c:pt idx="597">
                  <c:v>-8.2114982600473251E-3</c:v>
                </c:pt>
                <c:pt idx="598">
                  <c:v>-8.0657288719271428E-3</c:v>
                </c:pt>
                <c:pt idx="599">
                  <c:v>-8.0531120751291246E-3</c:v>
                </c:pt>
                <c:pt idx="600">
                  <c:v>-7.9215647371587948E-3</c:v>
                </c:pt>
                <c:pt idx="601">
                  <c:v>-7.9475766428733913E-3</c:v>
                </c:pt>
                <c:pt idx="602">
                  <c:v>-7.6424162379653323E-3</c:v>
                </c:pt>
                <c:pt idx="603">
                  <c:v>-7.5825681359245048E-3</c:v>
                </c:pt>
                <c:pt idx="604">
                  <c:v>-7.777534096399359E-3</c:v>
                </c:pt>
                <c:pt idx="605">
                  <c:v>-7.8377020688900623E-3</c:v>
                </c:pt>
                <c:pt idx="606">
                  <c:v>-7.8511576110388732E-3</c:v>
                </c:pt>
                <c:pt idx="607">
                  <c:v>-7.8210705905100413E-3</c:v>
                </c:pt>
                <c:pt idx="608">
                  <c:v>-7.7672131813334667E-3</c:v>
                </c:pt>
                <c:pt idx="609">
                  <c:v>-7.7113777525993866E-3</c:v>
                </c:pt>
                <c:pt idx="610">
                  <c:v>-7.7271350680518137E-3</c:v>
                </c:pt>
                <c:pt idx="611">
                  <c:v>-7.7501740838126611E-3</c:v>
                </c:pt>
                <c:pt idx="612">
                  <c:v>-7.7585228359991583E-3</c:v>
                </c:pt>
                <c:pt idx="613">
                  <c:v>-7.7825643441481965E-3</c:v>
                </c:pt>
                <c:pt idx="614">
                  <c:v>-7.7841601044056647E-3</c:v>
                </c:pt>
                <c:pt idx="615">
                  <c:v>-7.864552537740481E-3</c:v>
                </c:pt>
                <c:pt idx="616">
                  <c:v>-7.836991630538994E-3</c:v>
                </c:pt>
                <c:pt idx="617">
                  <c:v>-7.8146925217017771E-3</c:v>
                </c:pt>
                <c:pt idx="618">
                  <c:v>-8.4388228450342131E-3</c:v>
                </c:pt>
                <c:pt idx="619">
                  <c:v>-8.3551561184374793E-3</c:v>
                </c:pt>
                <c:pt idx="620">
                  <c:v>-8.3833101591448758E-3</c:v>
                </c:pt>
                <c:pt idx="621">
                  <c:v>-8.3398126109591984E-3</c:v>
                </c:pt>
                <c:pt idx="622">
                  <c:v>-8.344829066213779E-3</c:v>
                </c:pt>
                <c:pt idx="623">
                  <c:v>-8.3187732738796653E-3</c:v>
                </c:pt>
                <c:pt idx="624">
                  <c:v>-8.2860900626102428E-3</c:v>
                </c:pt>
                <c:pt idx="625">
                  <c:v>-7.8184234912598728E-3</c:v>
                </c:pt>
                <c:pt idx="626">
                  <c:v>-6.9175996474425449E-3</c:v>
                </c:pt>
                <c:pt idx="627">
                  <c:v>-6.8485877951650238E-3</c:v>
                </c:pt>
                <c:pt idx="628">
                  <c:v>-6.8719343281936959E-3</c:v>
                </c:pt>
                <c:pt idx="629">
                  <c:v>-6.8231983379741876E-3</c:v>
                </c:pt>
                <c:pt idx="630">
                  <c:v>-6.8347720109025187E-3</c:v>
                </c:pt>
                <c:pt idx="631">
                  <c:v>-6.7940179445992342E-3</c:v>
                </c:pt>
                <c:pt idx="632">
                  <c:v>-7.0792818071817561E-3</c:v>
                </c:pt>
                <c:pt idx="633">
                  <c:v>-7.0819552522042454E-3</c:v>
                </c:pt>
                <c:pt idx="634">
                  <c:v>-7.0816801083048815E-3</c:v>
                </c:pt>
                <c:pt idx="635">
                  <c:v>-7.0803837150404079E-3</c:v>
                </c:pt>
                <c:pt idx="636">
                  <c:v>-7.0860586285720756E-3</c:v>
                </c:pt>
                <c:pt idx="637">
                  <c:v>-7.1178676526453275E-3</c:v>
                </c:pt>
                <c:pt idx="638">
                  <c:v>-7.1854643002443206E-3</c:v>
                </c:pt>
                <c:pt idx="639">
                  <c:v>-7.1837854135930641E-3</c:v>
                </c:pt>
                <c:pt idx="640">
                  <c:v>-7.1814922847229677E-3</c:v>
                </c:pt>
                <c:pt idx="641">
                  <c:v>-7.1487619839747749E-3</c:v>
                </c:pt>
                <c:pt idx="642">
                  <c:v>-7.1546458236645761E-3</c:v>
                </c:pt>
                <c:pt idx="643">
                  <c:v>-7.1412200763698828E-3</c:v>
                </c:pt>
                <c:pt idx="644">
                  <c:v>-7.2366441926361722E-3</c:v>
                </c:pt>
                <c:pt idx="645">
                  <c:v>-7.0946991449718404E-3</c:v>
                </c:pt>
                <c:pt idx="646">
                  <c:v>-7.0949276503792565E-3</c:v>
                </c:pt>
                <c:pt idx="647">
                  <c:v>-7.0953527409898173E-3</c:v>
                </c:pt>
                <c:pt idx="648">
                  <c:v>-7.1558619840260129E-3</c:v>
                </c:pt>
                <c:pt idx="649">
                  <c:v>-7.1567065794085087E-3</c:v>
                </c:pt>
                <c:pt idx="650">
                  <c:v>-7.1907699973646644E-3</c:v>
                </c:pt>
                <c:pt idx="651">
                  <c:v>-7.2200094942704686E-3</c:v>
                </c:pt>
                <c:pt idx="652">
                  <c:v>-6.9597713868831002E-3</c:v>
                </c:pt>
                <c:pt idx="653">
                  <c:v>-6.9822397307150504E-3</c:v>
                </c:pt>
                <c:pt idx="654">
                  <c:v>-7.0161664324293405E-3</c:v>
                </c:pt>
                <c:pt idx="655">
                  <c:v>-7.5056009032563728E-3</c:v>
                </c:pt>
                <c:pt idx="656">
                  <c:v>-8.8628243061994374E-3</c:v>
                </c:pt>
                <c:pt idx="657">
                  <c:v>-8.8976005934899988E-3</c:v>
                </c:pt>
                <c:pt idx="658">
                  <c:v>-8.9084908960643978E-3</c:v>
                </c:pt>
                <c:pt idx="659">
                  <c:v>-8.8880071615886121E-3</c:v>
                </c:pt>
                <c:pt idx="660">
                  <c:v>-8.9605584399127143E-3</c:v>
                </c:pt>
                <c:pt idx="661">
                  <c:v>-8.9910169342651627E-3</c:v>
                </c:pt>
                <c:pt idx="662">
                  <c:v>-9.0134757502079652E-3</c:v>
                </c:pt>
                <c:pt idx="663">
                  <c:v>-8.7953131669227386E-3</c:v>
                </c:pt>
                <c:pt idx="664">
                  <c:v>-8.8748560613522223E-3</c:v>
                </c:pt>
                <c:pt idx="665">
                  <c:v>-8.823238483194891E-3</c:v>
                </c:pt>
                <c:pt idx="666">
                  <c:v>-8.7814636030757558E-3</c:v>
                </c:pt>
                <c:pt idx="667">
                  <c:v>-8.6636734330746493E-3</c:v>
                </c:pt>
                <c:pt idx="668">
                  <c:v>-8.5963632071655079E-3</c:v>
                </c:pt>
                <c:pt idx="669">
                  <c:v>-8.6073998347541304E-3</c:v>
                </c:pt>
                <c:pt idx="670">
                  <c:v>-8.5474176383053616E-3</c:v>
                </c:pt>
                <c:pt idx="671">
                  <c:v>-8.5598783189697273E-3</c:v>
                </c:pt>
                <c:pt idx="672">
                  <c:v>-8.6045827968680155E-3</c:v>
                </c:pt>
                <c:pt idx="673">
                  <c:v>-8.3964285398893095E-3</c:v>
                </c:pt>
                <c:pt idx="674">
                  <c:v>-8.3050022791550729E-3</c:v>
                </c:pt>
                <c:pt idx="675">
                  <c:v>-8.3818998269731999E-3</c:v>
                </c:pt>
                <c:pt idx="676">
                  <c:v>-8.2445167498577925E-3</c:v>
                </c:pt>
                <c:pt idx="677">
                  <c:v>-8.3299945243725734E-3</c:v>
                </c:pt>
                <c:pt idx="678">
                  <c:v>-8.332135947821907E-3</c:v>
                </c:pt>
                <c:pt idx="679">
                  <c:v>-7.9908696630986865E-3</c:v>
                </c:pt>
                <c:pt idx="680">
                  <c:v>-7.9032797259014163E-3</c:v>
                </c:pt>
                <c:pt idx="681">
                  <c:v>-7.8366133402926301E-3</c:v>
                </c:pt>
                <c:pt idx="682">
                  <c:v>-7.3738675586939029E-3</c:v>
                </c:pt>
                <c:pt idx="683">
                  <c:v>-7.3094627473131012E-3</c:v>
                </c:pt>
                <c:pt idx="684">
                  <c:v>-7.3099093573242135E-3</c:v>
                </c:pt>
                <c:pt idx="685">
                  <c:v>-7.2398148317977277E-3</c:v>
                </c:pt>
                <c:pt idx="686">
                  <c:v>-7.2589408250784667E-3</c:v>
                </c:pt>
                <c:pt idx="687">
                  <c:v>-7.27454010828081E-3</c:v>
                </c:pt>
                <c:pt idx="688">
                  <c:v>-7.3265880323302099E-3</c:v>
                </c:pt>
                <c:pt idx="689">
                  <c:v>-7.3977600230489453E-3</c:v>
                </c:pt>
                <c:pt idx="690">
                  <c:v>-7.4624630119913124E-3</c:v>
                </c:pt>
                <c:pt idx="691">
                  <c:v>-7.4750454343100571E-3</c:v>
                </c:pt>
                <c:pt idx="692">
                  <c:v>-7.4622451848872897E-3</c:v>
                </c:pt>
                <c:pt idx="693">
                  <c:v>-7.5423038261731431E-3</c:v>
                </c:pt>
                <c:pt idx="694">
                  <c:v>-7.5011629835563705E-3</c:v>
                </c:pt>
                <c:pt idx="695">
                  <c:v>-7.460173863758959E-3</c:v>
                </c:pt>
                <c:pt idx="696">
                  <c:v>-7.4533707241131895E-3</c:v>
                </c:pt>
                <c:pt idx="697">
                  <c:v>-7.4554693218827914E-3</c:v>
                </c:pt>
                <c:pt idx="698">
                  <c:v>-7.4536535782633645E-3</c:v>
                </c:pt>
                <c:pt idx="699">
                  <c:v>-7.4573133565711096E-3</c:v>
                </c:pt>
                <c:pt idx="700">
                  <c:v>-7.4830096450880868E-3</c:v>
                </c:pt>
                <c:pt idx="701">
                  <c:v>-7.5422167264810984E-3</c:v>
                </c:pt>
                <c:pt idx="702">
                  <c:v>-7.5356703158632795E-3</c:v>
                </c:pt>
                <c:pt idx="703">
                  <c:v>-7.3930913018276506E-3</c:v>
                </c:pt>
                <c:pt idx="704">
                  <c:v>-7.3456730040113672E-3</c:v>
                </c:pt>
                <c:pt idx="705">
                  <c:v>-7.384979012450125E-3</c:v>
                </c:pt>
                <c:pt idx="706">
                  <c:v>-7.4209304026269891E-3</c:v>
                </c:pt>
                <c:pt idx="707">
                  <c:v>-7.2821310372811407E-3</c:v>
                </c:pt>
                <c:pt idx="708">
                  <c:v>-7.19624511496354E-3</c:v>
                </c:pt>
                <c:pt idx="709">
                  <c:v>-7.4653460196086015E-3</c:v>
                </c:pt>
                <c:pt idx="710">
                  <c:v>-7.5338979528399011E-3</c:v>
                </c:pt>
                <c:pt idx="711">
                  <c:v>-7.5401767059808762E-3</c:v>
                </c:pt>
                <c:pt idx="712">
                  <c:v>-8.2399978355663633E-3</c:v>
                </c:pt>
                <c:pt idx="713">
                  <c:v>-8.3206201535316743E-3</c:v>
                </c:pt>
                <c:pt idx="714">
                  <c:v>-8.3181048851045155E-3</c:v>
                </c:pt>
                <c:pt idx="715">
                  <c:v>-8.3266534713847019E-3</c:v>
                </c:pt>
                <c:pt idx="716">
                  <c:v>-8.3332223090016276E-3</c:v>
                </c:pt>
                <c:pt idx="717">
                  <c:v>-8.3551685709749857E-3</c:v>
                </c:pt>
                <c:pt idx="718">
                  <c:v>-8.253822196211803E-3</c:v>
                </c:pt>
                <c:pt idx="719">
                  <c:v>-8.2579944110774579E-3</c:v>
                </c:pt>
                <c:pt idx="720">
                  <c:v>-8.2238778239728336E-3</c:v>
                </c:pt>
                <c:pt idx="721">
                  <c:v>-8.259849377153957E-3</c:v>
                </c:pt>
                <c:pt idx="722">
                  <c:v>-8.2781880630909827E-3</c:v>
                </c:pt>
                <c:pt idx="723">
                  <c:v>-8.283967816679335E-3</c:v>
                </c:pt>
                <c:pt idx="724">
                  <c:v>-8.3029347972981421E-3</c:v>
                </c:pt>
                <c:pt idx="725">
                  <c:v>-8.3105067297379667E-3</c:v>
                </c:pt>
                <c:pt idx="726">
                  <c:v>-8.2898935840979623E-3</c:v>
                </c:pt>
                <c:pt idx="727">
                  <c:v>-7.847515687825558E-3</c:v>
                </c:pt>
                <c:pt idx="728">
                  <c:v>-7.9078854701305525E-3</c:v>
                </c:pt>
                <c:pt idx="729">
                  <c:v>-7.6953568691717975E-3</c:v>
                </c:pt>
                <c:pt idx="730">
                  <c:v>-7.6396654652196869E-3</c:v>
                </c:pt>
                <c:pt idx="731">
                  <c:v>-7.6173873857459957E-3</c:v>
                </c:pt>
                <c:pt idx="732">
                  <c:v>-7.6250139714936884E-3</c:v>
                </c:pt>
                <c:pt idx="733">
                  <c:v>-7.9244205424108156E-3</c:v>
                </c:pt>
                <c:pt idx="734">
                  <c:v>-7.9721858594686747E-3</c:v>
                </c:pt>
                <c:pt idx="735">
                  <c:v>-7.9896053077140455E-3</c:v>
                </c:pt>
                <c:pt idx="736">
                  <c:v>-8.011595816483013E-3</c:v>
                </c:pt>
                <c:pt idx="737">
                  <c:v>-8.1973758616476697E-3</c:v>
                </c:pt>
                <c:pt idx="738">
                  <c:v>-8.2469562769784399E-3</c:v>
                </c:pt>
                <c:pt idx="739">
                  <c:v>-8.3065727791263172E-3</c:v>
                </c:pt>
                <c:pt idx="740">
                  <c:v>-8.2420694806493305E-3</c:v>
                </c:pt>
                <c:pt idx="741">
                  <c:v>-8.3386367607646925E-3</c:v>
                </c:pt>
                <c:pt idx="742">
                  <c:v>-8.356369025349808E-3</c:v>
                </c:pt>
                <c:pt idx="743">
                  <c:v>-8.3450365392308181E-3</c:v>
                </c:pt>
                <c:pt idx="744">
                  <c:v>-8.2940215113686024E-3</c:v>
                </c:pt>
                <c:pt idx="745">
                  <c:v>-8.333748184280617E-3</c:v>
                </c:pt>
                <c:pt idx="746">
                  <c:v>-8.347512374125567E-3</c:v>
                </c:pt>
                <c:pt idx="747">
                  <c:v>-8.2341029356569964E-3</c:v>
                </c:pt>
                <c:pt idx="748">
                  <c:v>-8.4002989772457223E-3</c:v>
                </c:pt>
                <c:pt idx="749">
                  <c:v>-8.4287962984886909E-3</c:v>
                </c:pt>
                <c:pt idx="750">
                  <c:v>-8.4580636060195211E-3</c:v>
                </c:pt>
                <c:pt idx="751">
                  <c:v>-8.4760860663629766E-3</c:v>
                </c:pt>
                <c:pt idx="752">
                  <c:v>-8.4905333031128627E-3</c:v>
                </c:pt>
                <c:pt idx="753">
                  <c:v>-8.489803988943459E-3</c:v>
                </c:pt>
                <c:pt idx="754">
                  <c:v>-8.3139716655330001E-3</c:v>
                </c:pt>
                <c:pt idx="755">
                  <c:v>-8.267578929749532E-3</c:v>
                </c:pt>
                <c:pt idx="756">
                  <c:v>-8.3319067000662377E-3</c:v>
                </c:pt>
                <c:pt idx="757">
                  <c:v>-8.9791571179554473E-3</c:v>
                </c:pt>
                <c:pt idx="758">
                  <c:v>-9.0178921093752168E-3</c:v>
                </c:pt>
                <c:pt idx="759">
                  <c:v>-9.3316890589401347E-3</c:v>
                </c:pt>
                <c:pt idx="760">
                  <c:v>-9.3708767906500127E-3</c:v>
                </c:pt>
                <c:pt idx="761">
                  <c:v>-9.4268624394858499E-3</c:v>
                </c:pt>
                <c:pt idx="762">
                  <c:v>-7.9772102654800392E-3</c:v>
                </c:pt>
                <c:pt idx="763">
                  <c:v>-7.9996611742402506E-3</c:v>
                </c:pt>
                <c:pt idx="764">
                  <c:v>-8.0273576462420171E-3</c:v>
                </c:pt>
                <c:pt idx="765">
                  <c:v>-8.0402249924605273E-3</c:v>
                </c:pt>
                <c:pt idx="766">
                  <c:v>-8.089439383569267E-3</c:v>
                </c:pt>
                <c:pt idx="767">
                  <c:v>-8.1607681011184163E-3</c:v>
                </c:pt>
                <c:pt idx="768">
                  <c:v>-8.1819545104697688E-3</c:v>
                </c:pt>
                <c:pt idx="769">
                  <c:v>-8.1172700853415856E-3</c:v>
                </c:pt>
                <c:pt idx="770">
                  <c:v>-8.196356695733608E-3</c:v>
                </c:pt>
                <c:pt idx="771">
                  <c:v>-8.163470714498168E-3</c:v>
                </c:pt>
                <c:pt idx="772">
                  <c:v>-8.1134376094484546E-3</c:v>
                </c:pt>
                <c:pt idx="773">
                  <c:v>-8.1201590629268357E-3</c:v>
                </c:pt>
                <c:pt idx="774">
                  <c:v>-8.2033097533359377E-3</c:v>
                </c:pt>
                <c:pt idx="775">
                  <c:v>-8.1203130650573732E-3</c:v>
                </c:pt>
                <c:pt idx="776">
                  <c:v>-8.1239706270702927E-3</c:v>
                </c:pt>
                <c:pt idx="777">
                  <c:v>-8.1319715336465592E-3</c:v>
                </c:pt>
                <c:pt idx="778">
                  <c:v>-8.1146760369242791E-3</c:v>
                </c:pt>
                <c:pt idx="779">
                  <c:v>-7.3025269224534168E-3</c:v>
                </c:pt>
                <c:pt idx="780">
                  <c:v>-7.3061483742645162E-3</c:v>
                </c:pt>
                <c:pt idx="781">
                  <c:v>-7.3289460860195815E-3</c:v>
                </c:pt>
                <c:pt idx="782">
                  <c:v>-7.2386544265953135E-3</c:v>
                </c:pt>
                <c:pt idx="783">
                  <c:v>-7.175606947280473E-3</c:v>
                </c:pt>
                <c:pt idx="784">
                  <c:v>-7.2678565660753919E-3</c:v>
                </c:pt>
                <c:pt idx="785">
                  <c:v>-7.2686805828204399E-3</c:v>
                </c:pt>
                <c:pt idx="786">
                  <c:v>-7.2194534114925282E-3</c:v>
                </c:pt>
                <c:pt idx="787">
                  <c:v>-7.1941226860811692E-3</c:v>
                </c:pt>
                <c:pt idx="788">
                  <c:v>-7.1894286234996368E-3</c:v>
                </c:pt>
                <c:pt idx="789">
                  <c:v>-7.1439202296916761E-3</c:v>
                </c:pt>
                <c:pt idx="790">
                  <c:v>-7.1556543825094625E-3</c:v>
                </c:pt>
                <c:pt idx="791">
                  <c:v>-7.082340113241983E-3</c:v>
                </c:pt>
                <c:pt idx="792">
                  <c:v>-8.0550974459513355E-3</c:v>
                </c:pt>
                <c:pt idx="793">
                  <c:v>-8.0179770888344406E-3</c:v>
                </c:pt>
                <c:pt idx="794">
                  <c:v>-7.952235915386319E-3</c:v>
                </c:pt>
                <c:pt idx="795">
                  <c:v>-7.9918583659965865E-3</c:v>
                </c:pt>
                <c:pt idx="796">
                  <c:v>-7.982841878891719E-3</c:v>
                </c:pt>
                <c:pt idx="797">
                  <c:v>-7.576207301261623E-3</c:v>
                </c:pt>
                <c:pt idx="798">
                  <c:v>-7.5201239741345838E-3</c:v>
                </c:pt>
                <c:pt idx="799">
                  <c:v>-7.1915784460505356E-3</c:v>
                </c:pt>
                <c:pt idx="800">
                  <c:v>-7.1146264631773166E-3</c:v>
                </c:pt>
                <c:pt idx="801">
                  <c:v>-7.1411025008309348E-3</c:v>
                </c:pt>
                <c:pt idx="802">
                  <c:v>-7.1650172563320225E-3</c:v>
                </c:pt>
                <c:pt idx="803">
                  <c:v>-7.1752202103518908E-3</c:v>
                </c:pt>
                <c:pt idx="804">
                  <c:v>-7.1422311852579277E-3</c:v>
                </c:pt>
                <c:pt idx="805">
                  <c:v>-7.1905320281124771E-3</c:v>
                </c:pt>
                <c:pt idx="806">
                  <c:v>-7.1640170925599371E-3</c:v>
                </c:pt>
                <c:pt idx="807">
                  <c:v>-7.1901979218876519E-3</c:v>
                </c:pt>
                <c:pt idx="808">
                  <c:v>-7.2439702218204411E-3</c:v>
                </c:pt>
                <c:pt idx="809">
                  <c:v>-7.999026243603137E-3</c:v>
                </c:pt>
                <c:pt idx="810">
                  <c:v>-7.925312285970626E-3</c:v>
                </c:pt>
                <c:pt idx="811">
                  <c:v>-7.9284385873214965E-3</c:v>
                </c:pt>
                <c:pt idx="812">
                  <c:v>-8.069693259378348E-3</c:v>
                </c:pt>
                <c:pt idx="813">
                  <c:v>-8.1283358212117934E-3</c:v>
                </c:pt>
                <c:pt idx="814">
                  <c:v>-8.1135415005564957E-3</c:v>
                </c:pt>
                <c:pt idx="815">
                  <c:v>-8.1871464390858364E-3</c:v>
                </c:pt>
                <c:pt idx="816">
                  <c:v>-8.1841774951687332E-3</c:v>
                </c:pt>
                <c:pt idx="817">
                  <c:v>-8.1338468779049017E-3</c:v>
                </c:pt>
                <c:pt idx="818">
                  <c:v>-8.123429572239195E-3</c:v>
                </c:pt>
                <c:pt idx="819">
                  <c:v>-8.2067444302658873E-3</c:v>
                </c:pt>
                <c:pt idx="820">
                  <c:v>-8.1870976915629674E-3</c:v>
                </c:pt>
                <c:pt idx="821">
                  <c:v>-8.2527213991195961E-3</c:v>
                </c:pt>
                <c:pt idx="822">
                  <c:v>-8.2458390698652018E-3</c:v>
                </c:pt>
                <c:pt idx="823">
                  <c:v>-8.2741788495906583E-3</c:v>
                </c:pt>
                <c:pt idx="824">
                  <c:v>-8.3531474483278367E-3</c:v>
                </c:pt>
                <c:pt idx="825">
                  <c:v>-8.3754636882643826E-3</c:v>
                </c:pt>
                <c:pt idx="826">
                  <c:v>-8.3156013012641548E-3</c:v>
                </c:pt>
                <c:pt idx="827">
                  <c:v>-8.8056076947521985E-3</c:v>
                </c:pt>
                <c:pt idx="828">
                  <c:v>-8.8401306087080404E-3</c:v>
                </c:pt>
                <c:pt idx="829">
                  <c:v>-9.7382544256149409E-3</c:v>
                </c:pt>
                <c:pt idx="830">
                  <c:v>-9.4707969186380719E-3</c:v>
                </c:pt>
                <c:pt idx="831">
                  <c:v>-9.4742218387748305E-3</c:v>
                </c:pt>
                <c:pt idx="832">
                  <c:v>-9.4626840054930807E-3</c:v>
                </c:pt>
                <c:pt idx="833">
                  <c:v>-9.4639354582745881E-3</c:v>
                </c:pt>
                <c:pt idx="834">
                  <c:v>-9.4678217903078239E-3</c:v>
                </c:pt>
                <c:pt idx="835">
                  <c:v>-9.4797411328263609E-3</c:v>
                </c:pt>
                <c:pt idx="836">
                  <c:v>-9.4081036897046694E-3</c:v>
                </c:pt>
                <c:pt idx="837">
                  <c:v>-9.0674899630794753E-3</c:v>
                </c:pt>
                <c:pt idx="838">
                  <c:v>-9.0641657969555874E-3</c:v>
                </c:pt>
                <c:pt idx="839">
                  <c:v>-9.1518092588389645E-3</c:v>
                </c:pt>
                <c:pt idx="840">
                  <c:v>-9.2152081079778445E-3</c:v>
                </c:pt>
                <c:pt idx="841">
                  <c:v>-9.090728306737364E-3</c:v>
                </c:pt>
                <c:pt idx="842">
                  <c:v>-9.0165966465428904E-3</c:v>
                </c:pt>
                <c:pt idx="843">
                  <c:v>-8.8113387773995008E-3</c:v>
                </c:pt>
                <c:pt idx="844">
                  <c:v>-8.8398920283638219E-3</c:v>
                </c:pt>
                <c:pt idx="845">
                  <c:v>-8.7677009807987909E-3</c:v>
                </c:pt>
                <c:pt idx="846">
                  <c:v>-8.8330279885910547E-3</c:v>
                </c:pt>
                <c:pt idx="847">
                  <c:v>-8.8724728300968829E-3</c:v>
                </c:pt>
                <c:pt idx="848">
                  <c:v>-8.8400163902587238E-3</c:v>
                </c:pt>
                <c:pt idx="849">
                  <c:v>-8.7720317744303493E-3</c:v>
                </c:pt>
                <c:pt idx="850">
                  <c:v>-8.6940244235916616E-3</c:v>
                </c:pt>
                <c:pt idx="851">
                  <c:v>-8.6932447602515173E-3</c:v>
                </c:pt>
                <c:pt idx="852">
                  <c:v>-8.6747501087552949E-3</c:v>
                </c:pt>
                <c:pt idx="853">
                  <c:v>-8.6631922342218365E-3</c:v>
                </c:pt>
                <c:pt idx="854">
                  <c:v>-8.5979749347300759E-3</c:v>
                </c:pt>
                <c:pt idx="855">
                  <c:v>-8.4889082770979365E-3</c:v>
                </c:pt>
                <c:pt idx="856">
                  <c:v>-8.4963825658086883E-3</c:v>
                </c:pt>
                <c:pt idx="857">
                  <c:v>-8.4065210616743446E-3</c:v>
                </c:pt>
                <c:pt idx="858">
                  <c:v>-8.4046576665720192E-3</c:v>
                </c:pt>
                <c:pt idx="859">
                  <c:v>-8.3935058054424271E-3</c:v>
                </c:pt>
                <c:pt idx="860">
                  <c:v>-8.6025849073990066E-3</c:v>
                </c:pt>
                <c:pt idx="861">
                  <c:v>-8.6411532690749936E-3</c:v>
                </c:pt>
                <c:pt idx="862">
                  <c:v>-8.5177929734362029E-3</c:v>
                </c:pt>
                <c:pt idx="863">
                  <c:v>-8.4858618759302215E-3</c:v>
                </c:pt>
                <c:pt idx="864">
                  <c:v>-8.492162485169704E-3</c:v>
                </c:pt>
                <c:pt idx="865">
                  <c:v>-8.4430961214925909E-3</c:v>
                </c:pt>
                <c:pt idx="866">
                  <c:v>-8.4506580538130718E-3</c:v>
                </c:pt>
                <c:pt idx="867">
                  <c:v>-8.6939458167336198E-3</c:v>
                </c:pt>
                <c:pt idx="868">
                  <c:v>-8.6453728911911523E-3</c:v>
                </c:pt>
                <c:pt idx="869">
                  <c:v>-8.5950063732923958E-3</c:v>
                </c:pt>
                <c:pt idx="870">
                  <c:v>-8.5983998915551141E-3</c:v>
                </c:pt>
                <c:pt idx="871">
                  <c:v>-8.7089001249314093E-3</c:v>
                </c:pt>
                <c:pt idx="872">
                  <c:v>-8.7329240456748801E-3</c:v>
                </c:pt>
                <c:pt idx="873">
                  <c:v>-9.0355354167018127E-3</c:v>
                </c:pt>
                <c:pt idx="874">
                  <c:v>-9.0355647992610838E-3</c:v>
                </c:pt>
                <c:pt idx="875">
                  <c:v>-9.0762023448803571E-3</c:v>
                </c:pt>
                <c:pt idx="876">
                  <c:v>-8.6991331940582412E-3</c:v>
                </c:pt>
                <c:pt idx="877">
                  <c:v>-8.7083524455557164E-3</c:v>
                </c:pt>
                <c:pt idx="878">
                  <c:v>-8.7135818323213748E-3</c:v>
                </c:pt>
                <c:pt idx="879">
                  <c:v>-8.6816595729566175E-3</c:v>
                </c:pt>
                <c:pt idx="880">
                  <c:v>-8.7354854074947526E-3</c:v>
                </c:pt>
                <c:pt idx="881">
                  <c:v>-8.6998835990070612E-3</c:v>
                </c:pt>
                <c:pt idx="882">
                  <c:v>-8.6901454653660615E-3</c:v>
                </c:pt>
                <c:pt idx="883">
                  <c:v>-8.693728165169657E-3</c:v>
                </c:pt>
                <c:pt idx="884">
                  <c:v>-8.7248872759853914E-3</c:v>
                </c:pt>
                <c:pt idx="885">
                  <c:v>-8.8024533307586635E-3</c:v>
                </c:pt>
                <c:pt idx="886">
                  <c:v>-8.8191491015200026E-3</c:v>
                </c:pt>
                <c:pt idx="887">
                  <c:v>-9.0096529189869316E-3</c:v>
                </c:pt>
                <c:pt idx="888">
                  <c:v>-9.0210234745614383E-3</c:v>
                </c:pt>
                <c:pt idx="889">
                  <c:v>-8.9907608853553745E-3</c:v>
                </c:pt>
                <c:pt idx="890">
                  <c:v>-8.8793945845454907E-3</c:v>
                </c:pt>
                <c:pt idx="891">
                  <c:v>-8.8416698654368801E-3</c:v>
                </c:pt>
                <c:pt idx="892">
                  <c:v>-9.0466220452729181E-3</c:v>
                </c:pt>
                <c:pt idx="893">
                  <c:v>-8.8803940420358069E-3</c:v>
                </c:pt>
                <c:pt idx="894">
                  <c:v>-8.9052362753285329E-3</c:v>
                </c:pt>
                <c:pt idx="895">
                  <c:v>-8.8913999234668181E-3</c:v>
                </c:pt>
                <c:pt idx="896">
                  <c:v>-8.8783418723990069E-3</c:v>
                </c:pt>
                <c:pt idx="897">
                  <c:v>-8.8799081790179174E-3</c:v>
                </c:pt>
                <c:pt idx="898">
                  <c:v>-8.5985535922171816E-3</c:v>
                </c:pt>
                <c:pt idx="899">
                  <c:v>-8.6383366891339755E-3</c:v>
                </c:pt>
                <c:pt idx="900">
                  <c:v>-8.6324773964728176E-3</c:v>
                </c:pt>
                <c:pt idx="901">
                  <c:v>-8.6822915549071289E-3</c:v>
                </c:pt>
                <c:pt idx="902">
                  <c:v>-8.5068498540303034E-3</c:v>
                </c:pt>
                <c:pt idx="903">
                  <c:v>-8.4780500659517068E-3</c:v>
                </c:pt>
                <c:pt idx="904">
                  <c:v>-8.3032736415146607E-3</c:v>
                </c:pt>
                <c:pt idx="905">
                  <c:v>-8.2574787785803828E-3</c:v>
                </c:pt>
                <c:pt idx="906">
                  <c:v>-8.6677326804061351E-3</c:v>
                </c:pt>
                <c:pt idx="907">
                  <c:v>-8.6382174677430874E-3</c:v>
                </c:pt>
                <c:pt idx="908">
                  <c:v>-8.5956891922755775E-3</c:v>
                </c:pt>
                <c:pt idx="909">
                  <c:v>-8.6291413384076802E-3</c:v>
                </c:pt>
                <c:pt idx="910">
                  <c:v>-8.6890599653767237E-3</c:v>
                </c:pt>
                <c:pt idx="911">
                  <c:v>-8.6983706630454384E-3</c:v>
                </c:pt>
                <c:pt idx="912">
                  <c:v>-8.6230675352476568E-3</c:v>
                </c:pt>
                <c:pt idx="913">
                  <c:v>-8.6292779844738248E-3</c:v>
                </c:pt>
                <c:pt idx="914">
                  <c:v>-8.6080240488549953E-3</c:v>
                </c:pt>
                <c:pt idx="915">
                  <c:v>-8.6133199632048296E-3</c:v>
                </c:pt>
                <c:pt idx="916">
                  <c:v>-8.5861291784930967E-3</c:v>
                </c:pt>
                <c:pt idx="917">
                  <c:v>-8.5542778448478123E-3</c:v>
                </c:pt>
                <c:pt idx="918">
                  <c:v>-8.6211939326106077E-3</c:v>
                </c:pt>
                <c:pt idx="919">
                  <c:v>-8.654658190439795E-3</c:v>
                </c:pt>
                <c:pt idx="920">
                  <c:v>-8.691251157745267E-3</c:v>
                </c:pt>
                <c:pt idx="921">
                  <c:v>-8.7448303522743524E-3</c:v>
                </c:pt>
                <c:pt idx="922">
                  <c:v>-8.7226891183910769E-3</c:v>
                </c:pt>
                <c:pt idx="923">
                  <c:v>-8.8115610711659194E-3</c:v>
                </c:pt>
                <c:pt idx="924">
                  <c:v>-8.875913097878033E-3</c:v>
                </c:pt>
                <c:pt idx="925">
                  <c:v>-8.8286596589313478E-3</c:v>
                </c:pt>
                <c:pt idx="926">
                  <c:v>-8.8230721412769619E-3</c:v>
                </c:pt>
                <c:pt idx="927">
                  <c:v>-8.8210100684476822E-3</c:v>
                </c:pt>
                <c:pt idx="928">
                  <c:v>-9.0300445972545836E-3</c:v>
                </c:pt>
                <c:pt idx="929">
                  <c:v>-8.9560762124937243E-3</c:v>
                </c:pt>
                <c:pt idx="930">
                  <c:v>-8.9719974340525012E-3</c:v>
                </c:pt>
                <c:pt idx="931">
                  <c:v>-8.9199579486799723E-3</c:v>
                </c:pt>
                <c:pt idx="932">
                  <c:v>-9.058282413255004E-3</c:v>
                </c:pt>
                <c:pt idx="933">
                  <c:v>-9.0342284650177379E-3</c:v>
                </c:pt>
                <c:pt idx="934">
                  <c:v>-9.2616143789065273E-3</c:v>
                </c:pt>
                <c:pt idx="935">
                  <c:v>-9.2474972289055025E-3</c:v>
                </c:pt>
                <c:pt idx="936">
                  <c:v>-9.2392828983370902E-3</c:v>
                </c:pt>
                <c:pt idx="937">
                  <c:v>-9.2820025219457272E-3</c:v>
                </c:pt>
                <c:pt idx="938">
                  <c:v>-9.3778962694959327E-3</c:v>
                </c:pt>
                <c:pt idx="939">
                  <c:v>-9.4343796193734168E-3</c:v>
                </c:pt>
                <c:pt idx="940">
                  <c:v>-9.460118671854624E-3</c:v>
                </c:pt>
                <c:pt idx="941">
                  <c:v>-9.5406133933544565E-3</c:v>
                </c:pt>
                <c:pt idx="942">
                  <c:v>-9.6016923353808778E-3</c:v>
                </c:pt>
                <c:pt idx="943">
                  <c:v>-9.6006820767736874E-3</c:v>
                </c:pt>
                <c:pt idx="944">
                  <c:v>-9.6927979811973729E-3</c:v>
                </c:pt>
                <c:pt idx="945">
                  <c:v>-9.8232069553749989E-3</c:v>
                </c:pt>
                <c:pt idx="946">
                  <c:v>-9.8461543973049348E-3</c:v>
                </c:pt>
                <c:pt idx="947">
                  <c:v>-9.7785991886103225E-3</c:v>
                </c:pt>
                <c:pt idx="948">
                  <c:v>-9.7565457442667612E-3</c:v>
                </c:pt>
                <c:pt idx="949">
                  <c:v>-9.8763453742813333E-3</c:v>
                </c:pt>
                <c:pt idx="950">
                  <c:v>-9.8746648875796539E-3</c:v>
                </c:pt>
                <c:pt idx="951">
                  <c:v>-9.2249690681531268E-3</c:v>
                </c:pt>
                <c:pt idx="952">
                  <c:v>-9.1842508817980978E-3</c:v>
                </c:pt>
                <c:pt idx="953">
                  <c:v>-9.0981431942286205E-3</c:v>
                </c:pt>
                <c:pt idx="954">
                  <c:v>-9.0580088338862285E-3</c:v>
                </c:pt>
                <c:pt idx="955">
                  <c:v>-9.1483354591786123E-3</c:v>
                </c:pt>
                <c:pt idx="956">
                  <c:v>-9.1878077088900292E-3</c:v>
                </c:pt>
                <c:pt idx="957">
                  <c:v>-9.339022417286489E-3</c:v>
                </c:pt>
                <c:pt idx="958">
                  <c:v>-9.3631785344657527E-3</c:v>
                </c:pt>
                <c:pt idx="959">
                  <c:v>-9.5108864482333806E-3</c:v>
                </c:pt>
                <c:pt idx="960">
                  <c:v>-9.5073258690547089E-3</c:v>
                </c:pt>
                <c:pt idx="961">
                  <c:v>-9.5332321089023897E-3</c:v>
                </c:pt>
                <c:pt idx="962">
                  <c:v>-9.5640545280347919E-3</c:v>
                </c:pt>
                <c:pt idx="963">
                  <c:v>-9.6013343349952134E-3</c:v>
                </c:pt>
                <c:pt idx="964">
                  <c:v>-9.1443648089014444E-3</c:v>
                </c:pt>
                <c:pt idx="965">
                  <c:v>-9.1689954975247828E-3</c:v>
                </c:pt>
                <c:pt idx="966">
                  <c:v>-9.1607330822212688E-3</c:v>
                </c:pt>
                <c:pt idx="967">
                  <c:v>-9.1451742211777244E-3</c:v>
                </c:pt>
                <c:pt idx="968">
                  <c:v>-9.1324580269002351E-3</c:v>
                </c:pt>
                <c:pt idx="969">
                  <c:v>-9.1264670039104944E-3</c:v>
                </c:pt>
                <c:pt idx="970">
                  <c:v>-9.1078751392583875E-3</c:v>
                </c:pt>
                <c:pt idx="971">
                  <c:v>-9.0954655826664E-3</c:v>
                </c:pt>
                <c:pt idx="972">
                  <c:v>-9.0500015618108897E-3</c:v>
                </c:pt>
                <c:pt idx="973">
                  <c:v>-9.0156032197578166E-3</c:v>
                </c:pt>
                <c:pt idx="974">
                  <c:v>-9.0235659550225722E-3</c:v>
                </c:pt>
                <c:pt idx="975">
                  <c:v>-8.9382493684764218E-3</c:v>
                </c:pt>
                <c:pt idx="976">
                  <c:v>-8.9244221203066722E-3</c:v>
                </c:pt>
                <c:pt idx="977">
                  <c:v>-8.9496889316904062E-3</c:v>
                </c:pt>
                <c:pt idx="978">
                  <c:v>-8.8560105683754865E-3</c:v>
                </c:pt>
                <c:pt idx="979">
                  <c:v>-8.83124678142325E-3</c:v>
                </c:pt>
                <c:pt idx="980">
                  <c:v>-8.8297438141998093E-3</c:v>
                </c:pt>
                <c:pt idx="981">
                  <c:v>-9.3434305240758051E-3</c:v>
                </c:pt>
                <c:pt idx="982">
                  <c:v>-9.3650056921576429E-3</c:v>
                </c:pt>
                <c:pt idx="983">
                  <c:v>-9.4694323296604915E-3</c:v>
                </c:pt>
                <c:pt idx="984">
                  <c:v>-9.5128623551023403E-3</c:v>
                </c:pt>
                <c:pt idx="985">
                  <c:v>-9.5271773160755507E-3</c:v>
                </c:pt>
                <c:pt idx="986">
                  <c:v>-9.523243196232406E-3</c:v>
                </c:pt>
                <c:pt idx="987">
                  <c:v>-9.532859257897746E-3</c:v>
                </c:pt>
                <c:pt idx="988">
                  <c:v>-9.2246951980072441E-3</c:v>
                </c:pt>
                <c:pt idx="989">
                  <c:v>-9.2676507929456871E-3</c:v>
                </c:pt>
                <c:pt idx="990">
                  <c:v>-9.2818031539720677E-3</c:v>
                </c:pt>
                <c:pt idx="991">
                  <c:v>-9.2873101122449616E-3</c:v>
                </c:pt>
                <c:pt idx="992">
                  <c:v>-9.1803857010395815E-3</c:v>
                </c:pt>
                <c:pt idx="993">
                  <c:v>-9.1685184011521693E-3</c:v>
                </c:pt>
                <c:pt idx="994">
                  <c:v>-9.4461821166805706E-3</c:v>
                </c:pt>
                <c:pt idx="995">
                  <c:v>-9.4354595497334482E-3</c:v>
                </c:pt>
                <c:pt idx="996">
                  <c:v>-9.4207725034631349E-3</c:v>
                </c:pt>
                <c:pt idx="997">
                  <c:v>-9.4227443330208733E-3</c:v>
                </c:pt>
                <c:pt idx="998">
                  <c:v>-9.3299594349642457E-3</c:v>
                </c:pt>
                <c:pt idx="999">
                  <c:v>-9.3152283699652321E-3</c:v>
                </c:pt>
                <c:pt idx="1000">
                  <c:v>-9.2109502448303009E-3</c:v>
                </c:pt>
                <c:pt idx="1001">
                  <c:v>-9.1342546875785684E-3</c:v>
                </c:pt>
                <c:pt idx="1002">
                  <c:v>-9.2023145126343756E-3</c:v>
                </c:pt>
                <c:pt idx="1003">
                  <c:v>-9.2817747260052208E-3</c:v>
                </c:pt>
                <c:pt idx="1004">
                  <c:v>-9.2043633806198656E-3</c:v>
                </c:pt>
                <c:pt idx="1005">
                  <c:v>-9.2155636542798989E-3</c:v>
                </c:pt>
                <c:pt idx="1006">
                  <c:v>-9.2583585567715745E-3</c:v>
                </c:pt>
                <c:pt idx="1007">
                  <c:v>-9.3617988330631993E-3</c:v>
                </c:pt>
                <c:pt idx="1008">
                  <c:v>-9.4277457075981948E-3</c:v>
                </c:pt>
                <c:pt idx="1009">
                  <c:v>-9.4301489523675279E-3</c:v>
                </c:pt>
                <c:pt idx="1010">
                  <c:v>-9.431911844134229E-3</c:v>
                </c:pt>
                <c:pt idx="1011">
                  <c:v>-9.5128260955347939E-3</c:v>
                </c:pt>
                <c:pt idx="1012">
                  <c:v>-9.5118829780845918E-3</c:v>
                </c:pt>
                <c:pt idx="1013">
                  <c:v>-9.5136947286319756E-3</c:v>
                </c:pt>
                <c:pt idx="1014">
                  <c:v>-9.5508805536640047E-3</c:v>
                </c:pt>
                <c:pt idx="1015">
                  <c:v>-9.5536765951080085E-3</c:v>
                </c:pt>
                <c:pt idx="1016">
                  <c:v>-9.5166049311766546E-3</c:v>
                </c:pt>
                <c:pt idx="1017">
                  <c:v>-9.5203740320497308E-3</c:v>
                </c:pt>
                <c:pt idx="1018">
                  <c:v>-9.7338238083647492E-3</c:v>
                </c:pt>
                <c:pt idx="1019">
                  <c:v>-9.6714505885784046E-3</c:v>
                </c:pt>
                <c:pt idx="1020">
                  <c:v>-9.5778852093323878E-3</c:v>
                </c:pt>
                <c:pt idx="1021">
                  <c:v>-9.3960421553533693E-3</c:v>
                </c:pt>
                <c:pt idx="1022">
                  <c:v>-9.4788261922112618E-3</c:v>
                </c:pt>
                <c:pt idx="1023">
                  <c:v>-9.0097555749461856E-3</c:v>
                </c:pt>
                <c:pt idx="1024">
                  <c:v>-9.0161210962494479E-3</c:v>
                </c:pt>
                <c:pt idx="1025">
                  <c:v>-8.4467198170738392E-3</c:v>
                </c:pt>
                <c:pt idx="1026">
                  <c:v>-8.4605724841206771E-3</c:v>
                </c:pt>
                <c:pt idx="1027">
                  <c:v>-8.4582384860201008E-3</c:v>
                </c:pt>
                <c:pt idx="1028">
                  <c:v>-8.4511292878450446E-3</c:v>
                </c:pt>
                <c:pt idx="1029">
                  <c:v>-8.4724059680390731E-3</c:v>
                </c:pt>
                <c:pt idx="1030">
                  <c:v>-8.3264344654474833E-3</c:v>
                </c:pt>
                <c:pt idx="1031">
                  <c:v>-8.4065359494225195E-3</c:v>
                </c:pt>
                <c:pt idx="1032">
                  <c:v>-8.4276862401063395E-3</c:v>
                </c:pt>
                <c:pt idx="1033">
                  <c:v>-8.3750098857262537E-3</c:v>
                </c:pt>
                <c:pt idx="1034">
                  <c:v>-8.4093777064025779E-3</c:v>
                </c:pt>
                <c:pt idx="1035">
                  <c:v>-8.4321464314548438E-3</c:v>
                </c:pt>
                <c:pt idx="1036">
                  <c:v>-8.4105874990700377E-3</c:v>
                </c:pt>
                <c:pt idx="1037">
                  <c:v>-8.3280589272619505E-3</c:v>
                </c:pt>
                <c:pt idx="1038">
                  <c:v>-8.234275325479162E-3</c:v>
                </c:pt>
                <c:pt idx="1039">
                  <c:v>-8.2922641595364784E-3</c:v>
                </c:pt>
                <c:pt idx="1040">
                  <c:v>-8.3145607263859899E-3</c:v>
                </c:pt>
                <c:pt idx="1041">
                  <c:v>-8.2933407411919791E-3</c:v>
                </c:pt>
                <c:pt idx="1042">
                  <c:v>-8.2652295280095569E-3</c:v>
                </c:pt>
                <c:pt idx="1043">
                  <c:v>-8.2545183862862588E-3</c:v>
                </c:pt>
                <c:pt idx="1044">
                  <c:v>-8.2382328254799724E-3</c:v>
                </c:pt>
                <c:pt idx="1045">
                  <c:v>-8.239990343590721E-3</c:v>
                </c:pt>
                <c:pt idx="1046">
                  <c:v>-8.1751171318349102E-3</c:v>
                </c:pt>
                <c:pt idx="1047">
                  <c:v>-8.1783250660281553E-3</c:v>
                </c:pt>
                <c:pt idx="1048">
                  <c:v>-8.1418292461522979E-3</c:v>
                </c:pt>
                <c:pt idx="1049">
                  <c:v>-7.9453090189708451E-3</c:v>
                </c:pt>
                <c:pt idx="1050">
                  <c:v>-8.0136252966910328E-3</c:v>
                </c:pt>
                <c:pt idx="1051">
                  <c:v>-8.0041702822068184E-3</c:v>
                </c:pt>
                <c:pt idx="1052">
                  <c:v>-7.9140725763547984E-3</c:v>
                </c:pt>
                <c:pt idx="1053">
                  <c:v>-8.1723678916421835E-3</c:v>
                </c:pt>
                <c:pt idx="1054">
                  <c:v>-8.2365106881572853E-3</c:v>
                </c:pt>
                <c:pt idx="1055">
                  <c:v>-8.6056668950876408E-3</c:v>
                </c:pt>
                <c:pt idx="1056">
                  <c:v>-8.6059782897008087E-3</c:v>
                </c:pt>
                <c:pt idx="1057">
                  <c:v>-8.6353652383496446E-3</c:v>
                </c:pt>
                <c:pt idx="1058">
                  <c:v>-8.4727301754377905E-3</c:v>
                </c:pt>
                <c:pt idx="1059">
                  <c:v>-8.3765925781802992E-3</c:v>
                </c:pt>
                <c:pt idx="1060">
                  <c:v>-8.5280305455065226E-3</c:v>
                </c:pt>
                <c:pt idx="1061">
                  <c:v>-8.5548722260088781E-3</c:v>
                </c:pt>
                <c:pt idx="1062">
                  <c:v>-8.5111125675185265E-3</c:v>
                </c:pt>
                <c:pt idx="1063">
                  <c:v>-8.5914336161532663E-3</c:v>
                </c:pt>
                <c:pt idx="1064">
                  <c:v>-8.5904318752194776E-3</c:v>
                </c:pt>
                <c:pt idx="1065">
                  <c:v>-8.5839803957364798E-3</c:v>
                </c:pt>
                <c:pt idx="1066">
                  <c:v>-8.5975516732010454E-3</c:v>
                </c:pt>
                <c:pt idx="1067">
                  <c:v>-8.6603314241603495E-3</c:v>
                </c:pt>
                <c:pt idx="1068">
                  <c:v>-8.7529159047931623E-3</c:v>
                </c:pt>
                <c:pt idx="1069">
                  <c:v>-8.7452564592105427E-3</c:v>
                </c:pt>
                <c:pt idx="1070">
                  <c:v>-8.7281308475818178E-3</c:v>
                </c:pt>
                <c:pt idx="1071">
                  <c:v>-8.7383546206805073E-3</c:v>
                </c:pt>
                <c:pt idx="1072">
                  <c:v>-8.7557932454375847E-3</c:v>
                </c:pt>
                <c:pt idx="1073">
                  <c:v>-8.7232609799383111E-3</c:v>
                </c:pt>
                <c:pt idx="1074">
                  <c:v>-8.6400829136633103E-3</c:v>
                </c:pt>
                <c:pt idx="1075">
                  <c:v>-8.5464006683101234E-3</c:v>
                </c:pt>
                <c:pt idx="1076">
                  <c:v>-8.6264138783712363E-3</c:v>
                </c:pt>
                <c:pt idx="1077">
                  <c:v>-8.430807605875057E-3</c:v>
                </c:pt>
                <c:pt idx="1078">
                  <c:v>-8.4694066498465833E-3</c:v>
                </c:pt>
                <c:pt idx="1079">
                  <c:v>-8.6472748867525932E-3</c:v>
                </c:pt>
                <c:pt idx="1080">
                  <c:v>-8.6883352489641238E-3</c:v>
                </c:pt>
                <c:pt idx="1081">
                  <c:v>-8.7517475949689706E-3</c:v>
                </c:pt>
                <c:pt idx="1082">
                  <c:v>-8.6852744167648238E-3</c:v>
                </c:pt>
                <c:pt idx="1083">
                  <c:v>-8.6812991485178768E-3</c:v>
                </c:pt>
                <c:pt idx="1084">
                  <c:v>-8.5237165398522313E-3</c:v>
                </c:pt>
                <c:pt idx="1085">
                  <c:v>-8.6020519039790438E-3</c:v>
                </c:pt>
                <c:pt idx="1086">
                  <c:v>-8.5776760417883915E-3</c:v>
                </c:pt>
                <c:pt idx="1087">
                  <c:v>-8.5582376060393279E-3</c:v>
                </c:pt>
                <c:pt idx="1088">
                  <c:v>-8.6516401221498548E-3</c:v>
                </c:pt>
                <c:pt idx="1089">
                  <c:v>-8.7533694459374332E-3</c:v>
                </c:pt>
                <c:pt idx="1090">
                  <c:v>-8.7817709664934542E-3</c:v>
                </c:pt>
                <c:pt idx="1091">
                  <c:v>-8.7875948314270272E-3</c:v>
                </c:pt>
                <c:pt idx="1092">
                  <c:v>-8.7688216725558647E-3</c:v>
                </c:pt>
                <c:pt idx="1093">
                  <c:v>-8.645865093933211E-3</c:v>
                </c:pt>
                <c:pt idx="1094">
                  <c:v>-8.5409488294230246E-3</c:v>
                </c:pt>
                <c:pt idx="1095">
                  <c:v>-8.5329110745049914E-3</c:v>
                </c:pt>
                <c:pt idx="1096">
                  <c:v>-8.5565005372311397E-3</c:v>
                </c:pt>
                <c:pt idx="1097">
                  <c:v>-8.5474278164583556E-3</c:v>
                </c:pt>
                <c:pt idx="1098">
                  <c:v>-8.4647317320751432E-3</c:v>
                </c:pt>
                <c:pt idx="1099">
                  <c:v>-8.5181290603625753E-3</c:v>
                </c:pt>
                <c:pt idx="1100">
                  <c:v>-8.408390892304024E-3</c:v>
                </c:pt>
                <c:pt idx="1101">
                  <c:v>-8.3470635409917046E-3</c:v>
                </c:pt>
                <c:pt idx="1102">
                  <c:v>-8.348348939896234E-3</c:v>
                </c:pt>
                <c:pt idx="1103">
                  <c:v>-8.2830633616339435E-3</c:v>
                </c:pt>
                <c:pt idx="1104">
                  <c:v>-8.3852259998625691E-3</c:v>
                </c:pt>
                <c:pt idx="1105">
                  <c:v>-8.4698738640902362E-3</c:v>
                </c:pt>
                <c:pt idx="1106">
                  <c:v>-8.4932880049725136E-3</c:v>
                </c:pt>
                <c:pt idx="1107">
                  <c:v>-8.7371850629721932E-3</c:v>
                </c:pt>
                <c:pt idx="1108">
                  <c:v>-8.7426164065544706E-3</c:v>
                </c:pt>
                <c:pt idx="1109">
                  <c:v>-8.8320807062755718E-3</c:v>
                </c:pt>
                <c:pt idx="1110">
                  <c:v>-8.8301031004833063E-3</c:v>
                </c:pt>
                <c:pt idx="1111">
                  <c:v>-8.8743449028617603E-3</c:v>
                </c:pt>
                <c:pt idx="1112">
                  <c:v>-9.1054016192787142E-3</c:v>
                </c:pt>
                <c:pt idx="1113">
                  <c:v>-9.1394541978487859E-3</c:v>
                </c:pt>
                <c:pt idx="1114">
                  <c:v>-9.4247974120786528E-3</c:v>
                </c:pt>
                <c:pt idx="1115">
                  <c:v>-9.4286572753894005E-3</c:v>
                </c:pt>
                <c:pt idx="1116">
                  <c:v>-9.4112365365783442E-3</c:v>
                </c:pt>
                <c:pt idx="1117">
                  <c:v>-9.471285561358728E-3</c:v>
                </c:pt>
                <c:pt idx="1118">
                  <c:v>-9.5551516601041983E-3</c:v>
                </c:pt>
                <c:pt idx="1119">
                  <c:v>-9.560140725747162E-3</c:v>
                </c:pt>
                <c:pt idx="1120">
                  <c:v>-9.5341364508388822E-3</c:v>
                </c:pt>
                <c:pt idx="1121">
                  <c:v>-8.5915344829658701E-3</c:v>
                </c:pt>
                <c:pt idx="1122">
                  <c:v>-8.239370969614055E-3</c:v>
                </c:pt>
                <c:pt idx="1123">
                  <c:v>-8.2267381474025476E-3</c:v>
                </c:pt>
                <c:pt idx="1124">
                  <c:v>-8.1105402535012767E-3</c:v>
                </c:pt>
                <c:pt idx="1125">
                  <c:v>-7.9286948140888918E-3</c:v>
                </c:pt>
                <c:pt idx="1126">
                  <c:v>-7.7508285451214024E-3</c:v>
                </c:pt>
                <c:pt idx="1127">
                  <c:v>-7.7157268973823559E-3</c:v>
                </c:pt>
                <c:pt idx="1128">
                  <c:v>-7.5735865944753997E-3</c:v>
                </c:pt>
                <c:pt idx="1129">
                  <c:v>-7.4253169480149967E-3</c:v>
                </c:pt>
                <c:pt idx="1130">
                  <c:v>-7.4788026475593669E-3</c:v>
                </c:pt>
                <c:pt idx="1131">
                  <c:v>-7.514102247029193E-3</c:v>
                </c:pt>
                <c:pt idx="1132">
                  <c:v>-7.4949825078742677E-3</c:v>
                </c:pt>
                <c:pt idx="1133">
                  <c:v>-7.6120849879237054E-3</c:v>
                </c:pt>
                <c:pt idx="1134">
                  <c:v>-7.591511856346567E-3</c:v>
                </c:pt>
                <c:pt idx="1135">
                  <c:v>-7.5998913171891839E-3</c:v>
                </c:pt>
                <c:pt idx="1136">
                  <c:v>-7.6182061451220617E-3</c:v>
                </c:pt>
                <c:pt idx="1137">
                  <c:v>-7.6047728491193877E-3</c:v>
                </c:pt>
                <c:pt idx="1138">
                  <c:v>-7.6283965602193179E-3</c:v>
                </c:pt>
                <c:pt idx="1139">
                  <c:v>-7.8578051118206003E-3</c:v>
                </c:pt>
                <c:pt idx="1140">
                  <c:v>-7.9406630059169845E-3</c:v>
                </c:pt>
                <c:pt idx="1141">
                  <c:v>-7.9969198174697116E-3</c:v>
                </c:pt>
                <c:pt idx="1142">
                  <c:v>-8.0628771636539771E-3</c:v>
                </c:pt>
                <c:pt idx="1143">
                  <c:v>-8.1676401339878212E-3</c:v>
                </c:pt>
                <c:pt idx="1144">
                  <c:v>-8.301156911849154E-3</c:v>
                </c:pt>
                <c:pt idx="1145">
                  <c:v>-8.4233111317409074E-3</c:v>
                </c:pt>
                <c:pt idx="1146">
                  <c:v>-8.7377057257869289E-3</c:v>
                </c:pt>
                <c:pt idx="1147">
                  <c:v>-8.9896094235550825E-3</c:v>
                </c:pt>
                <c:pt idx="1148">
                  <c:v>-9.2409307081701697E-3</c:v>
                </c:pt>
                <c:pt idx="1149">
                  <c:v>-9.615006915679649E-3</c:v>
                </c:pt>
                <c:pt idx="1150">
                  <c:v>-1.0643664842485303E-2</c:v>
                </c:pt>
                <c:pt idx="1151">
                  <c:v>-1.0044976233098274E-2</c:v>
                </c:pt>
                <c:pt idx="1152">
                  <c:v>-1.0016905684598253E-2</c:v>
                </c:pt>
                <c:pt idx="1153">
                  <c:v>-1.0020287111770512E-2</c:v>
                </c:pt>
                <c:pt idx="1154">
                  <c:v>-1.0009277383837924E-2</c:v>
                </c:pt>
                <c:pt idx="1155">
                  <c:v>-1.0030503203663386E-2</c:v>
                </c:pt>
                <c:pt idx="1156">
                  <c:v>-1.0072081921302042E-2</c:v>
                </c:pt>
                <c:pt idx="1157">
                  <c:v>-1.010147387063578E-2</c:v>
                </c:pt>
                <c:pt idx="1158">
                  <c:v>-1.0186533451170286E-2</c:v>
                </c:pt>
                <c:pt idx="1159">
                  <c:v>-1.0228892971818922E-2</c:v>
                </c:pt>
                <c:pt idx="1160">
                  <c:v>-1.0233622695454678E-2</c:v>
                </c:pt>
                <c:pt idx="1161">
                  <c:v>-1.0114898464684382E-2</c:v>
                </c:pt>
                <c:pt idx="1162">
                  <c:v>-1.0070825213056505E-2</c:v>
                </c:pt>
                <c:pt idx="1163">
                  <c:v>-1.0052190821334947E-2</c:v>
                </c:pt>
                <c:pt idx="1164">
                  <c:v>-9.9516660303148527E-3</c:v>
                </c:pt>
                <c:pt idx="1165">
                  <c:v>-9.8788154327262099E-3</c:v>
                </c:pt>
                <c:pt idx="1166">
                  <c:v>-9.7881094741045817E-3</c:v>
                </c:pt>
                <c:pt idx="1167">
                  <c:v>-9.7987979882686906E-3</c:v>
                </c:pt>
                <c:pt idx="1168">
                  <c:v>-9.7208761415237561E-3</c:v>
                </c:pt>
                <c:pt idx="1169">
                  <c:v>-9.6308435158350986E-3</c:v>
                </c:pt>
                <c:pt idx="1170">
                  <c:v>-9.6172573647803801E-3</c:v>
                </c:pt>
                <c:pt idx="1171">
                  <c:v>-9.5838510611526029E-3</c:v>
                </c:pt>
                <c:pt idx="1172">
                  <c:v>-9.5893096413979008E-3</c:v>
                </c:pt>
                <c:pt idx="1173">
                  <c:v>-9.516133516374722E-3</c:v>
                </c:pt>
                <c:pt idx="1174">
                  <c:v>-9.5207621662572739E-3</c:v>
                </c:pt>
                <c:pt idx="1175">
                  <c:v>-9.4641900592545448E-3</c:v>
                </c:pt>
                <c:pt idx="1176">
                  <c:v>-9.4081634579444434E-3</c:v>
                </c:pt>
                <c:pt idx="1177">
                  <c:v>-9.3892594150931895E-3</c:v>
                </c:pt>
                <c:pt idx="1178">
                  <c:v>-9.3958459408499256E-3</c:v>
                </c:pt>
                <c:pt idx="1179">
                  <c:v>-9.3978149021358807E-3</c:v>
                </c:pt>
                <c:pt idx="1180">
                  <c:v>-9.3956914143901293E-3</c:v>
                </c:pt>
                <c:pt idx="1181">
                  <c:v>-9.8685924082087349E-3</c:v>
                </c:pt>
                <c:pt idx="1182">
                  <c:v>-9.0655210988473643E-3</c:v>
                </c:pt>
                <c:pt idx="1183">
                  <c:v>-9.0641532129837055E-3</c:v>
                </c:pt>
                <c:pt idx="1184">
                  <c:v>-8.9862078987134227E-3</c:v>
                </c:pt>
                <c:pt idx="1185">
                  <c:v>-8.9166027886328145E-3</c:v>
                </c:pt>
                <c:pt idx="1186">
                  <c:v>-8.8633793303216791E-3</c:v>
                </c:pt>
                <c:pt idx="1187">
                  <c:v>-8.8602166508276944E-3</c:v>
                </c:pt>
                <c:pt idx="1188">
                  <c:v>-8.4705448917078482E-3</c:v>
                </c:pt>
                <c:pt idx="1189">
                  <c:v>-8.4275869546740385E-3</c:v>
                </c:pt>
                <c:pt idx="1190">
                  <c:v>-8.4245424982281221E-3</c:v>
                </c:pt>
                <c:pt idx="1191">
                  <c:v>-8.4899905284261772E-3</c:v>
                </c:pt>
                <c:pt idx="1192">
                  <c:v>-8.5326322161131569E-3</c:v>
                </c:pt>
                <c:pt idx="1193">
                  <c:v>-8.5317824477947838E-3</c:v>
                </c:pt>
                <c:pt idx="1194">
                  <c:v>-8.534068487915587E-3</c:v>
                </c:pt>
                <c:pt idx="1195">
                  <c:v>-8.5186638812612195E-3</c:v>
                </c:pt>
                <c:pt idx="1196">
                  <c:v>-8.5289862263309962E-3</c:v>
                </c:pt>
                <c:pt idx="1197">
                  <c:v>-8.4492703574716548E-3</c:v>
                </c:pt>
                <c:pt idx="1198">
                  <c:v>-8.442644599522018E-3</c:v>
                </c:pt>
                <c:pt idx="1199">
                  <c:v>-8.4708723297194852E-3</c:v>
                </c:pt>
                <c:pt idx="1200">
                  <c:v>-8.3876583077112776E-3</c:v>
                </c:pt>
                <c:pt idx="1201">
                  <c:v>-8.3231014256715113E-3</c:v>
                </c:pt>
                <c:pt idx="1202">
                  <c:v>-8.2729377586710992E-3</c:v>
                </c:pt>
                <c:pt idx="1203">
                  <c:v>-8.3364297417092281E-3</c:v>
                </c:pt>
                <c:pt idx="1204">
                  <c:v>-8.3199481753047679E-3</c:v>
                </c:pt>
                <c:pt idx="1205">
                  <c:v>-8.3793653882280449E-3</c:v>
                </c:pt>
                <c:pt idx="1206">
                  <c:v>-8.4616804052427778E-3</c:v>
                </c:pt>
                <c:pt idx="1207">
                  <c:v>-8.5022978782911506E-3</c:v>
                </c:pt>
                <c:pt idx="1208">
                  <c:v>-8.5022765546142586E-3</c:v>
                </c:pt>
                <c:pt idx="1209">
                  <c:v>-8.4880675487719881E-3</c:v>
                </c:pt>
                <c:pt idx="1210">
                  <c:v>-8.4648446506631544E-3</c:v>
                </c:pt>
                <c:pt idx="1211">
                  <c:v>-8.4034688223747489E-3</c:v>
                </c:pt>
                <c:pt idx="1212">
                  <c:v>-8.8786281935565939E-3</c:v>
                </c:pt>
                <c:pt idx="1213">
                  <c:v>-8.8651758629614379E-3</c:v>
                </c:pt>
                <c:pt idx="1214">
                  <c:v>-8.8707012708529147E-3</c:v>
                </c:pt>
                <c:pt idx="1215">
                  <c:v>-8.2762475043521889E-3</c:v>
                </c:pt>
                <c:pt idx="1216">
                  <c:v>-6.1294655418348762E-3</c:v>
                </c:pt>
                <c:pt idx="1217">
                  <c:v>-5.8486052597628716E-3</c:v>
                </c:pt>
                <c:pt idx="1218">
                  <c:v>-5.9119239036905533E-3</c:v>
                </c:pt>
                <c:pt idx="1219">
                  <c:v>-5.9873016701916986E-3</c:v>
                </c:pt>
                <c:pt idx="1220">
                  <c:v>-6.0019427136622444E-3</c:v>
                </c:pt>
                <c:pt idx="1221">
                  <c:v>-6.0203686700183679E-3</c:v>
                </c:pt>
                <c:pt idx="1222">
                  <c:v>-6.0236818081790891E-3</c:v>
                </c:pt>
                <c:pt idx="1223">
                  <c:v>-5.9584787958452947E-3</c:v>
                </c:pt>
                <c:pt idx="1224">
                  <c:v>-6.0444211892884733E-3</c:v>
                </c:pt>
                <c:pt idx="1225">
                  <c:v>-5.9825825149078266E-3</c:v>
                </c:pt>
                <c:pt idx="1226">
                  <c:v>-5.8909718423988825E-3</c:v>
                </c:pt>
                <c:pt idx="1227">
                  <c:v>-5.9091024889276911E-3</c:v>
                </c:pt>
                <c:pt idx="1228">
                  <c:v>-5.9213319243970452E-3</c:v>
                </c:pt>
                <c:pt idx="1229">
                  <c:v>-5.6699936409703019E-3</c:v>
                </c:pt>
                <c:pt idx="1230">
                  <c:v>-5.6815050579132696E-3</c:v>
                </c:pt>
                <c:pt idx="1231">
                  <c:v>-5.7547114034915258E-3</c:v>
                </c:pt>
                <c:pt idx="1232">
                  <c:v>-5.7108291132802391E-3</c:v>
                </c:pt>
                <c:pt idx="1233">
                  <c:v>-5.73943221107206E-3</c:v>
                </c:pt>
                <c:pt idx="1234">
                  <c:v>-5.1665449750120229E-3</c:v>
                </c:pt>
                <c:pt idx="1235">
                  <c:v>-5.198767372514802E-3</c:v>
                </c:pt>
                <c:pt idx="1236">
                  <c:v>-5.2190249296526969E-3</c:v>
                </c:pt>
                <c:pt idx="1237">
                  <c:v>-5.149921781411923E-3</c:v>
                </c:pt>
                <c:pt idx="1238">
                  <c:v>-5.0755005897671571E-3</c:v>
                </c:pt>
                <c:pt idx="1239">
                  <c:v>-5.0333813339704754E-3</c:v>
                </c:pt>
                <c:pt idx="1240">
                  <c:v>-5.076087233415307E-3</c:v>
                </c:pt>
                <c:pt idx="1241">
                  <c:v>-4.9883439891384674E-3</c:v>
                </c:pt>
                <c:pt idx="1242">
                  <c:v>-4.1969780338731531E-3</c:v>
                </c:pt>
                <c:pt idx="1243">
                  <c:v>-4.1192187632655211E-3</c:v>
                </c:pt>
                <c:pt idx="1244">
                  <c:v>-4.2149216176901316E-3</c:v>
                </c:pt>
                <c:pt idx="1245">
                  <c:v>-4.353817753011956E-3</c:v>
                </c:pt>
                <c:pt idx="1246">
                  <c:v>-5.4768597182662127E-3</c:v>
                </c:pt>
                <c:pt idx="1247">
                  <c:v>-5.7006422886716228E-3</c:v>
                </c:pt>
                <c:pt idx="1248">
                  <c:v>-5.7969815764090183E-3</c:v>
                </c:pt>
                <c:pt idx="1249">
                  <c:v>-5.7662043942972386E-3</c:v>
                </c:pt>
                <c:pt idx="1250">
                  <c:v>-5.7202313933054916E-3</c:v>
                </c:pt>
                <c:pt idx="1251">
                  <c:v>-5.6973402106574988E-3</c:v>
                </c:pt>
                <c:pt idx="1252">
                  <c:v>-5.6914044575695375E-3</c:v>
                </c:pt>
                <c:pt idx="1253">
                  <c:v>-5.763216561131445E-3</c:v>
                </c:pt>
                <c:pt idx="1254">
                  <c:v>-5.7596766703962117E-3</c:v>
                </c:pt>
                <c:pt idx="1255">
                  <c:v>-5.8180826212052067E-3</c:v>
                </c:pt>
                <c:pt idx="1256">
                  <c:v>-5.8716034362076867E-3</c:v>
                </c:pt>
                <c:pt idx="1257">
                  <c:v>-5.889811678819289E-3</c:v>
                </c:pt>
                <c:pt idx="1258">
                  <c:v>-5.8813163417904546E-3</c:v>
                </c:pt>
                <c:pt idx="1259">
                  <c:v>-6.1088713537324505E-3</c:v>
                </c:pt>
                <c:pt idx="1260">
                  <c:v>-5.7985653092492619E-3</c:v>
                </c:pt>
                <c:pt idx="1261">
                  <c:v>-5.7100147438146499E-3</c:v>
                </c:pt>
                <c:pt idx="1262">
                  <c:v>-5.7815226924306891E-3</c:v>
                </c:pt>
                <c:pt idx="1263">
                  <c:v>-5.5843084310496722E-3</c:v>
                </c:pt>
                <c:pt idx="1264">
                  <c:v>-6.157037449098921E-3</c:v>
                </c:pt>
                <c:pt idx="1265">
                  <c:v>-6.0826520929982333E-3</c:v>
                </c:pt>
                <c:pt idx="1266">
                  <c:v>-6.0603882436762197E-3</c:v>
                </c:pt>
                <c:pt idx="1267">
                  <c:v>-6.1648280745448822E-3</c:v>
                </c:pt>
                <c:pt idx="1268">
                  <c:v>-6.1492319407226688E-3</c:v>
                </c:pt>
                <c:pt idx="1269">
                  <c:v>-6.2420399929558933E-3</c:v>
                </c:pt>
                <c:pt idx="1270">
                  <c:v>-6.113081669289336E-3</c:v>
                </c:pt>
                <c:pt idx="1271">
                  <c:v>-6.3138517103606892E-3</c:v>
                </c:pt>
                <c:pt idx="1272">
                  <c:v>-7.9448460961742354E-3</c:v>
                </c:pt>
                <c:pt idx="1273">
                  <c:v>-7.9938009448363469E-3</c:v>
                </c:pt>
                <c:pt idx="1274">
                  <c:v>-7.9389392578864924E-3</c:v>
                </c:pt>
                <c:pt idx="1275">
                  <c:v>-7.9564997362493728E-3</c:v>
                </c:pt>
                <c:pt idx="1276">
                  <c:v>-7.9942415812888669E-3</c:v>
                </c:pt>
                <c:pt idx="1277">
                  <c:v>-7.9402804063443098E-3</c:v>
                </c:pt>
                <c:pt idx="1278">
                  <c:v>-7.9177183128967613E-3</c:v>
                </c:pt>
                <c:pt idx="1279">
                  <c:v>-7.5191008857992299E-3</c:v>
                </c:pt>
                <c:pt idx="1280">
                  <c:v>-7.4603741681192725E-3</c:v>
                </c:pt>
                <c:pt idx="1281">
                  <c:v>-7.476327799909803E-3</c:v>
                </c:pt>
                <c:pt idx="1282">
                  <c:v>-6.9902662947544684E-3</c:v>
                </c:pt>
                <c:pt idx="1283">
                  <c:v>-7.0069315500569298E-3</c:v>
                </c:pt>
                <c:pt idx="1284">
                  <c:v>-6.9948839731898884E-3</c:v>
                </c:pt>
                <c:pt idx="1285">
                  <c:v>-6.9986462746736942E-3</c:v>
                </c:pt>
                <c:pt idx="1286">
                  <c:v>-6.9367029097394629E-3</c:v>
                </c:pt>
                <c:pt idx="1287">
                  <c:v>-6.9353955269177547E-3</c:v>
                </c:pt>
                <c:pt idx="1288">
                  <c:v>-6.8302522643201692E-3</c:v>
                </c:pt>
                <c:pt idx="1289">
                  <c:v>-6.8126789460802523E-3</c:v>
                </c:pt>
                <c:pt idx="1290">
                  <c:v>-7.1196745401038682E-3</c:v>
                </c:pt>
                <c:pt idx="1291">
                  <c:v>-7.1196532127591611E-3</c:v>
                </c:pt>
                <c:pt idx="1292">
                  <c:v>-7.0256579579958192E-3</c:v>
                </c:pt>
                <c:pt idx="1293">
                  <c:v>-7.3006282108688406E-3</c:v>
                </c:pt>
                <c:pt idx="1294">
                  <c:v>-6.6866705488937287E-3</c:v>
                </c:pt>
                <c:pt idx="1295">
                  <c:v>-6.3914409522467467E-3</c:v>
                </c:pt>
                <c:pt idx="1296">
                  <c:v>-6.4213272412097649E-3</c:v>
                </c:pt>
                <c:pt idx="1297">
                  <c:v>-6.3241024593878236E-3</c:v>
                </c:pt>
                <c:pt idx="1298">
                  <c:v>-6.3300085597054936E-3</c:v>
                </c:pt>
                <c:pt idx="1299">
                  <c:v>-6.2510161373839071E-3</c:v>
                </c:pt>
                <c:pt idx="1300">
                  <c:v>-5.7407313149895238E-3</c:v>
                </c:pt>
                <c:pt idx="1301">
                  <c:v>-5.7571008645894628E-3</c:v>
                </c:pt>
                <c:pt idx="1302">
                  <c:v>-5.7860508588811841E-3</c:v>
                </c:pt>
                <c:pt idx="1303">
                  <c:v>-5.8063238452034137E-3</c:v>
                </c:pt>
                <c:pt idx="1304">
                  <c:v>-5.8107131439942448E-3</c:v>
                </c:pt>
                <c:pt idx="1305">
                  <c:v>-5.7431227831530925E-3</c:v>
                </c:pt>
                <c:pt idx="1306">
                  <c:v>-5.7276188194427318E-3</c:v>
                </c:pt>
                <c:pt idx="1307">
                  <c:v>-5.4940348462701374E-3</c:v>
                </c:pt>
                <c:pt idx="1308">
                  <c:v>-5.1231054185583817E-3</c:v>
                </c:pt>
                <c:pt idx="1309">
                  <c:v>-5.3082229811815783E-3</c:v>
                </c:pt>
                <c:pt idx="1310">
                  <c:v>-5.1665836008365452E-3</c:v>
                </c:pt>
                <c:pt idx="1311">
                  <c:v>-5.1539421165264082E-3</c:v>
                </c:pt>
                <c:pt idx="1312">
                  <c:v>-5.3923673214277719E-3</c:v>
                </c:pt>
                <c:pt idx="1313">
                  <c:v>-5.3897481696480246E-3</c:v>
                </c:pt>
                <c:pt idx="1314">
                  <c:v>-5.3894539590986033E-3</c:v>
                </c:pt>
                <c:pt idx="1315">
                  <c:v>-5.3037287759845749E-3</c:v>
                </c:pt>
                <c:pt idx="1316">
                  <c:v>-5.3070933843542877E-3</c:v>
                </c:pt>
                <c:pt idx="1317">
                  <c:v>-5.2945717988727237E-3</c:v>
                </c:pt>
                <c:pt idx="1318">
                  <c:v>-5.4048332844311162E-3</c:v>
                </c:pt>
                <c:pt idx="1319">
                  <c:v>-5.4090060650849106E-3</c:v>
                </c:pt>
                <c:pt idx="1320">
                  <c:v>-5.4901013699856479E-3</c:v>
                </c:pt>
                <c:pt idx="1321">
                  <c:v>-5.5200053906661953E-3</c:v>
                </c:pt>
                <c:pt idx="1322">
                  <c:v>-5.6385824080871999E-3</c:v>
                </c:pt>
                <c:pt idx="1323">
                  <c:v>-5.6458324680093682E-3</c:v>
                </c:pt>
                <c:pt idx="1324">
                  <c:v>-6.0326104947616135E-3</c:v>
                </c:pt>
                <c:pt idx="1325">
                  <c:v>-6.2290925719658743E-3</c:v>
                </c:pt>
                <c:pt idx="1326">
                  <c:v>-6.1292515937286613E-3</c:v>
                </c:pt>
                <c:pt idx="1327">
                  <c:v>-6.0999415952558544E-3</c:v>
                </c:pt>
                <c:pt idx="1328">
                  <c:v>-6.1231725266882161E-3</c:v>
                </c:pt>
                <c:pt idx="1329">
                  <c:v>-6.2016214571589973E-3</c:v>
                </c:pt>
                <c:pt idx="1330">
                  <c:v>-6.7274258351764172E-3</c:v>
                </c:pt>
                <c:pt idx="1331">
                  <c:v>-6.6944058692158925E-3</c:v>
                </c:pt>
                <c:pt idx="1332">
                  <c:v>-6.6364177748782886E-3</c:v>
                </c:pt>
                <c:pt idx="1333">
                  <c:v>-6.5952861670548956E-3</c:v>
                </c:pt>
                <c:pt idx="1334">
                  <c:v>-6.5992781616148327E-3</c:v>
                </c:pt>
                <c:pt idx="1335">
                  <c:v>-6.6437740656129169E-3</c:v>
                </c:pt>
                <c:pt idx="1336">
                  <c:v>-6.6725022177387449E-3</c:v>
                </c:pt>
                <c:pt idx="1337">
                  <c:v>-7.0661029149688935E-3</c:v>
                </c:pt>
                <c:pt idx="1338">
                  <c:v>-7.8162330739444084E-3</c:v>
                </c:pt>
                <c:pt idx="1339">
                  <c:v>-7.8254003906859035E-3</c:v>
                </c:pt>
                <c:pt idx="1340">
                  <c:v>-8.5136363825503349E-3</c:v>
                </c:pt>
                <c:pt idx="1341">
                  <c:v>-8.4361333337424696E-3</c:v>
                </c:pt>
                <c:pt idx="1342">
                  <c:v>-8.7248381439493684E-3</c:v>
                </c:pt>
                <c:pt idx="1343">
                  <c:v>-8.7314116411125377E-3</c:v>
                </c:pt>
                <c:pt idx="1344">
                  <c:v>-8.8218899271048801E-3</c:v>
                </c:pt>
                <c:pt idx="1345">
                  <c:v>-8.823431440988419E-3</c:v>
                </c:pt>
                <c:pt idx="1346">
                  <c:v>-8.7784192207998601E-3</c:v>
                </c:pt>
                <c:pt idx="1347">
                  <c:v>-8.7297026104731154E-3</c:v>
                </c:pt>
                <c:pt idx="1348">
                  <c:v>-8.7291195216788117E-3</c:v>
                </c:pt>
                <c:pt idx="1349">
                  <c:v>-8.746710468909397E-3</c:v>
                </c:pt>
                <c:pt idx="1350">
                  <c:v>-8.6645191847596909E-3</c:v>
                </c:pt>
                <c:pt idx="1351">
                  <c:v>-8.6330039519523488E-3</c:v>
                </c:pt>
                <c:pt idx="1352">
                  <c:v>-8.7762322098639371E-3</c:v>
                </c:pt>
                <c:pt idx="1353">
                  <c:v>-8.8093951975487372E-3</c:v>
                </c:pt>
                <c:pt idx="1354">
                  <c:v>-9.053980989585729E-3</c:v>
                </c:pt>
                <c:pt idx="1355">
                  <c:v>-9.1097448761432165E-3</c:v>
                </c:pt>
                <c:pt idx="1356">
                  <c:v>-9.1499967041278087E-3</c:v>
                </c:pt>
                <c:pt idx="1357">
                  <c:v>-9.239636276044778E-3</c:v>
                </c:pt>
                <c:pt idx="1358">
                  <c:v>-9.1666169348019501E-3</c:v>
                </c:pt>
                <c:pt idx="1359">
                  <c:v>-9.0898401918105831E-3</c:v>
                </c:pt>
                <c:pt idx="1360">
                  <c:v>-9.6079065343188091E-3</c:v>
                </c:pt>
                <c:pt idx="1361">
                  <c:v>-8.0437636824234188E-3</c:v>
                </c:pt>
                <c:pt idx="1362">
                  <c:v>-8.040063234040138E-3</c:v>
                </c:pt>
                <c:pt idx="1363">
                  <c:v>-8.0464109082803489E-3</c:v>
                </c:pt>
                <c:pt idx="1364">
                  <c:v>-8.0313948596879951E-3</c:v>
                </c:pt>
                <c:pt idx="1365">
                  <c:v>-7.9463738655605552E-3</c:v>
                </c:pt>
                <c:pt idx="1366">
                  <c:v>-7.8864192895206076E-3</c:v>
                </c:pt>
                <c:pt idx="1367">
                  <c:v>-7.826915517926792E-3</c:v>
                </c:pt>
                <c:pt idx="1368">
                  <c:v>-7.7961109082044424E-3</c:v>
                </c:pt>
                <c:pt idx="1369">
                  <c:v>-7.76123220065958E-3</c:v>
                </c:pt>
                <c:pt idx="1370">
                  <c:v>-7.732398588165529E-3</c:v>
                </c:pt>
                <c:pt idx="1371">
                  <c:v>-7.7733959010612141E-3</c:v>
                </c:pt>
                <c:pt idx="1372">
                  <c:v>-7.7661933141123136E-3</c:v>
                </c:pt>
                <c:pt idx="1373">
                  <c:v>-7.7388907302599237E-3</c:v>
                </c:pt>
                <c:pt idx="1374">
                  <c:v>-7.8131753598568825E-3</c:v>
                </c:pt>
                <c:pt idx="1375">
                  <c:v>-7.8014670501687141E-3</c:v>
                </c:pt>
                <c:pt idx="1376">
                  <c:v>-7.8532755700909344E-3</c:v>
                </c:pt>
                <c:pt idx="1377">
                  <c:v>-7.8643578427404718E-3</c:v>
                </c:pt>
                <c:pt idx="1378">
                  <c:v>-7.849942478894912E-3</c:v>
                </c:pt>
                <c:pt idx="1379">
                  <c:v>-7.6965909826359601E-3</c:v>
                </c:pt>
                <c:pt idx="1380">
                  <c:v>-7.6735375353751724E-3</c:v>
                </c:pt>
                <c:pt idx="1381">
                  <c:v>-7.7227240593349391E-3</c:v>
                </c:pt>
                <c:pt idx="1382">
                  <c:v>-7.7315212786977922E-3</c:v>
                </c:pt>
                <c:pt idx="1383">
                  <c:v>-7.757544967329201E-3</c:v>
                </c:pt>
                <c:pt idx="1384">
                  <c:v>-7.7017603333964244E-3</c:v>
                </c:pt>
                <c:pt idx="1385">
                  <c:v>-7.701991077053591E-3</c:v>
                </c:pt>
                <c:pt idx="1386">
                  <c:v>-7.7145226123279658E-3</c:v>
                </c:pt>
                <c:pt idx="1387">
                  <c:v>-7.7484090809129252E-3</c:v>
                </c:pt>
                <c:pt idx="1388">
                  <c:v>-7.8436635009369628E-3</c:v>
                </c:pt>
                <c:pt idx="1389">
                  <c:v>-6.8728000572024729E-3</c:v>
                </c:pt>
                <c:pt idx="1390">
                  <c:v>-6.8627820603190202E-3</c:v>
                </c:pt>
                <c:pt idx="1391">
                  <c:v>-7.901745431517046E-3</c:v>
                </c:pt>
                <c:pt idx="1392">
                  <c:v>-7.9052935385728121E-3</c:v>
                </c:pt>
                <c:pt idx="1393">
                  <c:v>-7.9952489143838811E-3</c:v>
                </c:pt>
                <c:pt idx="1394">
                  <c:v>-8.1382925462133923E-3</c:v>
                </c:pt>
                <c:pt idx="1395">
                  <c:v>-8.0777501086797508E-3</c:v>
                </c:pt>
                <c:pt idx="1396">
                  <c:v>-8.0317588316261533E-3</c:v>
                </c:pt>
                <c:pt idx="1397">
                  <c:v>-7.9944416797907945E-3</c:v>
                </c:pt>
                <c:pt idx="1398">
                  <c:v>-7.9984467449383118E-3</c:v>
                </c:pt>
                <c:pt idx="1399">
                  <c:v>-7.9964117450958445E-3</c:v>
                </c:pt>
                <c:pt idx="1400">
                  <c:v>-7.9977110872483798E-3</c:v>
                </c:pt>
                <c:pt idx="1401">
                  <c:v>-8.0033594123617088E-3</c:v>
                </c:pt>
                <c:pt idx="1402">
                  <c:v>-8.0401339182938261E-3</c:v>
                </c:pt>
                <c:pt idx="1403">
                  <c:v>-8.0751620418472378E-3</c:v>
                </c:pt>
                <c:pt idx="1404">
                  <c:v>-8.1296403323064537E-3</c:v>
                </c:pt>
                <c:pt idx="1405">
                  <c:v>-8.1584648737027862E-3</c:v>
                </c:pt>
                <c:pt idx="1406">
                  <c:v>-8.0900126301764637E-3</c:v>
                </c:pt>
                <c:pt idx="1407">
                  <c:v>-8.1124553287112728E-3</c:v>
                </c:pt>
                <c:pt idx="1408">
                  <c:v>-8.111027429588127E-3</c:v>
                </c:pt>
                <c:pt idx="1409">
                  <c:v>-8.2156824025328389E-3</c:v>
                </c:pt>
                <c:pt idx="1410">
                  <c:v>-8.2693057442038784E-3</c:v>
                </c:pt>
                <c:pt idx="1411">
                  <c:v>-8.2816570871210339E-3</c:v>
                </c:pt>
                <c:pt idx="1412">
                  <c:v>-8.2850015123181672E-3</c:v>
                </c:pt>
                <c:pt idx="1413">
                  <c:v>-8.3010222952756493E-3</c:v>
                </c:pt>
                <c:pt idx="1414">
                  <c:v>-8.3730733220791585E-3</c:v>
                </c:pt>
                <c:pt idx="1415">
                  <c:v>-8.3603769140311365E-3</c:v>
                </c:pt>
                <c:pt idx="1416">
                  <c:v>-8.3402066488956639E-3</c:v>
                </c:pt>
                <c:pt idx="1417">
                  <c:v>-8.3200962064813831E-3</c:v>
                </c:pt>
                <c:pt idx="1418">
                  <c:v>-8.240722331672572E-3</c:v>
                </c:pt>
                <c:pt idx="1419">
                  <c:v>-9.8307804894761583E-3</c:v>
                </c:pt>
                <c:pt idx="1420">
                  <c:v>-9.9293634871586989E-3</c:v>
                </c:pt>
                <c:pt idx="1421">
                  <c:v>-1.0041834332575297E-2</c:v>
                </c:pt>
                <c:pt idx="1422">
                  <c:v>-1.0100586117999796E-2</c:v>
                </c:pt>
                <c:pt idx="1423">
                  <c:v>-1.0066720146390942E-2</c:v>
                </c:pt>
                <c:pt idx="1424">
                  <c:v>-7.7615220861615179E-3</c:v>
                </c:pt>
                <c:pt idx="1425">
                  <c:v>-7.7576799234177476E-3</c:v>
                </c:pt>
                <c:pt idx="1426">
                  <c:v>-7.7719968547127526E-3</c:v>
                </c:pt>
                <c:pt idx="1427">
                  <c:v>-7.7778903105132514E-3</c:v>
                </c:pt>
                <c:pt idx="1428">
                  <c:v>-7.731072513083399E-3</c:v>
                </c:pt>
                <c:pt idx="1429">
                  <c:v>-7.4382232474196107E-3</c:v>
                </c:pt>
                <c:pt idx="1430">
                  <c:v>-7.3846663797725127E-3</c:v>
                </c:pt>
                <c:pt idx="1431">
                  <c:v>-7.3308999909522908E-3</c:v>
                </c:pt>
                <c:pt idx="1432">
                  <c:v>-7.2821661270754704E-3</c:v>
                </c:pt>
                <c:pt idx="1433">
                  <c:v>-7.2479248446092569E-3</c:v>
                </c:pt>
                <c:pt idx="1434">
                  <c:v>-7.1671263937374829E-3</c:v>
                </c:pt>
                <c:pt idx="1435">
                  <c:v>-7.1535954757008273E-3</c:v>
                </c:pt>
                <c:pt idx="1436">
                  <c:v>-7.1082104265016745E-3</c:v>
                </c:pt>
                <c:pt idx="1437">
                  <c:v>-7.0773709536638514E-3</c:v>
                </c:pt>
                <c:pt idx="1438">
                  <c:v>-7.0670868831512537E-3</c:v>
                </c:pt>
                <c:pt idx="1439">
                  <c:v>-6.988539549150608E-3</c:v>
                </c:pt>
                <c:pt idx="1440">
                  <c:v>-6.5737294352091174E-3</c:v>
                </c:pt>
                <c:pt idx="1441">
                  <c:v>-6.5184364623856548E-3</c:v>
                </c:pt>
                <c:pt idx="1442">
                  <c:v>-6.5102816256248728E-3</c:v>
                </c:pt>
                <c:pt idx="1443">
                  <c:v>-6.4673048647755855E-3</c:v>
                </c:pt>
                <c:pt idx="1444">
                  <c:v>-6.4269410318042392E-3</c:v>
                </c:pt>
                <c:pt idx="1445">
                  <c:v>-5.7505734150817521E-3</c:v>
                </c:pt>
                <c:pt idx="1446">
                  <c:v>-5.7004601131021588E-3</c:v>
                </c:pt>
                <c:pt idx="1447">
                  <c:v>-5.6126928763923622E-3</c:v>
                </c:pt>
                <c:pt idx="1448">
                  <c:v>-5.4941794459894269E-3</c:v>
                </c:pt>
                <c:pt idx="1449">
                  <c:v>-5.3631924404346039E-3</c:v>
                </c:pt>
                <c:pt idx="1450">
                  <c:v>-5.2205634441723613E-3</c:v>
                </c:pt>
                <c:pt idx="1451">
                  <c:v>-5.0655020371144855E-3</c:v>
                </c:pt>
                <c:pt idx="1452">
                  <c:v>-4.9198033704429952E-3</c:v>
                </c:pt>
                <c:pt idx="1453">
                  <c:v>-4.8203228004416688E-3</c:v>
                </c:pt>
                <c:pt idx="1454">
                  <c:v>-5.7998005522195122E-3</c:v>
                </c:pt>
                <c:pt idx="1455">
                  <c:v>-5.7353788185590809E-3</c:v>
                </c:pt>
                <c:pt idx="1456">
                  <c:v>-5.6709818380162947E-3</c:v>
                </c:pt>
                <c:pt idx="1457">
                  <c:v>-5.5984829574333332E-3</c:v>
                </c:pt>
                <c:pt idx="1458">
                  <c:v>-5.5582633525235346E-3</c:v>
                </c:pt>
                <c:pt idx="1459">
                  <c:v>-5.8593994064858167E-3</c:v>
                </c:pt>
                <c:pt idx="1460">
                  <c:v>-5.835975009748663E-3</c:v>
                </c:pt>
                <c:pt idx="1461">
                  <c:v>-5.8164360002450335E-3</c:v>
                </c:pt>
                <c:pt idx="1462">
                  <c:v>-5.4135538582102075E-3</c:v>
                </c:pt>
                <c:pt idx="1463">
                  <c:v>-5.1161839279673833E-3</c:v>
                </c:pt>
                <c:pt idx="1464">
                  <c:v>-5.153707729169307E-3</c:v>
                </c:pt>
                <c:pt idx="1465">
                  <c:v>-5.1904448827963731E-3</c:v>
                </c:pt>
                <c:pt idx="1466">
                  <c:v>-5.2279034398662865E-3</c:v>
                </c:pt>
                <c:pt idx="1467">
                  <c:v>-5.2848203376647919E-3</c:v>
                </c:pt>
                <c:pt idx="1468">
                  <c:v>-5.3456299914783501E-3</c:v>
                </c:pt>
                <c:pt idx="1469">
                  <c:v>-5.3921825223983526E-3</c:v>
                </c:pt>
                <c:pt idx="1470">
                  <c:v>-5.8248310155726742E-3</c:v>
                </c:pt>
                <c:pt idx="1471">
                  <c:v>-5.5160897413873578E-3</c:v>
                </c:pt>
                <c:pt idx="1472">
                  <c:v>-5.5651623425324263E-3</c:v>
                </c:pt>
                <c:pt idx="1473">
                  <c:v>-5.6243618350495777E-3</c:v>
                </c:pt>
                <c:pt idx="1474">
                  <c:v>-5.670943481068935E-3</c:v>
                </c:pt>
                <c:pt idx="1475">
                  <c:v>-6.4530623982199343E-3</c:v>
                </c:pt>
                <c:pt idx="1476">
                  <c:v>-6.5528990974085908E-3</c:v>
                </c:pt>
                <c:pt idx="1477">
                  <c:v>-6.6708467822073859E-3</c:v>
                </c:pt>
                <c:pt idx="1478">
                  <c:v>-5.8957199961508265E-3</c:v>
                </c:pt>
                <c:pt idx="1479">
                  <c:v>-5.9526380518258081E-3</c:v>
                </c:pt>
                <c:pt idx="1480">
                  <c:v>-5.9819330127182111E-3</c:v>
                </c:pt>
                <c:pt idx="1481">
                  <c:v>-5.9845619292721022E-3</c:v>
                </c:pt>
                <c:pt idx="1482">
                  <c:v>-5.9897707144408096E-3</c:v>
                </c:pt>
                <c:pt idx="1483">
                  <c:v>-5.8297328437248042E-3</c:v>
                </c:pt>
                <c:pt idx="1484">
                  <c:v>-6.0606153594565879E-3</c:v>
                </c:pt>
                <c:pt idx="1485">
                  <c:v>-6.0628752861462028E-3</c:v>
                </c:pt>
                <c:pt idx="1486">
                  <c:v>-6.0151038442636225E-3</c:v>
                </c:pt>
                <c:pt idx="1487">
                  <c:v>-5.831592898665949E-3</c:v>
                </c:pt>
                <c:pt idx="1488">
                  <c:v>-5.7713754998206012E-3</c:v>
                </c:pt>
                <c:pt idx="1489">
                  <c:v>-5.7655169735412494E-3</c:v>
                </c:pt>
                <c:pt idx="1490">
                  <c:v>-5.7140968315386714E-3</c:v>
                </c:pt>
                <c:pt idx="1491">
                  <c:v>-5.5398580145953908E-3</c:v>
                </c:pt>
                <c:pt idx="1492">
                  <c:v>-5.724749694553599E-3</c:v>
                </c:pt>
                <c:pt idx="1493">
                  <c:v>-5.897758796138193E-3</c:v>
                </c:pt>
                <c:pt idx="1494">
                  <c:v>-5.8761419306250923E-3</c:v>
                </c:pt>
                <c:pt idx="1495">
                  <c:v>-5.8299269942610667E-3</c:v>
                </c:pt>
                <c:pt idx="1496">
                  <c:v>-5.1654749942671423E-3</c:v>
                </c:pt>
                <c:pt idx="1497">
                  <c:v>-5.1503618248672891E-3</c:v>
                </c:pt>
                <c:pt idx="1498">
                  <c:v>-5.1205048335575638E-3</c:v>
                </c:pt>
                <c:pt idx="1499">
                  <c:v>-4.9379035795466724E-3</c:v>
                </c:pt>
                <c:pt idx="1500">
                  <c:v>-3.4828119964810823E-3</c:v>
                </c:pt>
                <c:pt idx="1501">
                  <c:v>-3.6375805372951056E-3</c:v>
                </c:pt>
                <c:pt idx="1502">
                  <c:v>-3.6783130313109268E-3</c:v>
                </c:pt>
                <c:pt idx="1503">
                  <c:v>-3.6559984069504201E-3</c:v>
                </c:pt>
                <c:pt idx="1504">
                  <c:v>-3.6603556065572737E-3</c:v>
                </c:pt>
                <c:pt idx="1505">
                  <c:v>-3.6351883420806426E-3</c:v>
                </c:pt>
                <c:pt idx="1506">
                  <c:v>-2.9921911866154383E-3</c:v>
                </c:pt>
                <c:pt idx="1507">
                  <c:v>-3.0231553398893315E-3</c:v>
                </c:pt>
                <c:pt idx="1508">
                  <c:v>-3.4320362158542696E-3</c:v>
                </c:pt>
                <c:pt idx="1509">
                  <c:v>-3.4597243009391078E-3</c:v>
                </c:pt>
                <c:pt idx="1510">
                  <c:v>-3.4970964484834933E-3</c:v>
                </c:pt>
                <c:pt idx="1511">
                  <c:v>-3.2171597225189082E-3</c:v>
                </c:pt>
                <c:pt idx="1512">
                  <c:v>-3.1966602411224055E-3</c:v>
                </c:pt>
                <c:pt idx="1513">
                  <c:v>-3.2528367784135353E-3</c:v>
                </c:pt>
                <c:pt idx="1514">
                  <c:v>-3.2872564695824603E-3</c:v>
                </c:pt>
                <c:pt idx="1515">
                  <c:v>-3.3007875050151039E-3</c:v>
                </c:pt>
                <c:pt idx="1516">
                  <c:v>-3.2829718581132376E-3</c:v>
                </c:pt>
                <c:pt idx="1517">
                  <c:v>-3.311131187363734E-3</c:v>
                </c:pt>
                <c:pt idx="1518">
                  <c:v>-3.3088802419688687E-3</c:v>
                </c:pt>
                <c:pt idx="1519">
                  <c:v>-3.2991099933235984E-3</c:v>
                </c:pt>
                <c:pt idx="1520">
                  <c:v>-3.2965074746571683E-3</c:v>
                </c:pt>
                <c:pt idx="1521">
                  <c:v>-3.3680969263499509E-3</c:v>
                </c:pt>
                <c:pt idx="1522">
                  <c:v>-3.3776462070793691E-3</c:v>
                </c:pt>
                <c:pt idx="1523">
                  <c:v>-3.3752638558075098E-3</c:v>
                </c:pt>
                <c:pt idx="1524">
                  <c:v>-3.3548238147675796E-3</c:v>
                </c:pt>
                <c:pt idx="1525">
                  <c:v>-3.3878111204781389E-3</c:v>
                </c:pt>
                <c:pt idx="1526">
                  <c:v>-3.7709728822123804E-3</c:v>
                </c:pt>
                <c:pt idx="1527">
                  <c:v>-1.8716732241599518E-3</c:v>
                </c:pt>
                <c:pt idx="1528">
                  <c:v>-1.8876411272537915E-3</c:v>
                </c:pt>
                <c:pt idx="1529">
                  <c:v>-1.9770567258417179E-3</c:v>
                </c:pt>
                <c:pt idx="1530">
                  <c:v>-3.0982564956178373E-3</c:v>
                </c:pt>
                <c:pt idx="1531">
                  <c:v>-3.1240853721344712E-3</c:v>
                </c:pt>
                <c:pt idx="1532">
                  <c:v>-3.0914959671128721E-3</c:v>
                </c:pt>
                <c:pt idx="1533">
                  <c:v>-3.0765666004019913E-3</c:v>
                </c:pt>
                <c:pt idx="1534">
                  <c:v>-2.8699514542113534E-3</c:v>
                </c:pt>
                <c:pt idx="1535">
                  <c:v>-2.9274816792870303E-3</c:v>
                </c:pt>
                <c:pt idx="1536">
                  <c:v>-3.6636727168950518E-3</c:v>
                </c:pt>
                <c:pt idx="1537">
                  <c:v>-3.7169102270693723E-3</c:v>
                </c:pt>
                <c:pt idx="1538">
                  <c:v>-3.7567315954352525E-3</c:v>
                </c:pt>
                <c:pt idx="1539">
                  <c:v>-3.7817142605487755E-3</c:v>
                </c:pt>
                <c:pt idx="1540">
                  <c:v>-3.8328360168276912E-3</c:v>
                </c:pt>
                <c:pt idx="1541">
                  <c:v>-4.2665065654258916E-3</c:v>
                </c:pt>
                <c:pt idx="1542">
                  <c:v>-4.3373896666652999E-3</c:v>
                </c:pt>
                <c:pt idx="1543">
                  <c:v>-4.3975687466103561E-3</c:v>
                </c:pt>
                <c:pt idx="1544">
                  <c:v>-4.3241232602943044E-3</c:v>
                </c:pt>
                <c:pt idx="1545">
                  <c:v>-4.3524941953288505E-3</c:v>
                </c:pt>
                <c:pt idx="1546">
                  <c:v>-4.4067727403909861E-3</c:v>
                </c:pt>
                <c:pt idx="1547">
                  <c:v>-4.4475384354229191E-3</c:v>
                </c:pt>
                <c:pt idx="1548">
                  <c:v>-4.5070897399702254E-3</c:v>
                </c:pt>
                <c:pt idx="1549">
                  <c:v>-4.5574386399257968E-3</c:v>
                </c:pt>
                <c:pt idx="1550">
                  <c:v>-4.4902114413452156E-3</c:v>
                </c:pt>
                <c:pt idx="1551">
                  <c:v>-4.4719939615995973E-3</c:v>
                </c:pt>
                <c:pt idx="1552">
                  <c:v>-4.4362132971369345E-3</c:v>
                </c:pt>
                <c:pt idx="1553">
                  <c:v>-4.4341833058984276E-3</c:v>
                </c:pt>
                <c:pt idx="1554">
                  <c:v>-4.3444554828828107E-3</c:v>
                </c:pt>
                <c:pt idx="1555">
                  <c:v>-4.3054305602978366E-3</c:v>
                </c:pt>
                <c:pt idx="1556">
                  <c:v>-4.3214351682464743E-3</c:v>
                </c:pt>
                <c:pt idx="1557">
                  <c:v>-7.3702056750963203E-3</c:v>
                </c:pt>
                <c:pt idx="1558">
                  <c:v>-7.3703966606875433E-3</c:v>
                </c:pt>
                <c:pt idx="1559">
                  <c:v>-7.3248311465186535E-3</c:v>
                </c:pt>
                <c:pt idx="1560">
                  <c:v>-7.3197344575236384E-3</c:v>
                </c:pt>
                <c:pt idx="1561">
                  <c:v>-7.3033485783337623E-3</c:v>
                </c:pt>
                <c:pt idx="1562">
                  <c:v>-7.3194594956373978E-3</c:v>
                </c:pt>
                <c:pt idx="1563">
                  <c:v>-7.3664719746950602E-3</c:v>
                </c:pt>
                <c:pt idx="1564">
                  <c:v>-7.8796525763429794E-3</c:v>
                </c:pt>
                <c:pt idx="1565">
                  <c:v>-7.8232992949805215E-3</c:v>
                </c:pt>
                <c:pt idx="1566">
                  <c:v>-7.9717651484137141E-3</c:v>
                </c:pt>
                <c:pt idx="1567">
                  <c:v>-7.1928193971859062E-3</c:v>
                </c:pt>
                <c:pt idx="1568">
                  <c:v>-7.1463440606780466E-3</c:v>
                </c:pt>
                <c:pt idx="1569">
                  <c:v>-7.1680412798147113E-3</c:v>
                </c:pt>
                <c:pt idx="1570">
                  <c:v>-7.1703345390604226E-3</c:v>
                </c:pt>
                <c:pt idx="1571">
                  <c:v>-7.1527540186607404E-3</c:v>
                </c:pt>
                <c:pt idx="1572">
                  <c:v>-7.1341833225127705E-3</c:v>
                </c:pt>
                <c:pt idx="1573">
                  <c:v>-7.1575397153584627E-3</c:v>
                </c:pt>
                <c:pt idx="1574">
                  <c:v>-7.5400273093368326E-3</c:v>
                </c:pt>
                <c:pt idx="1575">
                  <c:v>-7.7037333555646306E-3</c:v>
                </c:pt>
                <c:pt idx="1576">
                  <c:v>-3.7677142245528608E-3</c:v>
                </c:pt>
                <c:pt idx="1577">
                  <c:v>5.3008438086794302E-3</c:v>
                </c:pt>
                <c:pt idx="1578">
                  <c:v>1.0876870837206712E-2</c:v>
                </c:pt>
                <c:pt idx="1579">
                  <c:v>1.5477827483044134E-2</c:v>
                </c:pt>
                <c:pt idx="1580">
                  <c:v>1.9704876566203802E-2</c:v>
                </c:pt>
                <c:pt idx="1581">
                  <c:v>2.6814095452465395E-2</c:v>
                </c:pt>
                <c:pt idx="1582">
                  <c:v>3.4905342993983422E-2</c:v>
                </c:pt>
                <c:pt idx="1583">
                  <c:v>4.1210447085550737E-2</c:v>
                </c:pt>
                <c:pt idx="1584">
                  <c:v>4.9410257693427106E-2</c:v>
                </c:pt>
                <c:pt idx="1585">
                  <c:v>5.6931767094951763E-2</c:v>
                </c:pt>
                <c:pt idx="1586">
                  <c:v>6.50517090043016E-2</c:v>
                </c:pt>
                <c:pt idx="1587">
                  <c:v>7.2924154050178089E-2</c:v>
                </c:pt>
                <c:pt idx="1588">
                  <c:v>7.9412089419855267E-2</c:v>
                </c:pt>
                <c:pt idx="1589">
                  <c:v>8.489007778009762E-2</c:v>
                </c:pt>
                <c:pt idx="1590">
                  <c:v>9.1601108714273682E-2</c:v>
                </c:pt>
                <c:pt idx="1591">
                  <c:v>9.8532803265160285E-2</c:v>
                </c:pt>
                <c:pt idx="1592">
                  <c:v>0.10478212509687379</c:v>
                </c:pt>
                <c:pt idx="1593">
                  <c:v>0.11106523668815037</c:v>
                </c:pt>
                <c:pt idx="1594">
                  <c:v>0.11531834848522196</c:v>
                </c:pt>
                <c:pt idx="1595">
                  <c:v>0.11918854460779027</c:v>
                </c:pt>
                <c:pt idx="1596">
                  <c:v>0.12276096452618532</c:v>
                </c:pt>
                <c:pt idx="1597">
                  <c:v>0.12450096987066778</c:v>
                </c:pt>
                <c:pt idx="1598">
                  <c:v>0.12566911103891168</c:v>
                </c:pt>
                <c:pt idx="1599">
                  <c:v>0.12596268462436216</c:v>
                </c:pt>
                <c:pt idx="1600">
                  <c:v>0.12524392724006858</c:v>
                </c:pt>
                <c:pt idx="1601">
                  <c:v>0.12344479345754855</c:v>
                </c:pt>
                <c:pt idx="1602">
                  <c:v>0.12212012913379988</c:v>
                </c:pt>
                <c:pt idx="1603">
                  <c:v>0.11944164521664583</c:v>
                </c:pt>
                <c:pt idx="1604">
                  <c:v>0.11608506164662355</c:v>
                </c:pt>
                <c:pt idx="1605">
                  <c:v>0.11116465826057437</c:v>
                </c:pt>
                <c:pt idx="1606">
                  <c:v>0.10713450992206228</c:v>
                </c:pt>
                <c:pt idx="1607">
                  <c:v>0.10490370005839471</c:v>
                </c:pt>
                <c:pt idx="1608">
                  <c:v>0.10161702456655593</c:v>
                </c:pt>
                <c:pt idx="1609">
                  <c:v>9.6942531109808494E-2</c:v>
                </c:pt>
                <c:pt idx="1610">
                  <c:v>9.1662512643563579E-2</c:v>
                </c:pt>
                <c:pt idx="1611">
                  <c:v>8.7969591331726479E-2</c:v>
                </c:pt>
                <c:pt idx="1612">
                  <c:v>9.060034626658009E-2</c:v>
                </c:pt>
                <c:pt idx="1613">
                  <c:v>9.1744174880144511E-2</c:v>
                </c:pt>
                <c:pt idx="1614">
                  <c:v>9.3423180184699292E-2</c:v>
                </c:pt>
                <c:pt idx="1615">
                  <c:v>9.4423513037881976E-2</c:v>
                </c:pt>
                <c:pt idx="1616">
                  <c:v>0.10051515795487796</c:v>
                </c:pt>
                <c:pt idx="1617">
                  <c:v>0.10959475642650976</c:v>
                </c:pt>
                <c:pt idx="1618">
                  <c:v>0.11647225822075458</c:v>
                </c:pt>
                <c:pt idx="1619">
                  <c:v>0.12368903876904336</c:v>
                </c:pt>
                <c:pt idx="1620">
                  <c:v>0.12995057741547816</c:v>
                </c:pt>
                <c:pt idx="1621">
                  <c:v>0.14418190820791121</c:v>
                </c:pt>
                <c:pt idx="1622">
                  <c:v>0.16001366825969138</c:v>
                </c:pt>
                <c:pt idx="1623">
                  <c:v>0.1739902757520419</c:v>
                </c:pt>
                <c:pt idx="1624">
                  <c:v>0.18678601618378518</c:v>
                </c:pt>
                <c:pt idx="1625">
                  <c:v>0.19742241673869118</c:v>
                </c:pt>
                <c:pt idx="1626">
                  <c:v>0.20497525981057768</c:v>
                </c:pt>
                <c:pt idx="1627">
                  <c:v>0.21144264283967137</c:v>
                </c:pt>
                <c:pt idx="1628">
                  <c:v>0.22440573601202046</c:v>
                </c:pt>
                <c:pt idx="1629">
                  <c:v>0.23072698717198128</c:v>
                </c:pt>
                <c:pt idx="1630">
                  <c:v>0.23398207003199831</c:v>
                </c:pt>
                <c:pt idx="1631">
                  <c:v>0.23497503182952681</c:v>
                </c:pt>
                <c:pt idx="1632">
                  <c:v>0.23602186856089344</c:v>
                </c:pt>
                <c:pt idx="1633">
                  <c:v>0.23504213014965478</c:v>
                </c:pt>
                <c:pt idx="1634">
                  <c:v>0.23458534915299409</c:v>
                </c:pt>
                <c:pt idx="1635">
                  <c:v>0.23223242638113906</c:v>
                </c:pt>
                <c:pt idx="1636">
                  <c:v>0.22895124424306995</c:v>
                </c:pt>
                <c:pt idx="1637">
                  <c:v>0.22408049530635232</c:v>
                </c:pt>
                <c:pt idx="1638">
                  <c:v>0.2169289833303977</c:v>
                </c:pt>
                <c:pt idx="1639">
                  <c:v>0.20796140529727597</c:v>
                </c:pt>
                <c:pt idx="1640">
                  <c:v>0.19656961941891324</c:v>
                </c:pt>
                <c:pt idx="1641">
                  <c:v>0.18288804154421931</c:v>
                </c:pt>
                <c:pt idx="1642">
                  <c:v>0.17380767872073738</c:v>
                </c:pt>
                <c:pt idx="1643">
                  <c:v>0.16259893651518725</c:v>
                </c:pt>
                <c:pt idx="1644">
                  <c:v>0.14881297164488499</c:v>
                </c:pt>
                <c:pt idx="1645">
                  <c:v>0.13164359780185461</c:v>
                </c:pt>
                <c:pt idx="1646">
                  <c:v>0.11811660694738055</c:v>
                </c:pt>
                <c:pt idx="1647">
                  <c:v>0.10720072856170887</c:v>
                </c:pt>
                <c:pt idx="1648">
                  <c:v>9.367325048730292E-2</c:v>
                </c:pt>
                <c:pt idx="1649">
                  <c:v>7.7288190175241064E-2</c:v>
                </c:pt>
                <c:pt idx="1650">
                  <c:v>5.2580065371165746E-2</c:v>
                </c:pt>
                <c:pt idx="1651">
                  <c:v>4.0034460056116231E-2</c:v>
                </c:pt>
                <c:pt idx="1652">
                  <c:v>3.3644610261927367E-2</c:v>
                </c:pt>
                <c:pt idx="1653">
                  <c:v>3.076271344908256E-2</c:v>
                </c:pt>
                <c:pt idx="1654">
                  <c:v>2.7995689074075236E-2</c:v>
                </c:pt>
                <c:pt idx="1655">
                  <c:v>2.3370714171666841E-2</c:v>
                </c:pt>
                <c:pt idx="1656">
                  <c:v>1.9442464031174903E-2</c:v>
                </c:pt>
                <c:pt idx="1657">
                  <c:v>1.4905718448851761E-2</c:v>
                </c:pt>
                <c:pt idx="1658">
                  <c:v>1.4211138991065851E-2</c:v>
                </c:pt>
                <c:pt idx="1659">
                  <c:v>1.3625953955429428E-2</c:v>
                </c:pt>
                <c:pt idx="1660">
                  <c:v>1.2781566186796657E-2</c:v>
                </c:pt>
                <c:pt idx="1661">
                  <c:v>1.1701920302387288E-2</c:v>
                </c:pt>
                <c:pt idx="1662">
                  <c:v>1.0813498569389344E-2</c:v>
                </c:pt>
                <c:pt idx="1663">
                  <c:v>9.4584730457662244E-3</c:v>
                </c:pt>
                <c:pt idx="1664">
                  <c:v>9.5744461113306412E-3</c:v>
                </c:pt>
                <c:pt idx="1665">
                  <c:v>9.4222604883644461E-3</c:v>
                </c:pt>
                <c:pt idx="1666">
                  <c:v>9.7796119844766969E-3</c:v>
                </c:pt>
                <c:pt idx="1667">
                  <c:v>9.5982192547774074E-3</c:v>
                </c:pt>
                <c:pt idx="1668">
                  <c:v>9.6325997497973877E-3</c:v>
                </c:pt>
                <c:pt idx="1669">
                  <c:v>9.8106215921805965E-3</c:v>
                </c:pt>
                <c:pt idx="1670">
                  <c:v>9.7131019535038558E-3</c:v>
                </c:pt>
                <c:pt idx="1671">
                  <c:v>9.9282104316637167E-3</c:v>
                </c:pt>
                <c:pt idx="1672">
                  <c:v>1.0615194433605124E-2</c:v>
                </c:pt>
                <c:pt idx="1673">
                  <c:v>1.1200241311983798E-2</c:v>
                </c:pt>
                <c:pt idx="1674">
                  <c:v>1.1728249371350244E-2</c:v>
                </c:pt>
                <c:pt idx="1675">
                  <c:v>1.2458306595167711E-2</c:v>
                </c:pt>
                <c:pt idx="1676">
                  <c:v>1.2725345799872835E-2</c:v>
                </c:pt>
                <c:pt idx="1677">
                  <c:v>1.2930582387090687E-2</c:v>
                </c:pt>
                <c:pt idx="1678">
                  <c:v>1.3472457583108678E-2</c:v>
                </c:pt>
                <c:pt idx="1679">
                  <c:v>1.4087672867053898E-2</c:v>
                </c:pt>
                <c:pt idx="1680">
                  <c:v>1.420108868632792E-2</c:v>
                </c:pt>
                <c:pt idx="1681">
                  <c:v>1.295110889983527E-2</c:v>
                </c:pt>
                <c:pt idx="1682">
                  <c:v>1.4285423491460258E-2</c:v>
                </c:pt>
                <c:pt idx="1683">
                  <c:v>1.5983798779836675E-2</c:v>
                </c:pt>
                <c:pt idx="1684">
                  <c:v>1.7406851558913888E-2</c:v>
                </c:pt>
                <c:pt idx="1685">
                  <c:v>1.9187126971590106E-2</c:v>
                </c:pt>
                <c:pt idx="1686">
                  <c:v>2.0811379366633534E-2</c:v>
                </c:pt>
                <c:pt idx="1687">
                  <c:v>2.2894563686625971E-2</c:v>
                </c:pt>
                <c:pt idx="1688">
                  <c:v>2.4877560683783217E-2</c:v>
                </c:pt>
                <c:pt idx="1689">
                  <c:v>2.7756930700053993E-2</c:v>
                </c:pt>
                <c:pt idx="1690">
                  <c:v>3.0853724765626818E-2</c:v>
                </c:pt>
                <c:pt idx="1691">
                  <c:v>3.5099038444655624E-2</c:v>
                </c:pt>
                <c:pt idx="1692">
                  <c:v>4.5604453140840537E-2</c:v>
                </c:pt>
                <c:pt idx="1693">
                  <c:v>5.8703186046271977E-2</c:v>
                </c:pt>
                <c:pt idx="1694">
                  <c:v>6.7704619160678811E-2</c:v>
                </c:pt>
                <c:pt idx="1695">
                  <c:v>7.5088339572155188E-2</c:v>
                </c:pt>
                <c:pt idx="1696">
                  <c:v>8.3628878984324487E-2</c:v>
                </c:pt>
                <c:pt idx="1697">
                  <c:v>9.0527487004632368E-2</c:v>
                </c:pt>
                <c:pt idx="1698">
                  <c:v>9.5898334985406924E-2</c:v>
                </c:pt>
                <c:pt idx="1699">
                  <c:v>9.9366362573134984E-2</c:v>
                </c:pt>
                <c:pt idx="1700">
                  <c:v>0.10192746583652992</c:v>
                </c:pt>
                <c:pt idx="1701">
                  <c:v>0.10344361201503413</c:v>
                </c:pt>
                <c:pt idx="1702">
                  <c:v>0.10454414956665886</c:v>
                </c:pt>
                <c:pt idx="1703">
                  <c:v>0.1052307285975999</c:v>
                </c:pt>
                <c:pt idx="1704">
                  <c:v>0.10554975856874366</c:v>
                </c:pt>
                <c:pt idx="1705">
                  <c:v>0.10528893936832048</c:v>
                </c:pt>
                <c:pt idx="1706">
                  <c:v>0.10453980820173456</c:v>
                </c:pt>
                <c:pt idx="1707">
                  <c:v>0.10351897294665809</c:v>
                </c:pt>
                <c:pt idx="1708">
                  <c:v>0.10204999430009445</c:v>
                </c:pt>
                <c:pt idx="1709">
                  <c:v>0.10025031246741831</c:v>
                </c:pt>
                <c:pt idx="1710">
                  <c:v>9.799434469487063E-2</c:v>
                </c:pt>
                <c:pt idx="1711">
                  <c:v>9.4967260725605726E-2</c:v>
                </c:pt>
                <c:pt idx="1712">
                  <c:v>9.1871094705803472E-2</c:v>
                </c:pt>
                <c:pt idx="1713">
                  <c:v>8.8510204204207521E-2</c:v>
                </c:pt>
                <c:pt idx="1714">
                  <c:v>8.4694946524514036E-2</c:v>
                </c:pt>
                <c:pt idx="1715">
                  <c:v>8.0849064027744263E-2</c:v>
                </c:pt>
                <c:pt idx="1716">
                  <c:v>7.6749540269391445E-2</c:v>
                </c:pt>
                <c:pt idx="1717">
                  <c:v>7.2083685149327073E-2</c:v>
                </c:pt>
                <c:pt idx="1718">
                  <c:v>6.731475163506187E-2</c:v>
                </c:pt>
                <c:pt idx="1719">
                  <c:v>6.2690036049560582E-2</c:v>
                </c:pt>
                <c:pt idx="1720">
                  <c:v>5.7855372303083949E-2</c:v>
                </c:pt>
                <c:pt idx="1721">
                  <c:v>5.3650429942466105E-2</c:v>
                </c:pt>
                <c:pt idx="1722">
                  <c:v>4.9927181434753248E-2</c:v>
                </c:pt>
                <c:pt idx="1723">
                  <c:v>4.2310319427836598E-2</c:v>
                </c:pt>
                <c:pt idx="1724">
                  <c:v>3.2306441874334568E-2</c:v>
                </c:pt>
                <c:pt idx="1725">
                  <c:v>1.7811786486449259E-2</c:v>
                </c:pt>
                <c:pt idx="1726">
                  <c:v>1.2947954395851563E-2</c:v>
                </c:pt>
                <c:pt idx="1727">
                  <c:v>9.088452560234701E-3</c:v>
                </c:pt>
                <c:pt idx="1728">
                  <c:v>3.8369758740892396E-3</c:v>
                </c:pt>
                <c:pt idx="1729">
                  <c:v>-3.5595412092706558E-4</c:v>
                </c:pt>
                <c:pt idx="1730">
                  <c:v>-3.8836452739152427E-3</c:v>
                </c:pt>
                <c:pt idx="1731">
                  <c:v>-4.1486142548811909E-3</c:v>
                </c:pt>
                <c:pt idx="1732">
                  <c:v>-4.4842041618437505E-3</c:v>
                </c:pt>
                <c:pt idx="1733">
                  <c:v>-4.4363536430858507E-3</c:v>
                </c:pt>
                <c:pt idx="1734">
                  <c:v>-4.4652950228208782E-3</c:v>
                </c:pt>
                <c:pt idx="1735">
                  <c:v>-4.5550163029441319E-3</c:v>
                </c:pt>
                <c:pt idx="1736">
                  <c:v>-4.6201056789348582E-3</c:v>
                </c:pt>
                <c:pt idx="1737">
                  <c:v>-4.5477713385580609E-3</c:v>
                </c:pt>
                <c:pt idx="1738">
                  <c:v>-4.7294548089878551E-3</c:v>
                </c:pt>
                <c:pt idx="1739">
                  <c:v>-4.6968681835108748E-3</c:v>
                </c:pt>
                <c:pt idx="1740">
                  <c:v>-4.7423730207582131E-3</c:v>
                </c:pt>
                <c:pt idx="1741">
                  <c:v>-4.9661105810333353E-3</c:v>
                </c:pt>
                <c:pt idx="1742">
                  <c:v>-5.0037608766832602E-3</c:v>
                </c:pt>
                <c:pt idx="1743">
                  <c:v>-4.9840759452047237E-3</c:v>
                </c:pt>
                <c:pt idx="1744">
                  <c:v>-5.2157441277974372E-3</c:v>
                </c:pt>
                <c:pt idx="1745">
                  <c:v>-5.1765161488851368E-3</c:v>
                </c:pt>
                <c:pt idx="1746">
                  <c:v>-5.3010049899272788E-3</c:v>
                </c:pt>
                <c:pt idx="1747">
                  <c:v>-5.4648637691688401E-3</c:v>
                </c:pt>
                <c:pt idx="1748">
                  <c:v>-5.6241963076586301E-3</c:v>
                </c:pt>
                <c:pt idx="1749">
                  <c:v>-5.8254498651653646E-3</c:v>
                </c:pt>
                <c:pt idx="1750">
                  <c:v>-6.2641499041921726E-3</c:v>
                </c:pt>
                <c:pt idx="1751">
                  <c:v>-6.5938848514861086E-3</c:v>
                </c:pt>
                <c:pt idx="1752">
                  <c:v>-6.5501548102603951E-3</c:v>
                </c:pt>
                <c:pt idx="1753">
                  <c:v>-6.823080593959991E-3</c:v>
                </c:pt>
                <c:pt idx="1754">
                  <c:v>-6.6745016852754495E-3</c:v>
                </c:pt>
                <c:pt idx="1755">
                  <c:v>-6.6829689980704302E-3</c:v>
                </c:pt>
                <c:pt idx="1756">
                  <c:v>-6.7180558883097206E-3</c:v>
                </c:pt>
                <c:pt idx="1757">
                  <c:v>-6.7743081426010722E-3</c:v>
                </c:pt>
                <c:pt idx="1758">
                  <c:v>-6.7323788097190121E-3</c:v>
                </c:pt>
                <c:pt idx="1759">
                  <c:v>-6.3925681645234031E-3</c:v>
                </c:pt>
                <c:pt idx="1760">
                  <c:v>-6.1777251644394683E-3</c:v>
                </c:pt>
                <c:pt idx="1761">
                  <c:v>-4.8595466640651971E-3</c:v>
                </c:pt>
                <c:pt idx="1762">
                  <c:v>-3.8289160552381005E-3</c:v>
                </c:pt>
                <c:pt idx="1763">
                  <c:v>-2.0136444782717037E-3</c:v>
                </c:pt>
                <c:pt idx="1764">
                  <c:v>-5.1850808892383096E-4</c:v>
                </c:pt>
                <c:pt idx="1765">
                  <c:v>9.899894010005697E-4</c:v>
                </c:pt>
                <c:pt idx="1766">
                  <c:v>2.5399275790258195E-3</c:v>
                </c:pt>
                <c:pt idx="1767">
                  <c:v>4.0444805785321263E-3</c:v>
                </c:pt>
                <c:pt idx="1768">
                  <c:v>5.5545405930890104E-3</c:v>
                </c:pt>
                <c:pt idx="1769">
                  <c:v>7.2954017192775698E-3</c:v>
                </c:pt>
                <c:pt idx="1770">
                  <c:v>9.1287845166558631E-3</c:v>
                </c:pt>
                <c:pt idx="1771">
                  <c:v>1.0626795680999572E-2</c:v>
                </c:pt>
                <c:pt idx="1772">
                  <c:v>1.179216511137122E-2</c:v>
                </c:pt>
                <c:pt idx="1773">
                  <c:v>1.303172287968452E-2</c:v>
                </c:pt>
                <c:pt idx="1774">
                  <c:v>1.4359039659645882E-2</c:v>
                </c:pt>
                <c:pt idx="1775">
                  <c:v>1.5523189187252906E-2</c:v>
                </c:pt>
                <c:pt idx="1776">
                  <c:v>1.647268811099184E-2</c:v>
                </c:pt>
                <c:pt idx="1777">
                  <c:v>1.7604455386896617E-2</c:v>
                </c:pt>
                <c:pt idx="1778">
                  <c:v>1.844068581707943E-2</c:v>
                </c:pt>
                <c:pt idx="1779">
                  <c:v>1.928165928156738E-2</c:v>
                </c:pt>
                <c:pt idx="1780">
                  <c:v>2.0232189879328566E-2</c:v>
                </c:pt>
                <c:pt idx="1781">
                  <c:v>2.0986039854541221E-2</c:v>
                </c:pt>
                <c:pt idx="1782">
                  <c:v>2.1651280295720478E-2</c:v>
                </c:pt>
                <c:pt idx="1783">
                  <c:v>2.2782505293601936E-2</c:v>
                </c:pt>
                <c:pt idx="1784">
                  <c:v>2.427958070746216E-2</c:v>
                </c:pt>
                <c:pt idx="1785">
                  <c:v>2.5454697565588054E-2</c:v>
                </c:pt>
                <c:pt idx="1786">
                  <c:v>2.620796598658931E-2</c:v>
                </c:pt>
                <c:pt idx="1787">
                  <c:v>2.9699004001920173E-2</c:v>
                </c:pt>
                <c:pt idx="1788">
                  <c:v>3.4025767861351718E-2</c:v>
                </c:pt>
                <c:pt idx="1789">
                  <c:v>3.9327948053360637E-2</c:v>
                </c:pt>
                <c:pt idx="1790">
                  <c:v>4.5586759054081237E-2</c:v>
                </c:pt>
                <c:pt idx="1791">
                  <c:v>5.2711905593130923E-2</c:v>
                </c:pt>
                <c:pt idx="1792">
                  <c:v>6.0541088259672762E-2</c:v>
                </c:pt>
                <c:pt idx="1793">
                  <c:v>6.8389786731170521E-2</c:v>
                </c:pt>
                <c:pt idx="1794">
                  <c:v>7.5091359967376328E-2</c:v>
                </c:pt>
                <c:pt idx="1795">
                  <c:v>8.3000379849210604E-2</c:v>
                </c:pt>
                <c:pt idx="1796">
                  <c:v>9.0313020750967879E-2</c:v>
                </c:pt>
                <c:pt idx="1797">
                  <c:v>9.9581457802807277E-2</c:v>
                </c:pt>
                <c:pt idx="1798">
                  <c:v>0.10823104957408218</c:v>
                </c:pt>
                <c:pt idx="1799">
                  <c:v>0.1168295569904424</c:v>
                </c:pt>
                <c:pt idx="1800">
                  <c:v>0.1242375195582435</c:v>
                </c:pt>
                <c:pt idx="1801">
                  <c:v>0.12997885150774213</c:v>
                </c:pt>
                <c:pt idx="1802">
                  <c:v>0.13414171279690529</c:v>
                </c:pt>
                <c:pt idx="1803">
                  <c:v>0.13758184715367774</c:v>
                </c:pt>
                <c:pt idx="1804">
                  <c:v>0.1399602220582794</c:v>
                </c:pt>
                <c:pt idx="1805">
                  <c:v>0.14110553740286821</c:v>
                </c:pt>
                <c:pt idx="1806">
                  <c:v>0.14282524728217344</c:v>
                </c:pt>
                <c:pt idx="1807">
                  <c:v>0.14577482200675079</c:v>
                </c:pt>
                <c:pt idx="1808">
                  <c:v>0.14758586401891816</c:v>
                </c:pt>
                <c:pt idx="1809">
                  <c:v>0.1493009574469224</c:v>
                </c:pt>
                <c:pt idx="1810">
                  <c:v>0.1493648155710976</c:v>
                </c:pt>
                <c:pt idx="1811">
                  <c:v>0.14828346940197903</c:v>
                </c:pt>
                <c:pt idx="1812">
                  <c:v>0.14567577988542671</c:v>
                </c:pt>
                <c:pt idx="1813">
                  <c:v>0.14173825758005748</c:v>
                </c:pt>
                <c:pt idx="1814">
                  <c:v>0.13685307257947774</c:v>
                </c:pt>
                <c:pt idx="1815">
                  <c:v>0.1303267842060428</c:v>
                </c:pt>
                <c:pt idx="1816">
                  <c:v>0.1218468254077277</c:v>
                </c:pt>
                <c:pt idx="1817">
                  <c:v>0.11490058007533266</c:v>
                </c:pt>
                <c:pt idx="1818">
                  <c:v>0.10705425219111174</c:v>
                </c:pt>
                <c:pt idx="1819">
                  <c:v>9.9417234455594042E-2</c:v>
                </c:pt>
                <c:pt idx="1820">
                  <c:v>9.1944854344657032E-2</c:v>
                </c:pt>
                <c:pt idx="1821">
                  <c:v>8.3529711295189671E-2</c:v>
                </c:pt>
                <c:pt idx="1822">
                  <c:v>7.607208214418934E-2</c:v>
                </c:pt>
                <c:pt idx="1823">
                  <c:v>6.7699731071335117E-2</c:v>
                </c:pt>
                <c:pt idx="1824">
                  <c:v>5.9136778003727727E-2</c:v>
                </c:pt>
                <c:pt idx="1825">
                  <c:v>5.0332351338928716E-2</c:v>
                </c:pt>
                <c:pt idx="1826">
                  <c:v>4.1001913247133627E-2</c:v>
                </c:pt>
                <c:pt idx="1827">
                  <c:v>3.5031186926815047E-2</c:v>
                </c:pt>
                <c:pt idx="1828">
                  <c:v>2.9738053036076288E-2</c:v>
                </c:pt>
                <c:pt idx="1829">
                  <c:v>2.7129922746808879E-2</c:v>
                </c:pt>
                <c:pt idx="1830">
                  <c:v>2.521181762608915E-2</c:v>
                </c:pt>
                <c:pt idx="1831">
                  <c:v>2.2853045348206709E-2</c:v>
                </c:pt>
                <c:pt idx="1832">
                  <c:v>1.9975054644514566E-2</c:v>
                </c:pt>
                <c:pt idx="1833">
                  <c:v>1.6659627954140645E-2</c:v>
                </c:pt>
                <c:pt idx="1834">
                  <c:v>1.05002608795028E-2</c:v>
                </c:pt>
                <c:pt idx="1835">
                  <c:v>4.1738737589638048E-3</c:v>
                </c:pt>
                <c:pt idx="1836">
                  <c:v>-6.4730743827573663E-4</c:v>
                </c:pt>
                <c:pt idx="1837">
                  <c:v>-2.9360495120142761E-3</c:v>
                </c:pt>
                <c:pt idx="1838">
                  <c:v>-4.8673263296053143E-3</c:v>
                </c:pt>
                <c:pt idx="1839">
                  <c:v>-5.1931411364529688E-3</c:v>
                </c:pt>
                <c:pt idx="1840">
                  <c:v>-5.5157580006162232E-3</c:v>
                </c:pt>
                <c:pt idx="1841">
                  <c:v>-5.8855848256539403E-3</c:v>
                </c:pt>
                <c:pt idx="1842">
                  <c:v>-6.19618990409167E-3</c:v>
                </c:pt>
                <c:pt idx="1843">
                  <c:v>-6.6287596097089349E-3</c:v>
                </c:pt>
                <c:pt idx="1844">
                  <c:v>-7.0727700782790802E-3</c:v>
                </c:pt>
                <c:pt idx="1845">
                  <c:v>-7.1782941880141815E-3</c:v>
                </c:pt>
                <c:pt idx="1846">
                  <c:v>-7.357148181878161E-3</c:v>
                </c:pt>
                <c:pt idx="1847">
                  <c:v>-7.5497706610807716E-3</c:v>
                </c:pt>
                <c:pt idx="1848">
                  <c:v>-7.9264431842298762E-3</c:v>
                </c:pt>
                <c:pt idx="1849">
                  <c:v>-8.3090883014985857E-3</c:v>
                </c:pt>
                <c:pt idx="1850">
                  <c:v>-8.6339681792763842E-3</c:v>
                </c:pt>
                <c:pt idx="1851">
                  <c:v>-8.7783214394412008E-3</c:v>
                </c:pt>
                <c:pt idx="1852">
                  <c:v>-9.0321447884959064E-3</c:v>
                </c:pt>
                <c:pt idx="1853">
                  <c:v>-9.3775272536861555E-3</c:v>
                </c:pt>
                <c:pt idx="1854">
                  <c:v>-9.7016590564355625E-3</c:v>
                </c:pt>
                <c:pt idx="1855">
                  <c:v>-9.8568183150906825E-3</c:v>
                </c:pt>
                <c:pt idx="1856">
                  <c:v>-1.0280736639432568E-2</c:v>
                </c:pt>
                <c:pt idx="1857">
                  <c:v>-1.0460923056265E-2</c:v>
                </c:pt>
                <c:pt idx="1858">
                  <c:v>-1.0590698115247861E-2</c:v>
                </c:pt>
                <c:pt idx="1859">
                  <c:v>-1.0782570485957954E-2</c:v>
                </c:pt>
                <c:pt idx="1860">
                  <c:v>-1.0985767260451147E-2</c:v>
                </c:pt>
                <c:pt idx="1861">
                  <c:v>-1.1159406257542505E-2</c:v>
                </c:pt>
                <c:pt idx="1862">
                  <c:v>-1.1338283128560929E-2</c:v>
                </c:pt>
                <c:pt idx="1863">
                  <c:v>-1.1472613857889353E-2</c:v>
                </c:pt>
                <c:pt idx="1864">
                  <c:v>-1.1485358779449095E-2</c:v>
                </c:pt>
                <c:pt idx="1865">
                  <c:v>-1.1719977857161145E-2</c:v>
                </c:pt>
                <c:pt idx="1866">
                  <c:v>-1.1862470851627466E-2</c:v>
                </c:pt>
                <c:pt idx="1867">
                  <c:v>-1.2001449441183669E-2</c:v>
                </c:pt>
                <c:pt idx="1868">
                  <c:v>-1.2089407298782082E-2</c:v>
                </c:pt>
                <c:pt idx="1869">
                  <c:v>-1.2194858529964193E-2</c:v>
                </c:pt>
                <c:pt idx="1870">
                  <c:v>-1.22131520773713E-2</c:v>
                </c:pt>
                <c:pt idx="1871">
                  <c:v>-1.2218616438995951E-2</c:v>
                </c:pt>
                <c:pt idx="1872">
                  <c:v>-1.2181087213861399E-2</c:v>
                </c:pt>
                <c:pt idx="1873">
                  <c:v>-1.2223290215269444E-2</c:v>
                </c:pt>
                <c:pt idx="1874">
                  <c:v>-1.2257349698647875E-2</c:v>
                </c:pt>
                <c:pt idx="1875">
                  <c:v>-1.2503942935060573E-2</c:v>
                </c:pt>
                <c:pt idx="1876">
                  <c:v>-1.2624033673643939E-2</c:v>
                </c:pt>
                <c:pt idx="1877">
                  <c:v>-1.2713002290305602E-2</c:v>
                </c:pt>
                <c:pt idx="1878">
                  <c:v>-1.2777730727641809E-2</c:v>
                </c:pt>
                <c:pt idx="1879">
                  <c:v>-1.2815033018764903E-2</c:v>
                </c:pt>
                <c:pt idx="1880">
                  <c:v>-1.2896425220250772E-2</c:v>
                </c:pt>
                <c:pt idx="1881">
                  <c:v>-1.3300350224588503E-2</c:v>
                </c:pt>
                <c:pt idx="1882">
                  <c:v>-1.3790559016601523E-2</c:v>
                </c:pt>
                <c:pt idx="1883">
                  <c:v>-1.4217695559978689E-2</c:v>
                </c:pt>
                <c:pt idx="1884">
                  <c:v>-1.4589000597743164E-2</c:v>
                </c:pt>
                <c:pt idx="1885">
                  <c:v>-1.4924516058653008E-2</c:v>
                </c:pt>
                <c:pt idx="1886">
                  <c:v>-1.5329420560367301E-2</c:v>
                </c:pt>
                <c:pt idx="1887">
                  <c:v>-1.5831997591147517E-2</c:v>
                </c:pt>
                <c:pt idx="1888">
                  <c:v>-1.6287123546263493E-2</c:v>
                </c:pt>
                <c:pt idx="1889">
                  <c:v>-1.6677789636328485E-2</c:v>
                </c:pt>
                <c:pt idx="1890">
                  <c:v>-1.7213668945603826E-2</c:v>
                </c:pt>
                <c:pt idx="1891">
                  <c:v>-1.7837540300436831E-2</c:v>
                </c:pt>
                <c:pt idx="1892">
                  <c:v>-1.8275947842672474E-2</c:v>
                </c:pt>
                <c:pt idx="1893">
                  <c:v>-1.8876592987003012E-2</c:v>
                </c:pt>
                <c:pt idx="1894">
                  <c:v>-1.9709114293663753E-2</c:v>
                </c:pt>
                <c:pt idx="1895">
                  <c:v>-2.0308973344330659E-2</c:v>
                </c:pt>
                <c:pt idx="1896">
                  <c:v>-2.0977004117477698E-2</c:v>
                </c:pt>
                <c:pt idx="1897">
                  <c:v>-2.180981744553085E-2</c:v>
                </c:pt>
                <c:pt idx="1898">
                  <c:v>-2.334798091669496E-2</c:v>
                </c:pt>
                <c:pt idx="1899">
                  <c:v>-2.5134478027155387E-2</c:v>
                </c:pt>
                <c:pt idx="1900">
                  <c:v>-2.6589667658467812E-2</c:v>
                </c:pt>
                <c:pt idx="1901">
                  <c:v>-2.7833207526503732E-2</c:v>
                </c:pt>
                <c:pt idx="1902">
                  <c:v>-2.8880166558417492E-2</c:v>
                </c:pt>
                <c:pt idx="1903">
                  <c:v>-2.9802083114061864E-2</c:v>
                </c:pt>
                <c:pt idx="1904">
                  <c:v>-3.0544119562132648E-2</c:v>
                </c:pt>
                <c:pt idx="1905">
                  <c:v>-3.05378242853954E-2</c:v>
                </c:pt>
                <c:pt idx="1906">
                  <c:v>-3.0736133627538124E-2</c:v>
                </c:pt>
                <c:pt idx="1907">
                  <c:v>-3.0781842239694081E-2</c:v>
                </c:pt>
                <c:pt idx="1908">
                  <c:v>-3.0799491003974562E-2</c:v>
                </c:pt>
                <c:pt idx="1909">
                  <c:v>-3.0597743003583831E-2</c:v>
                </c:pt>
                <c:pt idx="1910">
                  <c:v>-3.04480730145405E-2</c:v>
                </c:pt>
                <c:pt idx="1911">
                  <c:v>-3.033865998393958E-2</c:v>
                </c:pt>
                <c:pt idx="1912">
                  <c:v>-3.0041358532590254E-2</c:v>
                </c:pt>
                <c:pt idx="1913">
                  <c:v>-2.9745452739999192E-2</c:v>
                </c:pt>
                <c:pt idx="1914">
                  <c:v>-2.9582910764729811E-2</c:v>
                </c:pt>
                <c:pt idx="1915">
                  <c:v>-2.9319992443930819E-2</c:v>
                </c:pt>
                <c:pt idx="1916">
                  <c:v>-2.8844849300902836E-2</c:v>
                </c:pt>
                <c:pt idx="1917">
                  <c:v>-2.8446025167523162E-2</c:v>
                </c:pt>
                <c:pt idx="1918">
                  <c:v>-2.7953932629650645E-2</c:v>
                </c:pt>
                <c:pt idx="1919">
                  <c:v>-2.7342698915431302E-2</c:v>
                </c:pt>
                <c:pt idx="1920">
                  <c:v>-2.6677905829371192E-2</c:v>
                </c:pt>
                <c:pt idx="1921">
                  <c:v>-2.6092171333311046E-2</c:v>
                </c:pt>
                <c:pt idx="1922">
                  <c:v>-2.5300085977386894E-2</c:v>
                </c:pt>
                <c:pt idx="1923">
                  <c:v>-2.4380753173852496E-2</c:v>
                </c:pt>
                <c:pt idx="1924">
                  <c:v>-2.3636525995611911E-2</c:v>
                </c:pt>
                <c:pt idx="1925">
                  <c:v>-2.2856550620160888E-2</c:v>
                </c:pt>
                <c:pt idx="1926">
                  <c:v>-2.2085975374242641E-2</c:v>
                </c:pt>
                <c:pt idx="1927">
                  <c:v>-2.1262997468857861E-2</c:v>
                </c:pt>
                <c:pt idx="1928">
                  <c:v>-2.1130522220661974E-2</c:v>
                </c:pt>
                <c:pt idx="1929">
                  <c:v>-2.1361862441109818E-2</c:v>
                </c:pt>
                <c:pt idx="1930">
                  <c:v>-2.1562012077388955E-2</c:v>
                </c:pt>
                <c:pt idx="1931">
                  <c:v>-2.1670952941733268E-2</c:v>
                </c:pt>
                <c:pt idx="1932">
                  <c:v>-2.1834424618737934E-2</c:v>
                </c:pt>
                <c:pt idx="1933">
                  <c:v>-2.1869366023842506E-2</c:v>
                </c:pt>
                <c:pt idx="1934">
                  <c:v>-2.2007726231525495E-2</c:v>
                </c:pt>
                <c:pt idx="1935">
                  <c:v>-2.1786300362687402E-2</c:v>
                </c:pt>
                <c:pt idx="1936">
                  <c:v>-2.1720396224450024E-2</c:v>
                </c:pt>
                <c:pt idx="1937">
                  <c:v>-2.1708683378210872E-2</c:v>
                </c:pt>
                <c:pt idx="1938">
                  <c:v>-2.1508820856511374E-2</c:v>
                </c:pt>
                <c:pt idx="1939">
                  <c:v>-2.1308271871366975E-2</c:v>
                </c:pt>
                <c:pt idx="1940">
                  <c:v>-2.1153541042895154E-2</c:v>
                </c:pt>
                <c:pt idx="1941">
                  <c:v>-2.0816165157876369E-2</c:v>
                </c:pt>
                <c:pt idx="1942">
                  <c:v>-2.0464533589948229E-2</c:v>
                </c:pt>
                <c:pt idx="1943">
                  <c:v>-2.0241237225506713E-2</c:v>
                </c:pt>
                <c:pt idx="1944">
                  <c:v>-1.9916526852527455E-2</c:v>
                </c:pt>
                <c:pt idx="1945">
                  <c:v>-1.9670056350798153E-2</c:v>
                </c:pt>
                <c:pt idx="1946">
                  <c:v>-1.9455329441191903E-2</c:v>
                </c:pt>
                <c:pt idx="1947">
                  <c:v>-1.913717890500416E-2</c:v>
                </c:pt>
                <c:pt idx="1948">
                  <c:v>-1.8872692906694181E-2</c:v>
                </c:pt>
                <c:pt idx="1949">
                  <c:v>-1.8532145731335145E-2</c:v>
                </c:pt>
                <c:pt idx="1950">
                  <c:v>-1.8054786129713566E-2</c:v>
                </c:pt>
                <c:pt idx="1951">
                  <c:v>-1.7464751261814081E-2</c:v>
                </c:pt>
                <c:pt idx="1952">
                  <c:v>-1.7026642903626921E-2</c:v>
                </c:pt>
                <c:pt idx="1953">
                  <c:v>-1.6399002628322785E-2</c:v>
                </c:pt>
                <c:pt idx="1954">
                  <c:v>-1.5885129078878651E-2</c:v>
                </c:pt>
                <c:pt idx="1955">
                  <c:v>-1.5342573178712618E-2</c:v>
                </c:pt>
                <c:pt idx="1956">
                  <c:v>-1.4846531501838353E-2</c:v>
                </c:pt>
                <c:pt idx="1957">
                  <c:v>-1.4328026673190435E-2</c:v>
                </c:pt>
                <c:pt idx="1958">
                  <c:v>-1.3833907948917512E-2</c:v>
                </c:pt>
                <c:pt idx="1959">
                  <c:v>-1.3189717572020841E-2</c:v>
                </c:pt>
                <c:pt idx="1960">
                  <c:v>-1.2572396718393483E-2</c:v>
                </c:pt>
                <c:pt idx="1961">
                  <c:v>-1.1950630588252745E-2</c:v>
                </c:pt>
                <c:pt idx="1962">
                  <c:v>-1.1430528020241769E-2</c:v>
                </c:pt>
                <c:pt idx="1963">
                  <c:v>-1.1046953471634103E-2</c:v>
                </c:pt>
                <c:pt idx="1964">
                  <c:v>-1.0442683886289342E-2</c:v>
                </c:pt>
                <c:pt idx="1965">
                  <c:v>-1.0061315739668819E-2</c:v>
                </c:pt>
                <c:pt idx="1966">
                  <c:v>-9.7202228488095892E-3</c:v>
                </c:pt>
                <c:pt idx="1967">
                  <c:v>-9.2933247904563501E-3</c:v>
                </c:pt>
                <c:pt idx="1968">
                  <c:v>-8.9939339704210169E-3</c:v>
                </c:pt>
                <c:pt idx="1969">
                  <c:v>-8.9532188599950151E-3</c:v>
                </c:pt>
                <c:pt idx="1970">
                  <c:v>-8.8222720765625175E-3</c:v>
                </c:pt>
                <c:pt idx="1971">
                  <c:v>-8.885990961217595E-3</c:v>
                </c:pt>
                <c:pt idx="1972">
                  <c:v>-9.1930727405584861E-3</c:v>
                </c:pt>
                <c:pt idx="1973">
                  <c:v>-9.3591215498050814E-3</c:v>
                </c:pt>
                <c:pt idx="1974">
                  <c:v>-9.6092088799324543E-3</c:v>
                </c:pt>
                <c:pt idx="1975">
                  <c:v>-9.8937437108337634E-3</c:v>
                </c:pt>
                <c:pt idx="1976">
                  <c:v>-1.0147766322471684E-2</c:v>
                </c:pt>
                <c:pt idx="1977">
                  <c:v>-1.0283916171536249E-2</c:v>
                </c:pt>
                <c:pt idx="1978">
                  <c:v>-1.052240989080757E-2</c:v>
                </c:pt>
                <c:pt idx="1979">
                  <c:v>-1.085406771045202E-2</c:v>
                </c:pt>
                <c:pt idx="1980">
                  <c:v>-1.1535618935762222E-2</c:v>
                </c:pt>
                <c:pt idx="1981">
                  <c:v>-1.1684395401821542E-2</c:v>
                </c:pt>
                <c:pt idx="1982">
                  <c:v>-1.1778877150042506E-2</c:v>
                </c:pt>
                <c:pt idx="1983">
                  <c:v>-1.1810658707483617E-2</c:v>
                </c:pt>
                <c:pt idx="1984">
                  <c:v>-1.1727978970164765E-2</c:v>
                </c:pt>
                <c:pt idx="1985">
                  <c:v>-1.1790655336098368E-2</c:v>
                </c:pt>
                <c:pt idx="1986">
                  <c:v>-1.1168648794785132E-2</c:v>
                </c:pt>
                <c:pt idx="1987">
                  <c:v>-1.1085462364458669E-2</c:v>
                </c:pt>
                <c:pt idx="1988">
                  <c:v>-1.1073852886117119E-2</c:v>
                </c:pt>
                <c:pt idx="1989">
                  <c:v>-1.1162258623620018E-2</c:v>
                </c:pt>
                <c:pt idx="1990">
                  <c:v>-1.1142618728402009E-2</c:v>
                </c:pt>
                <c:pt idx="1991">
                  <c:v>-1.0784682247336629E-2</c:v>
                </c:pt>
                <c:pt idx="1992">
                  <c:v>-1.0796283349158994E-2</c:v>
                </c:pt>
                <c:pt idx="1993">
                  <c:v>-1.0761897068469133E-2</c:v>
                </c:pt>
                <c:pt idx="1994">
                  <c:v>-1.0767347447673424E-2</c:v>
                </c:pt>
                <c:pt idx="1995">
                  <c:v>-1.073477853373046E-2</c:v>
                </c:pt>
                <c:pt idx="1996">
                  <c:v>-1.0692651580677708E-2</c:v>
                </c:pt>
                <c:pt idx="1997">
                  <c:v>-1.0677095429709845E-2</c:v>
                </c:pt>
                <c:pt idx="1998">
                  <c:v>-1.0634119672350827E-2</c:v>
                </c:pt>
                <c:pt idx="1999">
                  <c:v>-1.0577835812699433E-2</c:v>
                </c:pt>
                <c:pt idx="2000">
                  <c:v>-1.0528281056960902E-2</c:v>
                </c:pt>
                <c:pt idx="2001">
                  <c:v>-1.043347139449231E-2</c:v>
                </c:pt>
                <c:pt idx="2002">
                  <c:v>-1.0332505998563869E-2</c:v>
                </c:pt>
                <c:pt idx="2003">
                  <c:v>-1.0332642956161934E-2</c:v>
                </c:pt>
                <c:pt idx="2004">
                  <c:v>-1.0214422043709552E-2</c:v>
                </c:pt>
                <c:pt idx="2005">
                  <c:v>-1.008574504486924E-2</c:v>
                </c:pt>
                <c:pt idx="2006">
                  <c:v>-9.9596423801851432E-3</c:v>
                </c:pt>
                <c:pt idx="2007">
                  <c:v>-9.958928202642589E-3</c:v>
                </c:pt>
                <c:pt idx="2008">
                  <c:v>-9.877241091767755E-3</c:v>
                </c:pt>
                <c:pt idx="2009">
                  <c:v>-9.7991154480468814E-3</c:v>
                </c:pt>
                <c:pt idx="2010">
                  <c:v>-9.8610734955395102E-3</c:v>
                </c:pt>
                <c:pt idx="2011">
                  <c:v>-9.9025907982165477E-3</c:v>
                </c:pt>
                <c:pt idx="2012">
                  <c:v>-9.8987783378812425E-3</c:v>
                </c:pt>
                <c:pt idx="2013">
                  <c:v>-1.0006570463485187E-2</c:v>
                </c:pt>
                <c:pt idx="2014">
                  <c:v>-1.0207919594158409E-2</c:v>
                </c:pt>
                <c:pt idx="2015">
                  <c:v>-1.0294464434189948E-2</c:v>
                </c:pt>
                <c:pt idx="2016">
                  <c:v>-1.0286659506754506E-2</c:v>
                </c:pt>
                <c:pt idx="2017">
                  <c:v>-1.0295543480028384E-2</c:v>
                </c:pt>
                <c:pt idx="2018">
                  <c:v>-1.0447292372986321E-2</c:v>
                </c:pt>
                <c:pt idx="2019">
                  <c:v>-1.0577989775164349E-2</c:v>
                </c:pt>
                <c:pt idx="2020">
                  <c:v>-1.0678690251667653E-2</c:v>
                </c:pt>
                <c:pt idx="2021">
                  <c:v>-1.0815489850823055E-2</c:v>
                </c:pt>
                <c:pt idx="2022">
                  <c:v>-1.0945496988050519E-2</c:v>
                </c:pt>
                <c:pt idx="2023">
                  <c:v>-1.0974630951936992E-2</c:v>
                </c:pt>
                <c:pt idx="2024">
                  <c:v>-1.1076245821555968E-2</c:v>
                </c:pt>
                <c:pt idx="2025">
                  <c:v>-1.123767915571494E-2</c:v>
                </c:pt>
                <c:pt idx="2026">
                  <c:v>-1.1173493765868087E-2</c:v>
                </c:pt>
                <c:pt idx="2027">
                  <c:v>-1.1102349789143439E-2</c:v>
                </c:pt>
                <c:pt idx="2028">
                  <c:v>-1.1160089942367448E-2</c:v>
                </c:pt>
                <c:pt idx="2029">
                  <c:v>-1.1161915738481099E-2</c:v>
                </c:pt>
                <c:pt idx="2030">
                  <c:v>-1.1126262816799003E-2</c:v>
                </c:pt>
                <c:pt idx="2031">
                  <c:v>-1.1196611066434889E-2</c:v>
                </c:pt>
                <c:pt idx="2032">
                  <c:v>-1.1175394427047999E-2</c:v>
                </c:pt>
                <c:pt idx="2033">
                  <c:v>-1.1130300267649161E-2</c:v>
                </c:pt>
                <c:pt idx="2034">
                  <c:v>-1.118179709464916E-2</c:v>
                </c:pt>
                <c:pt idx="2035">
                  <c:v>-1.1234573718772589E-2</c:v>
                </c:pt>
                <c:pt idx="2036">
                  <c:v>-1.126096149669541E-2</c:v>
                </c:pt>
                <c:pt idx="2037">
                  <c:v>-1.1302565247855891E-2</c:v>
                </c:pt>
                <c:pt idx="2038">
                  <c:v>-1.1285982010231854E-2</c:v>
                </c:pt>
                <c:pt idx="2039">
                  <c:v>-1.1266070170235693E-2</c:v>
                </c:pt>
                <c:pt idx="2040">
                  <c:v>-1.125934432515938E-2</c:v>
                </c:pt>
                <c:pt idx="2041">
                  <c:v>-1.1298996612100355E-2</c:v>
                </c:pt>
                <c:pt idx="2042">
                  <c:v>-1.1246647076598103E-2</c:v>
                </c:pt>
                <c:pt idx="2043">
                  <c:v>-1.1166525259634422E-2</c:v>
                </c:pt>
                <c:pt idx="2044">
                  <c:v>-1.114119287204356E-2</c:v>
                </c:pt>
                <c:pt idx="2045">
                  <c:v>-1.1048106094643947E-2</c:v>
                </c:pt>
                <c:pt idx="2046">
                  <c:v>-1.1096239414757691E-2</c:v>
                </c:pt>
                <c:pt idx="2047">
                  <c:v>-1.1264842976460021E-2</c:v>
                </c:pt>
                <c:pt idx="2048">
                  <c:v>-1.1219553715948004E-2</c:v>
                </c:pt>
                <c:pt idx="2049">
                  <c:v>-1.1166215948907526E-2</c:v>
                </c:pt>
                <c:pt idx="2050">
                  <c:v>-1.1135974975765279E-2</c:v>
                </c:pt>
                <c:pt idx="2051">
                  <c:v>-1.1092105506613955E-2</c:v>
                </c:pt>
                <c:pt idx="2052">
                  <c:v>-1.1094697235133951E-2</c:v>
                </c:pt>
                <c:pt idx="2053">
                  <c:v>-1.1017531880694993E-2</c:v>
                </c:pt>
                <c:pt idx="2054">
                  <c:v>-1.0962184153646255E-2</c:v>
                </c:pt>
                <c:pt idx="2055">
                  <c:v>-1.0868089480375515E-2</c:v>
                </c:pt>
                <c:pt idx="2056">
                  <c:v>-1.0820326389276776E-2</c:v>
                </c:pt>
                <c:pt idx="2057">
                  <c:v>-1.0851153314301185E-2</c:v>
                </c:pt>
                <c:pt idx="2058">
                  <c:v>-1.0795038711093913E-2</c:v>
                </c:pt>
                <c:pt idx="2059">
                  <c:v>-1.0771420719500326E-2</c:v>
                </c:pt>
                <c:pt idx="2060">
                  <c:v>-1.0740316030723875E-2</c:v>
                </c:pt>
                <c:pt idx="2061">
                  <c:v>-1.0698487528717703E-2</c:v>
                </c:pt>
                <c:pt idx="2062">
                  <c:v>-1.0602891058475599E-2</c:v>
                </c:pt>
                <c:pt idx="2063">
                  <c:v>-1.0495436447857784E-2</c:v>
                </c:pt>
                <c:pt idx="2064">
                  <c:v>-1.0546377152199379E-2</c:v>
                </c:pt>
                <c:pt idx="2065">
                  <c:v>-1.0540588354232531E-2</c:v>
                </c:pt>
                <c:pt idx="2066">
                  <c:v>-1.0422083253388474E-2</c:v>
                </c:pt>
                <c:pt idx="2067">
                  <c:v>-1.0356472014179321E-2</c:v>
                </c:pt>
                <c:pt idx="2068">
                  <c:v>-1.0218208900879313E-2</c:v>
                </c:pt>
                <c:pt idx="2069">
                  <c:v>-9.7121172162538093E-3</c:v>
                </c:pt>
                <c:pt idx="2070">
                  <c:v>-9.4756248680570049E-3</c:v>
                </c:pt>
                <c:pt idx="2071">
                  <c:v>-9.1778403585132326E-3</c:v>
                </c:pt>
                <c:pt idx="2072">
                  <c:v>-9.0123554701389934E-3</c:v>
                </c:pt>
                <c:pt idx="2073">
                  <c:v>-8.9821551422023249E-3</c:v>
                </c:pt>
                <c:pt idx="2074">
                  <c:v>-8.8270929400729985E-3</c:v>
                </c:pt>
                <c:pt idx="2075">
                  <c:v>-8.8189671454178102E-3</c:v>
                </c:pt>
                <c:pt idx="2076">
                  <c:v>-8.7509672242821121E-3</c:v>
                </c:pt>
                <c:pt idx="2077">
                  <c:v>-8.6646708562209615E-3</c:v>
                </c:pt>
                <c:pt idx="2078">
                  <c:v>-8.5024385122109501E-3</c:v>
                </c:pt>
                <c:pt idx="2079">
                  <c:v>-8.4249094115112465E-3</c:v>
                </c:pt>
                <c:pt idx="2080">
                  <c:v>-8.4584334261578013E-3</c:v>
                </c:pt>
                <c:pt idx="2081">
                  <c:v>-8.3097804815036643E-3</c:v>
                </c:pt>
                <c:pt idx="2082">
                  <c:v>-8.22816940568959E-3</c:v>
                </c:pt>
                <c:pt idx="2083">
                  <c:v>-8.2690575204948397E-3</c:v>
                </c:pt>
                <c:pt idx="2084">
                  <c:v>-8.2578046961068081E-3</c:v>
                </c:pt>
                <c:pt idx="2085">
                  <c:v>-8.2217601581342521E-3</c:v>
                </c:pt>
                <c:pt idx="2086">
                  <c:v>-8.1558494198553967E-3</c:v>
                </c:pt>
                <c:pt idx="2087">
                  <c:v>-8.1031731458167389E-3</c:v>
                </c:pt>
                <c:pt idx="2088">
                  <c:v>-8.109238254596635E-3</c:v>
                </c:pt>
                <c:pt idx="2089">
                  <c:v>-8.090033548582478E-3</c:v>
                </c:pt>
                <c:pt idx="2090">
                  <c:v>-8.1322829826466509E-3</c:v>
                </c:pt>
                <c:pt idx="2091">
                  <c:v>-8.0856936933322958E-3</c:v>
                </c:pt>
                <c:pt idx="2092">
                  <c:v>-8.1034678810116539E-3</c:v>
                </c:pt>
                <c:pt idx="2093">
                  <c:v>-8.1384940614297394E-3</c:v>
                </c:pt>
                <c:pt idx="2094">
                  <c:v>-8.1251443367429312E-3</c:v>
                </c:pt>
                <c:pt idx="2095">
                  <c:v>-7.5399794476912977E-3</c:v>
                </c:pt>
                <c:pt idx="2096">
                  <c:v>-7.05092267016882E-3</c:v>
                </c:pt>
                <c:pt idx="2097">
                  <c:v>-6.3254155096417169E-3</c:v>
                </c:pt>
                <c:pt idx="2098">
                  <c:v>-5.7054030603323697E-3</c:v>
                </c:pt>
                <c:pt idx="2099">
                  <c:v>-5.2218798573989049E-3</c:v>
                </c:pt>
                <c:pt idx="2100">
                  <c:v>-4.4450568790121801E-3</c:v>
                </c:pt>
                <c:pt idx="2101">
                  <c:v>-3.7093550522923398E-3</c:v>
                </c:pt>
                <c:pt idx="2102">
                  <c:v>-3.0595454937708717E-3</c:v>
                </c:pt>
                <c:pt idx="2103">
                  <c:v>-2.445350690559683E-3</c:v>
                </c:pt>
                <c:pt idx="2104">
                  <c:v>-1.8879497699434596E-3</c:v>
                </c:pt>
                <c:pt idx="2105">
                  <c:v>-1.3177480343640035E-3</c:v>
                </c:pt>
                <c:pt idx="2106">
                  <c:v>-6.920330660080895E-4</c:v>
                </c:pt>
                <c:pt idx="2107">
                  <c:v>-2.5446294573245459E-4</c:v>
                </c:pt>
                <c:pt idx="2108">
                  <c:v>-1.1669712605317899E-4</c:v>
                </c:pt>
                <c:pt idx="2109">
                  <c:v>8.0844817917020625E-5</c:v>
                </c:pt>
                <c:pt idx="2110">
                  <c:v>2.4026880388051258E-4</c:v>
                </c:pt>
                <c:pt idx="2111">
                  <c:v>9.3722363739091874E-5</c:v>
                </c:pt>
                <c:pt idx="2112">
                  <c:v>-8.0093737045296154E-5</c:v>
                </c:pt>
                <c:pt idx="2113">
                  <c:v>-5.3083004602227229E-5</c:v>
                </c:pt>
                <c:pt idx="2114">
                  <c:v>-2.4600548648279208E-5</c:v>
                </c:pt>
                <c:pt idx="2115">
                  <c:v>-1.2082946827408902E-4</c:v>
                </c:pt>
                <c:pt idx="2116">
                  <c:v>-2.8856691078876957E-4</c:v>
                </c:pt>
                <c:pt idx="2117">
                  <c:v>-4.9121176374295264E-4</c:v>
                </c:pt>
                <c:pt idx="2118">
                  <c:v>-8.2933980752886334E-4</c:v>
                </c:pt>
                <c:pt idx="2119">
                  <c:v>-1.2143843238791741E-3</c:v>
                </c:pt>
                <c:pt idx="2120">
                  <c:v>-1.6561521100678083E-3</c:v>
                </c:pt>
                <c:pt idx="2121">
                  <c:v>-2.2565307525566503E-3</c:v>
                </c:pt>
                <c:pt idx="2122">
                  <c:v>-2.9439012310893201E-3</c:v>
                </c:pt>
                <c:pt idx="2123">
                  <c:v>-3.7723515992272513E-3</c:v>
                </c:pt>
                <c:pt idx="2124">
                  <c:v>-4.7270582147391936E-3</c:v>
                </c:pt>
                <c:pt idx="2125">
                  <c:v>-5.4007355044431169E-3</c:v>
                </c:pt>
                <c:pt idx="2126">
                  <c:v>-5.9822733447169847E-3</c:v>
                </c:pt>
                <c:pt idx="2127">
                  <c:v>-6.4489762052504403E-3</c:v>
                </c:pt>
                <c:pt idx="2128">
                  <c:v>-6.992612205852582E-3</c:v>
                </c:pt>
                <c:pt idx="2129">
                  <c:v>-7.3947182883129878E-3</c:v>
                </c:pt>
                <c:pt idx="2130">
                  <c:v>-7.61051164737888E-3</c:v>
                </c:pt>
                <c:pt idx="2131">
                  <c:v>-7.8453386545601494E-3</c:v>
                </c:pt>
                <c:pt idx="2132">
                  <c:v>-7.9511441464647399E-3</c:v>
                </c:pt>
                <c:pt idx="2133">
                  <c:v>-7.7902391385589725E-3</c:v>
                </c:pt>
                <c:pt idx="2134">
                  <c:v>-7.6324204203260066E-3</c:v>
                </c:pt>
                <c:pt idx="2135">
                  <c:v>-7.7156324593453743E-3</c:v>
                </c:pt>
                <c:pt idx="2136">
                  <c:v>-7.7995966520772279E-3</c:v>
                </c:pt>
                <c:pt idx="2137">
                  <c:v>-7.776443881752448E-3</c:v>
                </c:pt>
                <c:pt idx="2138">
                  <c:v>-7.6729280218885542E-3</c:v>
                </c:pt>
                <c:pt idx="2139">
                  <c:v>-7.7399061779460333E-3</c:v>
                </c:pt>
                <c:pt idx="2140">
                  <c:v>-7.8074119186051904E-3</c:v>
                </c:pt>
                <c:pt idx="2141">
                  <c:v>-7.6998032992044605E-3</c:v>
                </c:pt>
                <c:pt idx="2142">
                  <c:v>-7.6794624158425841E-3</c:v>
                </c:pt>
                <c:pt idx="2143">
                  <c:v>-7.598458221384382E-3</c:v>
                </c:pt>
                <c:pt idx="2144">
                  <c:v>-7.6559910809156136E-3</c:v>
                </c:pt>
                <c:pt idx="2145">
                  <c:v>-7.6505173715548797E-3</c:v>
                </c:pt>
                <c:pt idx="2146">
                  <c:v>-7.7082048068939056E-3</c:v>
                </c:pt>
                <c:pt idx="2147">
                  <c:v>-7.717213090832317E-3</c:v>
                </c:pt>
                <c:pt idx="2148">
                  <c:v>-7.6842960293847726E-3</c:v>
                </c:pt>
                <c:pt idx="2149">
                  <c:v>-7.6312798698706047E-3</c:v>
                </c:pt>
                <c:pt idx="2150">
                  <c:v>-7.5954959338282021E-3</c:v>
                </c:pt>
                <c:pt idx="2151">
                  <c:v>-7.5288518136551767E-3</c:v>
                </c:pt>
                <c:pt idx="2152">
                  <c:v>-7.4196083952565656E-3</c:v>
                </c:pt>
                <c:pt idx="2153">
                  <c:v>-7.3055297505781863E-3</c:v>
                </c:pt>
                <c:pt idx="2154">
                  <c:v>-7.2923615106030067E-3</c:v>
                </c:pt>
                <c:pt idx="2155">
                  <c:v>-7.1119983011613324E-3</c:v>
                </c:pt>
                <c:pt idx="2156">
                  <c:v>-7.0775637515541326E-3</c:v>
                </c:pt>
                <c:pt idx="2157">
                  <c:v>-7.1416497268381824E-3</c:v>
                </c:pt>
                <c:pt idx="2158">
                  <c:v>-7.0039948307059506E-3</c:v>
                </c:pt>
                <c:pt idx="2159">
                  <c:v>-6.9199295818126996E-3</c:v>
                </c:pt>
                <c:pt idx="2160">
                  <c:v>-6.9629408756245832E-3</c:v>
                </c:pt>
                <c:pt idx="2161">
                  <c:v>-6.8801379750248227E-3</c:v>
                </c:pt>
                <c:pt idx="2162">
                  <c:v>-6.8115708645430676E-3</c:v>
                </c:pt>
                <c:pt idx="2163">
                  <c:v>-6.8764487492307706E-3</c:v>
                </c:pt>
                <c:pt idx="2164">
                  <c:v>-6.9365800252566322E-3</c:v>
                </c:pt>
                <c:pt idx="2165">
                  <c:v>-6.8878607485478704E-3</c:v>
                </c:pt>
                <c:pt idx="2166">
                  <c:v>-7.0017716539374966E-3</c:v>
                </c:pt>
                <c:pt idx="2167">
                  <c:v>-7.0745507631673667E-3</c:v>
                </c:pt>
                <c:pt idx="2168">
                  <c:v>-7.1121243119756962E-3</c:v>
                </c:pt>
                <c:pt idx="2169">
                  <c:v>-7.1332492618984668E-3</c:v>
                </c:pt>
                <c:pt idx="2170">
                  <c:v>-7.2094991624882549E-3</c:v>
                </c:pt>
                <c:pt idx="2171">
                  <c:v>-7.2823586465724822E-3</c:v>
                </c:pt>
                <c:pt idx="2172">
                  <c:v>-7.2989159066498659E-3</c:v>
                </c:pt>
                <c:pt idx="2173">
                  <c:v>-7.4197241143678276E-3</c:v>
                </c:pt>
                <c:pt idx="2174">
                  <c:v>-7.3833386193459033E-3</c:v>
                </c:pt>
                <c:pt idx="2175">
                  <c:v>-7.4260898146403416E-3</c:v>
                </c:pt>
                <c:pt idx="2176">
                  <c:v>-7.4799661592718173E-3</c:v>
                </c:pt>
                <c:pt idx="2177">
                  <c:v>-7.5181810908000052E-3</c:v>
                </c:pt>
                <c:pt idx="2178">
                  <c:v>-7.5370211969265685E-3</c:v>
                </c:pt>
                <c:pt idx="2179">
                  <c:v>-7.5155184585127838E-3</c:v>
                </c:pt>
                <c:pt idx="2180">
                  <c:v>-7.5487291088441998E-3</c:v>
                </c:pt>
                <c:pt idx="2181">
                  <c:v>-7.4672649699708072E-3</c:v>
                </c:pt>
                <c:pt idx="2182">
                  <c:v>-7.4847095153333107E-3</c:v>
                </c:pt>
                <c:pt idx="2183">
                  <c:v>-7.50113422341229E-3</c:v>
                </c:pt>
                <c:pt idx="2184">
                  <c:v>-7.3352730191169726E-3</c:v>
                </c:pt>
                <c:pt idx="2185">
                  <c:v>-7.4668724398251011E-3</c:v>
                </c:pt>
                <c:pt idx="2186">
                  <c:v>-7.3486216712436514E-3</c:v>
                </c:pt>
                <c:pt idx="2187">
                  <c:v>-6.9835287625694877E-3</c:v>
                </c:pt>
                <c:pt idx="2188">
                  <c:v>-6.9860325224841745E-3</c:v>
                </c:pt>
                <c:pt idx="2189">
                  <c:v>-7.0269517077723928E-3</c:v>
                </c:pt>
                <c:pt idx="2190">
                  <c:v>-6.9296426997863918E-3</c:v>
                </c:pt>
                <c:pt idx="2191">
                  <c:v>-6.8713425860322018E-3</c:v>
                </c:pt>
                <c:pt idx="2192">
                  <c:v>-6.9586964179534656E-3</c:v>
                </c:pt>
                <c:pt idx="2193">
                  <c:v>-7.0207537362324077E-3</c:v>
                </c:pt>
                <c:pt idx="2194">
                  <c:v>-7.0548766478634442E-3</c:v>
                </c:pt>
                <c:pt idx="2195">
                  <c:v>-7.1221296601900177E-3</c:v>
                </c:pt>
                <c:pt idx="2196">
                  <c:v>-7.1062025548597257E-3</c:v>
                </c:pt>
                <c:pt idx="2197">
                  <c:v>-7.1229289902144128E-3</c:v>
                </c:pt>
                <c:pt idx="2198">
                  <c:v>-7.1157843691641376E-3</c:v>
                </c:pt>
                <c:pt idx="2199">
                  <c:v>-7.0525785865959189E-3</c:v>
                </c:pt>
                <c:pt idx="2200">
                  <c:v>-7.0526456722581629E-3</c:v>
                </c:pt>
                <c:pt idx="2201">
                  <c:v>-6.9953776611751768E-3</c:v>
                </c:pt>
                <c:pt idx="2202">
                  <c:v>-6.8891213552582159E-3</c:v>
                </c:pt>
                <c:pt idx="2203">
                  <c:v>-6.8387458811393917E-3</c:v>
                </c:pt>
                <c:pt idx="2204">
                  <c:v>-6.8417326887995058E-3</c:v>
                </c:pt>
                <c:pt idx="2205">
                  <c:v>-6.7450294630528231E-3</c:v>
                </c:pt>
                <c:pt idx="2206">
                  <c:v>-6.7124312665239336E-3</c:v>
                </c:pt>
                <c:pt idx="2207">
                  <c:v>-6.596063441003522E-3</c:v>
                </c:pt>
                <c:pt idx="2208">
                  <c:v>-6.4481089321584998E-3</c:v>
                </c:pt>
                <c:pt idx="2209">
                  <c:v>-6.4808177544760153E-3</c:v>
                </c:pt>
                <c:pt idx="2210">
                  <c:v>-6.3683024790604772E-3</c:v>
                </c:pt>
                <c:pt idx="2211">
                  <c:v>-6.2452356326717475E-3</c:v>
                </c:pt>
                <c:pt idx="2212">
                  <c:v>-6.2598494579018506E-3</c:v>
                </c:pt>
                <c:pt idx="2213">
                  <c:v>-6.2959070856109765E-3</c:v>
                </c:pt>
                <c:pt idx="2214">
                  <c:v>-6.3943783942635377E-3</c:v>
                </c:pt>
                <c:pt idx="2215">
                  <c:v>-6.4328693668933845E-3</c:v>
                </c:pt>
                <c:pt idx="2216">
                  <c:v>-6.681910668123031E-3</c:v>
                </c:pt>
                <c:pt idx="2217">
                  <c:v>-6.8067031120151037E-3</c:v>
                </c:pt>
                <c:pt idx="2218">
                  <c:v>-6.7848602235896531E-3</c:v>
                </c:pt>
                <c:pt idx="2219">
                  <c:v>-6.6721870778897151E-3</c:v>
                </c:pt>
                <c:pt idx="2220">
                  <c:v>-6.8531014403148552E-3</c:v>
                </c:pt>
                <c:pt idx="2221">
                  <c:v>-7.3252495636415837E-3</c:v>
                </c:pt>
                <c:pt idx="2222">
                  <c:v>-7.5108282321681204E-3</c:v>
                </c:pt>
                <c:pt idx="2223">
                  <c:v>-7.5061767902692301E-3</c:v>
                </c:pt>
                <c:pt idx="2224">
                  <c:v>-7.5661761510501047E-3</c:v>
                </c:pt>
                <c:pt idx="2225">
                  <c:v>-7.0293414643116392E-3</c:v>
                </c:pt>
                <c:pt idx="2226">
                  <c:v>-6.6460362187391736E-3</c:v>
                </c:pt>
                <c:pt idx="2227">
                  <c:v>-5.9020380088144024E-3</c:v>
                </c:pt>
                <c:pt idx="2228">
                  <c:v>-3.2687104657887298E-3</c:v>
                </c:pt>
                <c:pt idx="2229">
                  <c:v>1.1115563926815267E-2</c:v>
                </c:pt>
                <c:pt idx="2230">
                  <c:v>3.1150502323292632E-2</c:v>
                </c:pt>
                <c:pt idx="2231">
                  <c:v>4.3366540942704312E-2</c:v>
                </c:pt>
                <c:pt idx="2232">
                  <c:v>5.1775170629272144E-2</c:v>
                </c:pt>
                <c:pt idx="2233">
                  <c:v>5.8533648547515679E-2</c:v>
                </c:pt>
                <c:pt idx="2234">
                  <c:v>6.3213820668694354E-2</c:v>
                </c:pt>
                <c:pt idx="2235">
                  <c:v>6.4473514588902714E-2</c:v>
                </c:pt>
                <c:pt idx="2236">
                  <c:v>6.6184981724267289E-2</c:v>
                </c:pt>
                <c:pt idx="2237">
                  <c:v>6.7139297279161514E-2</c:v>
                </c:pt>
                <c:pt idx="2238">
                  <c:v>6.722088642905126E-2</c:v>
                </c:pt>
                <c:pt idx="2239">
                  <c:v>6.7104429739601457E-2</c:v>
                </c:pt>
                <c:pt idx="2240">
                  <c:v>6.6999643791230828E-2</c:v>
                </c:pt>
                <c:pt idx="2241">
                  <c:v>6.6389913449054386E-2</c:v>
                </c:pt>
                <c:pt idx="2242">
                  <c:v>6.5808911916424628E-2</c:v>
                </c:pt>
                <c:pt idx="2243">
                  <c:v>6.465563240381339E-2</c:v>
                </c:pt>
                <c:pt idx="2244">
                  <c:v>6.326212177835408E-2</c:v>
                </c:pt>
                <c:pt idx="2245">
                  <c:v>6.1377932896917994E-2</c:v>
                </c:pt>
                <c:pt idx="2246">
                  <c:v>5.9266273589077087E-2</c:v>
                </c:pt>
                <c:pt idx="2247">
                  <c:v>5.692620560729772E-2</c:v>
                </c:pt>
                <c:pt idx="2248">
                  <c:v>5.3937004621257265E-2</c:v>
                </c:pt>
                <c:pt idx="2249">
                  <c:v>5.0978554432482087E-2</c:v>
                </c:pt>
                <c:pt idx="2250">
                  <c:v>4.7172812694189534E-2</c:v>
                </c:pt>
                <c:pt idx="2251">
                  <c:v>4.2778341660679224E-2</c:v>
                </c:pt>
                <c:pt idx="2252">
                  <c:v>3.8186730421282664E-2</c:v>
                </c:pt>
                <c:pt idx="2253">
                  <c:v>3.2461487897771986E-2</c:v>
                </c:pt>
                <c:pt idx="2254">
                  <c:v>2.5929993292961528E-2</c:v>
                </c:pt>
                <c:pt idx="2255">
                  <c:v>1.8750214481768827E-2</c:v>
                </c:pt>
                <c:pt idx="2256">
                  <c:v>9.5869824087418416E-3</c:v>
                </c:pt>
                <c:pt idx="2257">
                  <c:v>-1.9146520158288115E-3</c:v>
                </c:pt>
                <c:pt idx="2258">
                  <c:v>-1.8565396119869716E-2</c:v>
                </c:pt>
                <c:pt idx="2259">
                  <c:v>-2.8794476972708025E-2</c:v>
                </c:pt>
                <c:pt idx="2260">
                  <c:v>-2.8737308323666187E-2</c:v>
                </c:pt>
                <c:pt idx="2261">
                  <c:v>-2.9034139857132123E-2</c:v>
                </c:pt>
                <c:pt idx="2262">
                  <c:v>-2.7630131804978468E-2</c:v>
                </c:pt>
                <c:pt idx="2263">
                  <c:v>-2.5930561878544305E-2</c:v>
                </c:pt>
                <c:pt idx="2264">
                  <c:v>-2.3509164391483463E-2</c:v>
                </c:pt>
                <c:pt idx="2265">
                  <c:v>-2.2368363203437002E-2</c:v>
                </c:pt>
                <c:pt idx="2266">
                  <c:v>-2.11391276223389E-2</c:v>
                </c:pt>
                <c:pt idx="2267">
                  <c:v>-2.0130605154426235E-2</c:v>
                </c:pt>
                <c:pt idx="2268">
                  <c:v>-1.9595630395476189E-2</c:v>
                </c:pt>
                <c:pt idx="2269">
                  <c:v>-1.8923974861937524E-2</c:v>
                </c:pt>
                <c:pt idx="2270">
                  <c:v>-1.8127231998671195E-2</c:v>
                </c:pt>
                <c:pt idx="2271">
                  <c:v>-1.7232276183914232E-2</c:v>
                </c:pt>
                <c:pt idx="2272">
                  <c:v>-1.623826122999197E-2</c:v>
                </c:pt>
                <c:pt idx="2273">
                  <c:v>-1.5222754737988571E-2</c:v>
                </c:pt>
                <c:pt idx="2274">
                  <c:v>-1.4419209437245457E-2</c:v>
                </c:pt>
                <c:pt idx="2275">
                  <c:v>-1.3587255547454281E-2</c:v>
                </c:pt>
                <c:pt idx="2276">
                  <c:v>-1.2790042639363322E-2</c:v>
                </c:pt>
                <c:pt idx="2277">
                  <c:v>-1.1972220168021431E-2</c:v>
                </c:pt>
                <c:pt idx="2278">
                  <c:v>-1.1075095440262835E-2</c:v>
                </c:pt>
                <c:pt idx="2279">
                  <c:v>-1.0226019292844999E-2</c:v>
                </c:pt>
                <c:pt idx="2280">
                  <c:v>-9.7876080988804973E-3</c:v>
                </c:pt>
                <c:pt idx="2281">
                  <c:v>-9.2598352128651345E-3</c:v>
                </c:pt>
                <c:pt idx="2282">
                  <c:v>-8.7271991264348571E-3</c:v>
                </c:pt>
                <c:pt idx="2283">
                  <c:v>-8.2829199678359153E-3</c:v>
                </c:pt>
                <c:pt idx="2284">
                  <c:v>-7.6851871154428901E-3</c:v>
                </c:pt>
                <c:pt idx="2285">
                  <c:v>-6.6553238163937298E-3</c:v>
                </c:pt>
                <c:pt idx="2286">
                  <c:v>-5.4891529119703549E-3</c:v>
                </c:pt>
                <c:pt idx="2287">
                  <c:v>-4.4392523622311299E-3</c:v>
                </c:pt>
                <c:pt idx="2288">
                  <c:v>1.2218630165088205E-3</c:v>
                </c:pt>
                <c:pt idx="2289">
                  <c:v>6.8934909138950225E-3</c:v>
                </c:pt>
                <c:pt idx="2290">
                  <c:v>1.061538529562754E-2</c:v>
                </c:pt>
                <c:pt idx="2291">
                  <c:v>1.2916449766087452E-2</c:v>
                </c:pt>
                <c:pt idx="2292">
                  <c:v>1.4775040161492085E-2</c:v>
                </c:pt>
                <c:pt idx="2293">
                  <c:v>1.6021917828443033E-2</c:v>
                </c:pt>
                <c:pt idx="2294">
                  <c:v>1.8394245966520964E-2</c:v>
                </c:pt>
                <c:pt idx="2295">
                  <c:v>1.9416946182319268E-2</c:v>
                </c:pt>
                <c:pt idx="2296">
                  <c:v>2.0441697100715445E-2</c:v>
                </c:pt>
                <c:pt idx="2297">
                  <c:v>2.1411317159475141E-2</c:v>
                </c:pt>
                <c:pt idx="2298">
                  <c:v>2.1835929962675214E-2</c:v>
                </c:pt>
                <c:pt idx="2299">
                  <c:v>2.1943581837613663E-2</c:v>
                </c:pt>
                <c:pt idx="2300">
                  <c:v>2.2176393740029901E-2</c:v>
                </c:pt>
                <c:pt idx="2301">
                  <c:v>2.1918917152595467E-2</c:v>
                </c:pt>
                <c:pt idx="2302">
                  <c:v>2.2417414962523016E-2</c:v>
                </c:pt>
                <c:pt idx="2303">
                  <c:v>2.1919288545914066E-2</c:v>
                </c:pt>
                <c:pt idx="2304">
                  <c:v>2.1515660323579711E-2</c:v>
                </c:pt>
                <c:pt idx="2305">
                  <c:v>2.0902630356104311E-2</c:v>
                </c:pt>
                <c:pt idx="2306">
                  <c:v>2.0126306622629382E-2</c:v>
                </c:pt>
                <c:pt idx="2307">
                  <c:v>2.0254431781435232E-2</c:v>
                </c:pt>
                <c:pt idx="2308">
                  <c:v>2.2155107470114205E-2</c:v>
                </c:pt>
                <c:pt idx="2309">
                  <c:v>2.3686295268803309E-2</c:v>
                </c:pt>
                <c:pt idx="2310">
                  <c:v>2.510815581592913E-2</c:v>
                </c:pt>
                <c:pt idx="2311">
                  <c:v>2.6679625435892751E-2</c:v>
                </c:pt>
                <c:pt idx="2312">
                  <c:v>2.822089728950939E-2</c:v>
                </c:pt>
                <c:pt idx="2313">
                  <c:v>2.9508960625595521E-2</c:v>
                </c:pt>
                <c:pt idx="2314">
                  <c:v>3.0665684469765274E-2</c:v>
                </c:pt>
                <c:pt idx="2315">
                  <c:v>3.1793103826506929E-2</c:v>
                </c:pt>
                <c:pt idx="2316">
                  <c:v>3.2749452980122322E-2</c:v>
                </c:pt>
                <c:pt idx="2317">
                  <c:v>3.3617558253830469E-2</c:v>
                </c:pt>
                <c:pt idx="2318">
                  <c:v>3.4503404947976012E-2</c:v>
                </c:pt>
                <c:pt idx="2319">
                  <c:v>3.4468614185731591E-2</c:v>
                </c:pt>
                <c:pt idx="2320">
                  <c:v>3.4123246259084389E-2</c:v>
                </c:pt>
                <c:pt idx="2321">
                  <c:v>3.3789503748346369E-2</c:v>
                </c:pt>
                <c:pt idx="2322">
                  <c:v>3.3217912416691635E-2</c:v>
                </c:pt>
                <c:pt idx="2323">
                  <c:v>3.2617203713485587E-2</c:v>
                </c:pt>
                <c:pt idx="2324">
                  <c:v>3.0813465765635407E-2</c:v>
                </c:pt>
                <c:pt idx="2325">
                  <c:v>2.9738257374695015E-2</c:v>
                </c:pt>
                <c:pt idx="2326">
                  <c:v>2.7999192090301633E-2</c:v>
                </c:pt>
                <c:pt idx="2327">
                  <c:v>2.5433281981355756E-2</c:v>
                </c:pt>
                <c:pt idx="2328">
                  <c:v>2.3906151324162156E-2</c:v>
                </c:pt>
                <c:pt idx="2329">
                  <c:v>2.1685244538222598E-2</c:v>
                </c:pt>
                <c:pt idx="2330">
                  <c:v>1.9690500667979914E-2</c:v>
                </c:pt>
                <c:pt idx="2331">
                  <c:v>1.7171171310186188E-2</c:v>
                </c:pt>
                <c:pt idx="2332">
                  <c:v>1.4586117496494971E-2</c:v>
                </c:pt>
                <c:pt idx="2333">
                  <c:v>1.1717362234237567E-2</c:v>
                </c:pt>
                <c:pt idx="2334">
                  <c:v>8.5559647830604057E-3</c:v>
                </c:pt>
                <c:pt idx="2335">
                  <c:v>4.8003170201372462E-3</c:v>
                </c:pt>
                <c:pt idx="2336">
                  <c:v>-1.5305066194138302E-3</c:v>
                </c:pt>
                <c:pt idx="2337">
                  <c:v>-7.9085588351171226E-3</c:v>
                </c:pt>
                <c:pt idx="2338">
                  <c:v>-8.1074154468902902E-3</c:v>
                </c:pt>
                <c:pt idx="2339">
                  <c:v>-8.2795537907132798E-3</c:v>
                </c:pt>
                <c:pt idx="2340">
                  <c:v>-8.4857266111625813E-3</c:v>
                </c:pt>
                <c:pt idx="2341">
                  <c:v>-8.7479622304585392E-3</c:v>
                </c:pt>
                <c:pt idx="2342">
                  <c:v>-9.0741141519776296E-3</c:v>
                </c:pt>
                <c:pt idx="2343">
                  <c:v>-9.5214491969410151E-3</c:v>
                </c:pt>
                <c:pt idx="2344">
                  <c:v>-1.0013596226855402E-2</c:v>
                </c:pt>
                <c:pt idx="2345">
                  <c:v>-1.0635586019297975E-2</c:v>
                </c:pt>
                <c:pt idx="2346">
                  <c:v>-1.077297161924262E-2</c:v>
                </c:pt>
                <c:pt idx="2347">
                  <c:v>-1.0896942684862514E-2</c:v>
                </c:pt>
                <c:pt idx="2348">
                  <c:v>-1.1045045338382969E-2</c:v>
                </c:pt>
                <c:pt idx="2349">
                  <c:v>-1.1211151037835952E-2</c:v>
                </c:pt>
                <c:pt idx="2350">
                  <c:v>-1.1322550308247956E-2</c:v>
                </c:pt>
                <c:pt idx="2351">
                  <c:v>-1.1407522151094283E-2</c:v>
                </c:pt>
                <c:pt idx="2352">
                  <c:v>-1.1440234529633523E-2</c:v>
                </c:pt>
                <c:pt idx="2353">
                  <c:v>-1.1442461004038451E-2</c:v>
                </c:pt>
                <c:pt idx="2354">
                  <c:v>-1.1449867138461403E-2</c:v>
                </c:pt>
                <c:pt idx="2355">
                  <c:v>-1.1428494801567247E-2</c:v>
                </c:pt>
                <c:pt idx="2356">
                  <c:v>-1.1398729140069206E-2</c:v>
                </c:pt>
                <c:pt idx="2357">
                  <c:v>-1.1395444179957295E-2</c:v>
                </c:pt>
                <c:pt idx="2358">
                  <c:v>-1.1433464885183618E-2</c:v>
                </c:pt>
                <c:pt idx="2359">
                  <c:v>-1.1466271217767821E-2</c:v>
                </c:pt>
                <c:pt idx="2360">
                  <c:v>-1.1494265637843542E-2</c:v>
                </c:pt>
                <c:pt idx="2361">
                  <c:v>-1.1531527012677095E-2</c:v>
                </c:pt>
                <c:pt idx="2362">
                  <c:v>-1.1502242082859616E-2</c:v>
                </c:pt>
                <c:pt idx="2363">
                  <c:v>-1.1418091351588E-2</c:v>
                </c:pt>
                <c:pt idx="2364">
                  <c:v>-1.1286141989334978E-2</c:v>
                </c:pt>
                <c:pt idx="2365">
                  <c:v>-1.118189749111094E-2</c:v>
                </c:pt>
                <c:pt idx="2366">
                  <c:v>-1.1094719904110848E-2</c:v>
                </c:pt>
                <c:pt idx="2367">
                  <c:v>-1.1007196885955244E-2</c:v>
                </c:pt>
                <c:pt idx="2368">
                  <c:v>-1.0937802290914286E-2</c:v>
                </c:pt>
                <c:pt idx="2369">
                  <c:v>-1.0879167161495321E-2</c:v>
                </c:pt>
                <c:pt idx="2370">
                  <c:v>-1.0832064540056859E-2</c:v>
                </c:pt>
                <c:pt idx="2371">
                  <c:v>-1.0788765262726489E-2</c:v>
                </c:pt>
                <c:pt idx="2372">
                  <c:v>-1.0742132457532961E-2</c:v>
                </c:pt>
                <c:pt idx="2373">
                  <c:v>-1.0697079354487181E-2</c:v>
                </c:pt>
                <c:pt idx="2374">
                  <c:v>-1.0619277631879727E-2</c:v>
                </c:pt>
                <c:pt idx="2375">
                  <c:v>-1.0586579663926149E-2</c:v>
                </c:pt>
                <c:pt idx="2376">
                  <c:v>-1.0556041408822129E-2</c:v>
                </c:pt>
                <c:pt idx="2377">
                  <c:v>-1.0517761495753902E-2</c:v>
                </c:pt>
                <c:pt idx="2378">
                  <c:v>-1.0493339040056738E-2</c:v>
                </c:pt>
                <c:pt idx="2379">
                  <c:v>-1.0482752646990438E-2</c:v>
                </c:pt>
                <c:pt idx="2380">
                  <c:v>-1.0496306179571903E-2</c:v>
                </c:pt>
                <c:pt idx="2381">
                  <c:v>-1.0526214985832765E-2</c:v>
                </c:pt>
                <c:pt idx="2382">
                  <c:v>-1.0572489823679438E-2</c:v>
                </c:pt>
                <c:pt idx="2383">
                  <c:v>-1.0594675802183411E-2</c:v>
                </c:pt>
                <c:pt idx="2384">
                  <c:v>-1.0617852735589043E-2</c:v>
                </c:pt>
                <c:pt idx="2385">
                  <c:v>-1.0691936869225146E-2</c:v>
                </c:pt>
                <c:pt idx="2386">
                  <c:v>-1.0803762220991461E-2</c:v>
                </c:pt>
                <c:pt idx="2387">
                  <c:v>-1.092106074885482E-2</c:v>
                </c:pt>
                <c:pt idx="2388">
                  <c:v>-1.1046544435771624E-2</c:v>
                </c:pt>
                <c:pt idx="2389">
                  <c:v>-1.1218781508638333E-2</c:v>
                </c:pt>
                <c:pt idx="2390">
                  <c:v>-1.1328846175522099E-2</c:v>
                </c:pt>
                <c:pt idx="2391">
                  <c:v>-1.1426714984939438E-2</c:v>
                </c:pt>
                <c:pt idx="2392">
                  <c:v>-1.1478072478847362E-2</c:v>
                </c:pt>
                <c:pt idx="2393">
                  <c:v>-1.1498960774967541E-2</c:v>
                </c:pt>
                <c:pt idx="2394">
                  <c:v>-1.1513218650492613E-2</c:v>
                </c:pt>
                <c:pt idx="2395">
                  <c:v>-1.1526782749212264E-2</c:v>
                </c:pt>
                <c:pt idx="2396">
                  <c:v>-1.154361456536827E-2</c:v>
                </c:pt>
                <c:pt idx="2397">
                  <c:v>-1.155694488088432E-2</c:v>
                </c:pt>
                <c:pt idx="2398">
                  <c:v>-1.1557092891307949E-2</c:v>
                </c:pt>
                <c:pt idx="2399">
                  <c:v>-1.15063236316652E-2</c:v>
                </c:pt>
                <c:pt idx="2400">
                  <c:v>-1.1461058350439812E-2</c:v>
                </c:pt>
                <c:pt idx="2401">
                  <c:v>-1.1405522317246933E-2</c:v>
                </c:pt>
                <c:pt idx="2402">
                  <c:v>-1.1253574991332706E-2</c:v>
                </c:pt>
                <c:pt idx="2403">
                  <c:v>-1.1166742365784882E-2</c:v>
                </c:pt>
                <c:pt idx="2404">
                  <c:v>-1.1055422572284274E-2</c:v>
                </c:pt>
                <c:pt idx="2405">
                  <c:v>-1.0974471375800553E-2</c:v>
                </c:pt>
                <c:pt idx="2406">
                  <c:v>-1.089693282182377E-2</c:v>
                </c:pt>
                <c:pt idx="2407">
                  <c:v>-1.0818851534177004E-2</c:v>
                </c:pt>
                <c:pt idx="2408">
                  <c:v>-1.072457199458253E-2</c:v>
                </c:pt>
                <c:pt idx="2409">
                  <c:v>-1.067318044669929E-2</c:v>
                </c:pt>
                <c:pt idx="2410">
                  <c:v>-1.0628148195473182E-2</c:v>
                </c:pt>
                <c:pt idx="2411">
                  <c:v>-1.0615521197739806E-2</c:v>
                </c:pt>
                <c:pt idx="2412">
                  <c:v>-1.0637598769844353E-2</c:v>
                </c:pt>
                <c:pt idx="2413">
                  <c:v>-1.0675873170461314E-2</c:v>
                </c:pt>
                <c:pt idx="2414">
                  <c:v>-1.0738856667976976E-2</c:v>
                </c:pt>
                <c:pt idx="2415">
                  <c:v>-1.0794130357376988E-2</c:v>
                </c:pt>
                <c:pt idx="2416">
                  <c:v>-1.0841738836673533E-2</c:v>
                </c:pt>
                <c:pt idx="2417">
                  <c:v>-1.0904663769253585E-2</c:v>
                </c:pt>
                <c:pt idx="2418">
                  <c:v>-1.097888808571495E-2</c:v>
                </c:pt>
                <c:pt idx="2419">
                  <c:v>-1.1055423714144925E-2</c:v>
                </c:pt>
                <c:pt idx="2420">
                  <c:v>-1.1102863285141604E-2</c:v>
                </c:pt>
                <c:pt idx="2421">
                  <c:v>-1.1161711005146418E-2</c:v>
                </c:pt>
                <c:pt idx="2422">
                  <c:v>-1.1219730443848793E-2</c:v>
                </c:pt>
                <c:pt idx="2423">
                  <c:v>-1.114802841654847E-2</c:v>
                </c:pt>
                <c:pt idx="2424">
                  <c:v>-1.1075977420481418E-2</c:v>
                </c:pt>
                <c:pt idx="2425">
                  <c:v>-1.1032334316146881E-2</c:v>
                </c:pt>
                <c:pt idx="2426">
                  <c:v>-1.1027283836197816E-2</c:v>
                </c:pt>
                <c:pt idx="2427">
                  <c:v>-1.1009007032339955E-2</c:v>
                </c:pt>
                <c:pt idx="2428">
                  <c:v>-1.0998492182648565E-2</c:v>
                </c:pt>
                <c:pt idx="2429">
                  <c:v>-1.0982642938724781E-2</c:v>
                </c:pt>
                <c:pt idx="2430">
                  <c:v>-1.0973807994895066E-2</c:v>
                </c:pt>
                <c:pt idx="2431">
                  <c:v>-1.0945229092413349E-2</c:v>
                </c:pt>
                <c:pt idx="2432">
                  <c:v>-1.0907019487826897E-2</c:v>
                </c:pt>
                <c:pt idx="2433">
                  <c:v>-1.0864532012400606E-2</c:v>
                </c:pt>
                <c:pt idx="2434">
                  <c:v>-1.0824989635811435E-2</c:v>
                </c:pt>
                <c:pt idx="2435">
                  <c:v>-1.077761245753134E-2</c:v>
                </c:pt>
                <c:pt idx="2436">
                  <c:v>-1.0669196883918465E-2</c:v>
                </c:pt>
                <c:pt idx="2437">
                  <c:v>-1.0501493317132389E-2</c:v>
                </c:pt>
                <c:pt idx="2438">
                  <c:v>-1.0462408027820754E-2</c:v>
                </c:pt>
                <c:pt idx="2439">
                  <c:v>-1.0451350026558717E-2</c:v>
                </c:pt>
                <c:pt idx="2440">
                  <c:v>-1.0365483989046183E-2</c:v>
                </c:pt>
                <c:pt idx="2441">
                  <c:v>-1.0250160041044197E-2</c:v>
                </c:pt>
                <c:pt idx="2442">
                  <c:v>-1.0128179143555342E-2</c:v>
                </c:pt>
                <c:pt idx="2443">
                  <c:v>-9.9957527363954655E-3</c:v>
                </c:pt>
                <c:pt idx="2444">
                  <c:v>-9.7914682926396428E-3</c:v>
                </c:pt>
                <c:pt idx="2445">
                  <c:v>-9.6003760757672908E-3</c:v>
                </c:pt>
                <c:pt idx="2446">
                  <c:v>-9.4703165943146456E-3</c:v>
                </c:pt>
                <c:pt idx="2447">
                  <c:v>-9.4222243087803779E-3</c:v>
                </c:pt>
                <c:pt idx="2448">
                  <c:v>-9.4026774080175381E-3</c:v>
                </c:pt>
                <c:pt idx="2449">
                  <c:v>-9.4000060367370533E-3</c:v>
                </c:pt>
                <c:pt idx="2450">
                  <c:v>-9.4064043056825489E-3</c:v>
                </c:pt>
                <c:pt idx="2451">
                  <c:v>-9.411327060211588E-3</c:v>
                </c:pt>
                <c:pt idx="2452">
                  <c:v>-9.4070881187083323E-3</c:v>
                </c:pt>
                <c:pt idx="2453">
                  <c:v>-9.3854497230487013E-3</c:v>
                </c:pt>
                <c:pt idx="2454">
                  <c:v>-9.3871679527954902E-3</c:v>
                </c:pt>
                <c:pt idx="2455">
                  <c:v>-9.2980543367938966E-3</c:v>
                </c:pt>
                <c:pt idx="2456">
                  <c:v>-8.9852512028787343E-3</c:v>
                </c:pt>
                <c:pt idx="2457">
                  <c:v>-8.7502490045178703E-3</c:v>
                </c:pt>
                <c:pt idx="2458">
                  <c:v>-8.6191698844924215E-3</c:v>
                </c:pt>
                <c:pt idx="2459">
                  <c:v>-8.545601791951303E-3</c:v>
                </c:pt>
                <c:pt idx="2460">
                  <c:v>-8.5091770164408415E-3</c:v>
                </c:pt>
                <c:pt idx="2461">
                  <c:v>-8.5425315619833634E-3</c:v>
                </c:pt>
                <c:pt idx="2462">
                  <c:v>-8.553057137849273E-3</c:v>
                </c:pt>
                <c:pt idx="2463">
                  <c:v>-8.5900256901081957E-3</c:v>
                </c:pt>
                <c:pt idx="2464">
                  <c:v>-8.6560341171751654E-3</c:v>
                </c:pt>
                <c:pt idx="2465">
                  <c:v>-8.7237720198470765E-3</c:v>
                </c:pt>
                <c:pt idx="2466">
                  <c:v>-8.663188529654392E-3</c:v>
                </c:pt>
                <c:pt idx="2467">
                  <c:v>-8.6060107972993245E-3</c:v>
                </c:pt>
                <c:pt idx="2468">
                  <c:v>-8.5232151534365263E-3</c:v>
                </c:pt>
                <c:pt idx="2469">
                  <c:v>-8.4624065554148552E-3</c:v>
                </c:pt>
                <c:pt idx="2470">
                  <c:v>-8.5646793262353395E-3</c:v>
                </c:pt>
                <c:pt idx="2471">
                  <c:v>-8.5405045277216016E-3</c:v>
                </c:pt>
                <c:pt idx="2472">
                  <c:v>-8.5417731732611579E-3</c:v>
                </c:pt>
                <c:pt idx="2473">
                  <c:v>-8.5064188749212066E-3</c:v>
                </c:pt>
                <c:pt idx="2474">
                  <c:v>-8.4389721777449311E-3</c:v>
                </c:pt>
                <c:pt idx="2475">
                  <c:v>-8.3567915244316636E-3</c:v>
                </c:pt>
                <c:pt idx="2476">
                  <c:v>-8.3604096000577666E-3</c:v>
                </c:pt>
                <c:pt idx="2477">
                  <c:v>-8.3611721906600295E-3</c:v>
                </c:pt>
                <c:pt idx="2478">
                  <c:v>-8.3985896950576136E-3</c:v>
                </c:pt>
                <c:pt idx="2479">
                  <c:v>-8.4572704091280294E-3</c:v>
                </c:pt>
                <c:pt idx="2480">
                  <c:v>-8.5700757188140898E-3</c:v>
                </c:pt>
                <c:pt idx="2481">
                  <c:v>-8.6871993836010117E-3</c:v>
                </c:pt>
                <c:pt idx="2482">
                  <c:v>-8.8052444916836593E-3</c:v>
                </c:pt>
                <c:pt idx="2483">
                  <c:v>-8.9392974220303591E-3</c:v>
                </c:pt>
                <c:pt idx="2484">
                  <c:v>-9.037603726954618E-3</c:v>
                </c:pt>
                <c:pt idx="2485">
                  <c:v>-9.1260732941437772E-3</c:v>
                </c:pt>
                <c:pt idx="2486">
                  <c:v>-9.3414048617190687E-3</c:v>
                </c:pt>
                <c:pt idx="2487">
                  <c:v>-9.5875324846009056E-3</c:v>
                </c:pt>
                <c:pt idx="2488">
                  <c:v>-9.7571516192486857E-3</c:v>
                </c:pt>
                <c:pt idx="2489">
                  <c:v>-9.8737720128801755E-3</c:v>
                </c:pt>
                <c:pt idx="2490">
                  <c:v>-9.9438695047798752E-3</c:v>
                </c:pt>
                <c:pt idx="2491">
                  <c:v>-9.9623454806565988E-3</c:v>
                </c:pt>
                <c:pt idx="2492">
                  <c:v>-9.9813288563948277E-3</c:v>
                </c:pt>
                <c:pt idx="2493">
                  <c:v>-1.0093844459143294E-2</c:v>
                </c:pt>
                <c:pt idx="2494">
                  <c:v>-1.013609186801505E-2</c:v>
                </c:pt>
                <c:pt idx="2495">
                  <c:v>-1.0142374904523001E-2</c:v>
                </c:pt>
                <c:pt idx="2496">
                  <c:v>-1.0037166825437583E-2</c:v>
                </c:pt>
                <c:pt idx="2497">
                  <c:v>-9.4132118306918238E-3</c:v>
                </c:pt>
                <c:pt idx="2498">
                  <c:v>-8.9696366025043637E-3</c:v>
                </c:pt>
                <c:pt idx="2499">
                  <c:v>-8.8781979184305877E-3</c:v>
                </c:pt>
                <c:pt idx="2500">
                  <c:v>-8.7911998561622101E-3</c:v>
                </c:pt>
                <c:pt idx="2501">
                  <c:v>-8.7134239626697214E-3</c:v>
                </c:pt>
                <c:pt idx="2502">
                  <c:v>-8.2806390937466383E-3</c:v>
                </c:pt>
                <c:pt idx="2503">
                  <c:v>-8.1986246029530554E-3</c:v>
                </c:pt>
                <c:pt idx="2504">
                  <c:v>-8.1554987538081485E-3</c:v>
                </c:pt>
                <c:pt idx="2505">
                  <c:v>-8.16187957554689E-3</c:v>
                </c:pt>
                <c:pt idx="2506">
                  <c:v>-8.1484594590439073E-3</c:v>
                </c:pt>
                <c:pt idx="2507">
                  <c:v>-8.1948991086615262E-3</c:v>
                </c:pt>
                <c:pt idx="2508">
                  <c:v>-8.2938829916524674E-3</c:v>
                </c:pt>
                <c:pt idx="2509">
                  <c:v>-8.4189366852591048E-3</c:v>
                </c:pt>
                <c:pt idx="2510">
                  <c:v>-8.4834436926547289E-3</c:v>
                </c:pt>
                <c:pt idx="2511">
                  <c:v>-8.5270864540615641E-3</c:v>
                </c:pt>
                <c:pt idx="2512">
                  <c:v>-8.5661701850403334E-3</c:v>
                </c:pt>
                <c:pt idx="2513">
                  <c:v>-8.5686389393403433E-3</c:v>
                </c:pt>
                <c:pt idx="2514">
                  <c:v>-8.5714219463648572E-3</c:v>
                </c:pt>
                <c:pt idx="2515">
                  <c:v>-8.5630468963019072E-3</c:v>
                </c:pt>
                <c:pt idx="2516">
                  <c:v>-8.5672116389362493E-3</c:v>
                </c:pt>
                <c:pt idx="2517">
                  <c:v>-8.556342031306504E-3</c:v>
                </c:pt>
                <c:pt idx="2518">
                  <c:v>-8.534555054946583E-3</c:v>
                </c:pt>
                <c:pt idx="2519">
                  <c:v>-8.5173941400758651E-3</c:v>
                </c:pt>
                <c:pt idx="2520">
                  <c:v>-8.4996672894460876E-3</c:v>
                </c:pt>
                <c:pt idx="2521">
                  <c:v>-8.4834179471424825E-3</c:v>
                </c:pt>
                <c:pt idx="2522">
                  <c:v>-8.495165643539429E-3</c:v>
                </c:pt>
                <c:pt idx="2523">
                  <c:v>-8.4919007831148405E-3</c:v>
                </c:pt>
                <c:pt idx="2524">
                  <c:v>-8.4379412945393938E-3</c:v>
                </c:pt>
                <c:pt idx="2525">
                  <c:v>-8.38549571870938E-3</c:v>
                </c:pt>
                <c:pt idx="2526">
                  <c:v>-8.4013381060713786E-3</c:v>
                </c:pt>
                <c:pt idx="2527">
                  <c:v>-8.6069879978523181E-3</c:v>
                </c:pt>
                <c:pt idx="2528">
                  <c:v>-8.8174783606436696E-3</c:v>
                </c:pt>
                <c:pt idx="2529">
                  <c:v>-8.7034262957338734E-3</c:v>
                </c:pt>
                <c:pt idx="2530">
                  <c:v>-8.590193349792552E-3</c:v>
                </c:pt>
                <c:pt idx="2531">
                  <c:v>-8.460617485799132E-3</c:v>
                </c:pt>
                <c:pt idx="2532">
                  <c:v>-8.5257975642180038E-3</c:v>
                </c:pt>
                <c:pt idx="2533">
                  <c:v>-8.5523132546654265E-3</c:v>
                </c:pt>
                <c:pt idx="2534">
                  <c:v>-8.5350681765491623E-3</c:v>
                </c:pt>
                <c:pt idx="2535">
                  <c:v>-8.5009829155365691E-3</c:v>
                </c:pt>
                <c:pt idx="2536">
                  <c:v>-8.5993459765162962E-3</c:v>
                </c:pt>
                <c:pt idx="2537">
                  <c:v>-8.6752246590442207E-3</c:v>
                </c:pt>
                <c:pt idx="2538">
                  <c:v>-8.7124842421334777E-3</c:v>
                </c:pt>
                <c:pt idx="2539">
                  <c:v>-8.7300255821403105E-3</c:v>
                </c:pt>
                <c:pt idx="2540">
                  <c:v>-8.7266518394413621E-3</c:v>
                </c:pt>
                <c:pt idx="2541">
                  <c:v>-8.6990211954456574E-3</c:v>
                </c:pt>
                <c:pt idx="2542">
                  <c:v>-8.6684479773478026E-3</c:v>
                </c:pt>
                <c:pt idx="2543">
                  <c:v>-8.6375457116808375E-3</c:v>
                </c:pt>
                <c:pt idx="2544">
                  <c:v>-8.6321689690851081E-3</c:v>
                </c:pt>
                <c:pt idx="2545">
                  <c:v>-8.6560536524746198E-3</c:v>
                </c:pt>
                <c:pt idx="2546">
                  <c:v>-8.6896227809969383E-3</c:v>
                </c:pt>
                <c:pt idx="2547">
                  <c:v>-8.7112172386712514E-3</c:v>
                </c:pt>
                <c:pt idx="2548">
                  <c:v>-8.651407190561549E-3</c:v>
                </c:pt>
                <c:pt idx="2549">
                  <c:v>-8.6205455025472159E-3</c:v>
                </c:pt>
                <c:pt idx="2550">
                  <c:v>-8.6257245746553819E-3</c:v>
                </c:pt>
                <c:pt idx="2551">
                  <c:v>-8.6565627127276334E-3</c:v>
                </c:pt>
                <c:pt idx="2552">
                  <c:v>-8.6457421117355805E-3</c:v>
                </c:pt>
                <c:pt idx="2553">
                  <c:v>-8.641617092241094E-3</c:v>
                </c:pt>
                <c:pt idx="2554">
                  <c:v>-8.6077515024211848E-3</c:v>
                </c:pt>
                <c:pt idx="2555">
                  <c:v>-8.1265339940765589E-3</c:v>
                </c:pt>
                <c:pt idx="2556">
                  <c:v>-8.1238963263620279E-3</c:v>
                </c:pt>
                <c:pt idx="2557">
                  <c:v>-8.1441752260469243E-3</c:v>
                </c:pt>
                <c:pt idx="2558">
                  <c:v>-8.0321003795298523E-3</c:v>
                </c:pt>
                <c:pt idx="2559">
                  <c:v>-8.0234589006247664E-3</c:v>
                </c:pt>
                <c:pt idx="2560">
                  <c:v>-8.0590687031416967E-3</c:v>
                </c:pt>
                <c:pt idx="2561">
                  <c:v>-8.1567340778398341E-3</c:v>
                </c:pt>
                <c:pt idx="2562">
                  <c:v>-8.3098507106947762E-3</c:v>
                </c:pt>
                <c:pt idx="2563">
                  <c:v>-8.3105664179496455E-3</c:v>
                </c:pt>
                <c:pt idx="2564">
                  <c:v>-8.3386599702326373E-3</c:v>
                </c:pt>
                <c:pt idx="2565">
                  <c:v>-8.4106983137092299E-3</c:v>
                </c:pt>
                <c:pt idx="2566">
                  <c:v>-8.4081165046344577E-3</c:v>
                </c:pt>
                <c:pt idx="2567">
                  <c:v>-8.4137638773288444E-3</c:v>
                </c:pt>
                <c:pt idx="2568">
                  <c:v>-8.4103056042763077E-3</c:v>
                </c:pt>
                <c:pt idx="2569">
                  <c:v>-8.4156488094568917E-3</c:v>
                </c:pt>
                <c:pt idx="2570">
                  <c:v>-8.4245390598514831E-3</c:v>
                </c:pt>
                <c:pt idx="2571">
                  <c:v>-8.4364912692728548E-3</c:v>
                </c:pt>
                <c:pt idx="2572">
                  <c:v>-8.429152239518567E-3</c:v>
                </c:pt>
                <c:pt idx="2573">
                  <c:v>-8.4493167803730597E-3</c:v>
                </c:pt>
                <c:pt idx="2574">
                  <c:v>-8.453538379912898E-3</c:v>
                </c:pt>
                <c:pt idx="2575">
                  <c:v>-8.4513436200026951E-3</c:v>
                </c:pt>
                <c:pt idx="2576">
                  <c:v>-8.4066902193741175E-3</c:v>
                </c:pt>
                <c:pt idx="2577">
                  <c:v>-8.4233903982587621E-3</c:v>
                </c:pt>
                <c:pt idx="2578">
                  <c:v>-8.5875874247378116E-3</c:v>
                </c:pt>
                <c:pt idx="2579">
                  <c:v>-8.8052919951818378E-3</c:v>
                </c:pt>
                <c:pt idx="2580">
                  <c:v>-8.9927109816510704E-3</c:v>
                </c:pt>
                <c:pt idx="2581">
                  <c:v>-9.1690586665813447E-3</c:v>
                </c:pt>
                <c:pt idx="2582">
                  <c:v>-9.3084533214247769E-3</c:v>
                </c:pt>
                <c:pt idx="2583">
                  <c:v>-9.4081895030850102E-3</c:v>
                </c:pt>
                <c:pt idx="2584">
                  <c:v>-9.3290941258973303E-3</c:v>
                </c:pt>
                <c:pt idx="2585">
                  <c:v>-9.7425399788319857E-3</c:v>
                </c:pt>
                <c:pt idx="2586">
                  <c:v>-9.7725114412668297E-3</c:v>
                </c:pt>
                <c:pt idx="2587">
                  <c:v>-9.5595469259252743E-3</c:v>
                </c:pt>
                <c:pt idx="2588">
                  <c:v>-9.6155922546920063E-3</c:v>
                </c:pt>
                <c:pt idx="2589">
                  <c:v>-9.0437584468601451E-3</c:v>
                </c:pt>
                <c:pt idx="2590">
                  <c:v>-8.6779845624448924E-3</c:v>
                </c:pt>
                <c:pt idx="2591">
                  <c:v>-8.4054799344931794E-3</c:v>
                </c:pt>
                <c:pt idx="2592">
                  <c:v>-8.2064452547842524E-3</c:v>
                </c:pt>
                <c:pt idx="2593">
                  <c:v>-8.0406656338945486E-3</c:v>
                </c:pt>
                <c:pt idx="2594">
                  <c:v>-7.9204164159167607E-3</c:v>
                </c:pt>
                <c:pt idx="2595">
                  <c:v>-7.910420289064404E-3</c:v>
                </c:pt>
                <c:pt idx="2596">
                  <c:v>-7.9186497992535972E-3</c:v>
                </c:pt>
                <c:pt idx="2597">
                  <c:v>-7.9288777658918837E-3</c:v>
                </c:pt>
                <c:pt idx="2598">
                  <c:v>-7.9335378682034927E-3</c:v>
                </c:pt>
                <c:pt idx="2599">
                  <c:v>-7.9263842030672261E-3</c:v>
                </c:pt>
                <c:pt idx="2600">
                  <c:v>-7.9257456167792645E-3</c:v>
                </c:pt>
                <c:pt idx="2601">
                  <c:v>-7.8994836174875564E-3</c:v>
                </c:pt>
                <c:pt idx="2602">
                  <c:v>-7.849063703969936E-3</c:v>
                </c:pt>
                <c:pt idx="2603">
                  <c:v>-7.7983535707856167E-3</c:v>
                </c:pt>
                <c:pt idx="2604">
                  <c:v>-7.7193082888535195E-3</c:v>
                </c:pt>
                <c:pt idx="2605">
                  <c:v>-7.6448297972824385E-3</c:v>
                </c:pt>
                <c:pt idx="2606">
                  <c:v>-7.6036363994145158E-3</c:v>
                </c:pt>
                <c:pt idx="2607">
                  <c:v>-7.4914156034744904E-3</c:v>
                </c:pt>
                <c:pt idx="2608">
                  <c:v>-7.0562120822501278E-3</c:v>
                </c:pt>
                <c:pt idx="2609">
                  <c:v>-6.9739287572229127E-3</c:v>
                </c:pt>
                <c:pt idx="2610">
                  <c:v>-7.0560206637177297E-3</c:v>
                </c:pt>
                <c:pt idx="2611">
                  <c:v>-7.1200920592016242E-3</c:v>
                </c:pt>
                <c:pt idx="2612">
                  <c:v>-7.0753439604901228E-3</c:v>
                </c:pt>
                <c:pt idx="2613">
                  <c:v>-7.0295332579394711E-3</c:v>
                </c:pt>
                <c:pt idx="2614">
                  <c:v>-7.0161398509273687E-3</c:v>
                </c:pt>
                <c:pt idx="2615">
                  <c:v>-6.9439216191250607E-3</c:v>
                </c:pt>
                <c:pt idx="2616">
                  <c:v>-6.846290595976817E-3</c:v>
                </c:pt>
                <c:pt idx="2617">
                  <c:v>-6.777074814553293E-3</c:v>
                </c:pt>
                <c:pt idx="2618">
                  <c:v>-6.7734957785489892E-3</c:v>
                </c:pt>
                <c:pt idx="2619">
                  <c:v>-6.8573661408468309E-3</c:v>
                </c:pt>
                <c:pt idx="2620">
                  <c:v>-6.9472331820360899E-3</c:v>
                </c:pt>
                <c:pt idx="2621">
                  <c:v>-7.0519357260606843E-3</c:v>
                </c:pt>
                <c:pt idx="2622">
                  <c:v>-7.1573416755954869E-3</c:v>
                </c:pt>
                <c:pt idx="2623">
                  <c:v>-7.2805529268008037E-3</c:v>
                </c:pt>
                <c:pt idx="2624">
                  <c:v>-7.3883856433758725E-3</c:v>
                </c:pt>
                <c:pt idx="2625">
                  <c:v>-7.4061993130986586E-3</c:v>
                </c:pt>
                <c:pt idx="2626">
                  <c:v>-7.4543254172302039E-3</c:v>
                </c:pt>
                <c:pt idx="2627">
                  <c:v>-7.4390715345011684E-3</c:v>
                </c:pt>
                <c:pt idx="2628">
                  <c:v>-7.3246856782575986E-3</c:v>
                </c:pt>
                <c:pt idx="2629">
                  <c:v>-7.0688186396159949E-3</c:v>
                </c:pt>
                <c:pt idx="2630">
                  <c:v>-6.8511525456806509E-3</c:v>
                </c:pt>
                <c:pt idx="2631">
                  <c:v>-6.6653185164974177E-3</c:v>
                </c:pt>
                <c:pt idx="2632">
                  <c:v>-6.6158936705462785E-3</c:v>
                </c:pt>
                <c:pt idx="2633">
                  <c:v>-6.6078299726571414E-3</c:v>
                </c:pt>
                <c:pt idx="2634">
                  <c:v>-6.6106869632760797E-3</c:v>
                </c:pt>
                <c:pt idx="2635">
                  <c:v>-6.6677802293238237E-3</c:v>
                </c:pt>
                <c:pt idx="2636">
                  <c:v>-6.7547094039525539E-3</c:v>
                </c:pt>
                <c:pt idx="2637">
                  <c:v>-6.9503354539386421E-3</c:v>
                </c:pt>
                <c:pt idx="2638">
                  <c:v>-7.4909605844717623E-3</c:v>
                </c:pt>
                <c:pt idx="2639">
                  <c:v>-7.702362207468923E-3</c:v>
                </c:pt>
                <c:pt idx="2640">
                  <c:v>-7.7268657900688804E-3</c:v>
                </c:pt>
                <c:pt idx="2641">
                  <c:v>-7.7484848239007956E-3</c:v>
                </c:pt>
                <c:pt idx="2642">
                  <c:v>-7.8081596645171751E-3</c:v>
                </c:pt>
                <c:pt idx="2643">
                  <c:v>-7.872217052232261E-3</c:v>
                </c:pt>
                <c:pt idx="2644">
                  <c:v>-7.9042738306556639E-3</c:v>
                </c:pt>
                <c:pt idx="2645">
                  <c:v>-7.5464233140508409E-3</c:v>
                </c:pt>
                <c:pt idx="2646">
                  <c:v>-7.1081116667256368E-3</c:v>
                </c:pt>
                <c:pt idx="2647">
                  <c:v>-6.8089151579551078E-3</c:v>
                </c:pt>
                <c:pt idx="2648">
                  <c:v>-6.6986191960948923E-3</c:v>
                </c:pt>
                <c:pt idx="2649">
                  <c:v>-6.7063563949676663E-3</c:v>
                </c:pt>
                <c:pt idx="2650">
                  <c:v>-6.5986097952813738E-3</c:v>
                </c:pt>
                <c:pt idx="2651">
                  <c:v>-6.3397268570780825E-3</c:v>
                </c:pt>
                <c:pt idx="2652">
                  <c:v>-6.2423377735140442E-3</c:v>
                </c:pt>
                <c:pt idx="2653">
                  <c:v>-6.2373543227219556E-3</c:v>
                </c:pt>
                <c:pt idx="2654">
                  <c:v>-6.2996748353032648E-3</c:v>
                </c:pt>
                <c:pt idx="2655">
                  <c:v>-6.2746933596457216E-3</c:v>
                </c:pt>
                <c:pt idx="2656">
                  <c:v>-6.030612465864762E-3</c:v>
                </c:pt>
                <c:pt idx="2657">
                  <c:v>-5.7967429144738652E-3</c:v>
                </c:pt>
                <c:pt idx="2658">
                  <c:v>-5.5432834919527272E-3</c:v>
                </c:pt>
                <c:pt idx="2659">
                  <c:v>-5.4569342804371077E-3</c:v>
                </c:pt>
                <c:pt idx="2660">
                  <c:v>-5.4854980937351933E-3</c:v>
                </c:pt>
                <c:pt idx="2661">
                  <c:v>-5.5477581050713352E-3</c:v>
                </c:pt>
                <c:pt idx="2662">
                  <c:v>-5.3136297013366713E-3</c:v>
                </c:pt>
                <c:pt idx="2663">
                  <c:v>-5.0457685865022165E-3</c:v>
                </c:pt>
                <c:pt idx="2664">
                  <c:v>-4.9851698576758785E-3</c:v>
                </c:pt>
                <c:pt idx="2665">
                  <c:v>-4.9980282391017357E-3</c:v>
                </c:pt>
                <c:pt idx="2666">
                  <c:v>-5.0007028694684392E-3</c:v>
                </c:pt>
                <c:pt idx="2667">
                  <c:v>-4.9807456453526047E-3</c:v>
                </c:pt>
                <c:pt idx="2668">
                  <c:v>-4.9450219071053673E-3</c:v>
                </c:pt>
                <c:pt idx="2669">
                  <c:v>-4.9106239157412678E-3</c:v>
                </c:pt>
                <c:pt idx="2670">
                  <c:v>-4.7942467309553616E-3</c:v>
                </c:pt>
                <c:pt idx="2671">
                  <c:v>-4.5516235655048099E-3</c:v>
                </c:pt>
                <c:pt idx="2672">
                  <c:v>-4.4885452168527346E-3</c:v>
                </c:pt>
                <c:pt idx="2673">
                  <c:v>-4.3579109818305903E-3</c:v>
                </c:pt>
                <c:pt idx="2674">
                  <c:v>-4.2893771558924158E-3</c:v>
                </c:pt>
                <c:pt idx="2675">
                  <c:v>-4.446882740469834E-3</c:v>
                </c:pt>
                <c:pt idx="2676">
                  <c:v>-4.7159302848779842E-3</c:v>
                </c:pt>
                <c:pt idx="2677">
                  <c:v>-4.9603461553814482E-3</c:v>
                </c:pt>
                <c:pt idx="2678">
                  <c:v>-5.0691941120702116E-3</c:v>
                </c:pt>
                <c:pt idx="2679">
                  <c:v>-5.0154772159193076E-3</c:v>
                </c:pt>
                <c:pt idx="2680">
                  <c:v>-4.9550899514697001E-3</c:v>
                </c:pt>
                <c:pt idx="2681">
                  <c:v>-5.1083986127506663E-3</c:v>
                </c:pt>
                <c:pt idx="2682">
                  <c:v>-5.1603328184180028E-3</c:v>
                </c:pt>
                <c:pt idx="2683">
                  <c:v>-5.1788070255377123E-3</c:v>
                </c:pt>
                <c:pt idx="2684">
                  <c:v>-5.1598911215967134E-3</c:v>
                </c:pt>
                <c:pt idx="2685">
                  <c:v>-5.2354575771790361E-3</c:v>
                </c:pt>
                <c:pt idx="2686">
                  <c:v>-5.4744967118550703E-3</c:v>
                </c:pt>
                <c:pt idx="2687">
                  <c:v>-5.7017792417715339E-3</c:v>
                </c:pt>
                <c:pt idx="2688">
                  <c:v>-5.966077897118509E-3</c:v>
                </c:pt>
                <c:pt idx="2689">
                  <c:v>-6.2283658951343039E-3</c:v>
                </c:pt>
                <c:pt idx="2690">
                  <c:v>-6.3612079005394935E-3</c:v>
                </c:pt>
                <c:pt idx="2691">
                  <c:v>-6.5278396564917842E-3</c:v>
                </c:pt>
                <c:pt idx="2692">
                  <c:v>-6.8210722348257605E-3</c:v>
                </c:pt>
                <c:pt idx="2693">
                  <c:v>-7.1596073550854993E-3</c:v>
                </c:pt>
                <c:pt idx="2694">
                  <c:v>-7.271243681906397E-3</c:v>
                </c:pt>
                <c:pt idx="2695">
                  <c:v>-7.2289629176047225E-3</c:v>
                </c:pt>
                <c:pt idx="2696">
                  <c:v>-7.0848225441159252E-3</c:v>
                </c:pt>
                <c:pt idx="2697">
                  <c:v>-6.9455620017224839E-3</c:v>
                </c:pt>
                <c:pt idx="2698">
                  <c:v>-6.8960245030319743E-3</c:v>
                </c:pt>
                <c:pt idx="2699">
                  <c:v>-6.8617692837960841E-3</c:v>
                </c:pt>
                <c:pt idx="2700">
                  <c:v>-6.9208103764835764E-3</c:v>
                </c:pt>
                <c:pt idx="2701">
                  <c:v>-7.1566018802879938E-3</c:v>
                </c:pt>
                <c:pt idx="2702">
                  <c:v>-7.260029180438372E-3</c:v>
                </c:pt>
                <c:pt idx="2703">
                  <c:v>-7.386808239837366E-3</c:v>
                </c:pt>
                <c:pt idx="2704">
                  <c:v>-7.4138094547504235E-3</c:v>
                </c:pt>
                <c:pt idx="2705">
                  <c:v>-7.4404762039777944E-3</c:v>
                </c:pt>
                <c:pt idx="2706">
                  <c:v>-7.2080921048398687E-3</c:v>
                </c:pt>
                <c:pt idx="2707">
                  <c:v>-7.1647100060321291E-3</c:v>
                </c:pt>
                <c:pt idx="2708">
                  <c:v>-7.1908868871846665E-3</c:v>
                </c:pt>
                <c:pt idx="2709">
                  <c:v>-7.2330198539428724E-3</c:v>
                </c:pt>
                <c:pt idx="2710">
                  <c:v>-7.6053886951459957E-3</c:v>
                </c:pt>
                <c:pt idx="2711">
                  <c:v>-7.9325977134478177E-3</c:v>
                </c:pt>
                <c:pt idx="2712">
                  <c:v>-8.255191863573581E-3</c:v>
                </c:pt>
                <c:pt idx="2713">
                  <c:v>-8.421931051981052E-3</c:v>
                </c:pt>
                <c:pt idx="2714">
                  <c:v>-8.5554532170814893E-3</c:v>
                </c:pt>
                <c:pt idx="2715">
                  <c:v>-8.6050170127428584E-3</c:v>
                </c:pt>
                <c:pt idx="2716">
                  <c:v>-8.6137344474363758E-3</c:v>
                </c:pt>
                <c:pt idx="2717">
                  <c:v>-8.5749635944302859E-3</c:v>
                </c:pt>
                <c:pt idx="2718">
                  <c:v>-8.5262641061668518E-3</c:v>
                </c:pt>
                <c:pt idx="2719">
                  <c:v>-8.4760245142418058E-3</c:v>
                </c:pt>
                <c:pt idx="2720">
                  <c:v>-8.4420465239983533E-3</c:v>
                </c:pt>
                <c:pt idx="2721">
                  <c:v>-8.4117556466286793E-3</c:v>
                </c:pt>
                <c:pt idx="2722">
                  <c:v>-8.3865305563316783E-3</c:v>
                </c:pt>
                <c:pt idx="2723">
                  <c:v>-8.3747003220698904E-3</c:v>
                </c:pt>
                <c:pt idx="2724">
                  <c:v>-8.3974072196960053E-3</c:v>
                </c:pt>
                <c:pt idx="2725">
                  <c:v>-8.4759704346671523E-3</c:v>
                </c:pt>
                <c:pt idx="2726">
                  <c:v>-8.6187285560584588E-3</c:v>
                </c:pt>
                <c:pt idx="2727">
                  <c:v>-8.8353857555490481E-3</c:v>
                </c:pt>
                <c:pt idx="2728">
                  <c:v>-9.090228522970218E-3</c:v>
                </c:pt>
                <c:pt idx="2729">
                  <c:v>-9.283008293194981E-3</c:v>
                </c:pt>
                <c:pt idx="2730">
                  <c:v>-9.4416248963368511E-3</c:v>
                </c:pt>
                <c:pt idx="2731">
                  <c:v>-9.6035805624598292E-3</c:v>
                </c:pt>
                <c:pt idx="2732">
                  <c:v>-9.0969126342240244E-3</c:v>
                </c:pt>
                <c:pt idx="2733">
                  <c:v>-8.8714058442164144E-3</c:v>
                </c:pt>
                <c:pt idx="2734">
                  <c:v>-8.6332378301106957E-3</c:v>
                </c:pt>
                <c:pt idx="2735">
                  <c:v>-8.4338223825441098E-3</c:v>
                </c:pt>
                <c:pt idx="2736">
                  <c:v>-8.3970353573480875E-3</c:v>
                </c:pt>
                <c:pt idx="2737">
                  <c:v>-8.3817524095647529E-3</c:v>
                </c:pt>
                <c:pt idx="2738">
                  <c:v>-8.3807397330406524E-3</c:v>
                </c:pt>
                <c:pt idx="2739">
                  <c:v>-8.3953039836932915E-3</c:v>
                </c:pt>
                <c:pt idx="2740">
                  <c:v>-8.1774749559390039E-3</c:v>
                </c:pt>
                <c:pt idx="2741">
                  <c:v>-8.0252364386979302E-3</c:v>
                </c:pt>
                <c:pt idx="2742">
                  <c:v>-7.9289000707371583E-3</c:v>
                </c:pt>
                <c:pt idx="2743">
                  <c:v>-7.6626774260360212E-3</c:v>
                </c:pt>
                <c:pt idx="2744">
                  <c:v>-6.8357191550474806E-3</c:v>
                </c:pt>
                <c:pt idx="2745">
                  <c:v>-6.40910803279652E-3</c:v>
                </c:pt>
                <c:pt idx="2746">
                  <c:v>-6.1876640285870779E-3</c:v>
                </c:pt>
                <c:pt idx="2747">
                  <c:v>-6.083057438020947E-3</c:v>
                </c:pt>
                <c:pt idx="2748">
                  <c:v>-6.0821921713381227E-3</c:v>
                </c:pt>
                <c:pt idx="2749">
                  <c:v>-6.0849796948383829E-3</c:v>
                </c:pt>
                <c:pt idx="2750">
                  <c:v>-6.073321527946653E-3</c:v>
                </c:pt>
                <c:pt idx="2751">
                  <c:v>-6.0486838685707093E-3</c:v>
                </c:pt>
                <c:pt idx="2752">
                  <c:v>-6.0195660196751309E-3</c:v>
                </c:pt>
                <c:pt idx="2753">
                  <c:v>-5.9867279394336427E-3</c:v>
                </c:pt>
                <c:pt idx="2754">
                  <c:v>-5.9601273514059989E-3</c:v>
                </c:pt>
                <c:pt idx="2755">
                  <c:v>-5.13824841520824E-3</c:v>
                </c:pt>
                <c:pt idx="2756">
                  <c:v>-5.0996154959006695E-3</c:v>
                </c:pt>
                <c:pt idx="2757">
                  <c:v>-5.0727297612373247E-3</c:v>
                </c:pt>
                <c:pt idx="2758">
                  <c:v>-4.7641499863301708E-3</c:v>
                </c:pt>
                <c:pt idx="2759">
                  <c:v>-4.6397129681344683E-3</c:v>
                </c:pt>
                <c:pt idx="2760">
                  <c:v>-4.5823477402972641E-3</c:v>
                </c:pt>
                <c:pt idx="2761">
                  <c:v>-4.5556477216644169E-3</c:v>
                </c:pt>
                <c:pt idx="2762">
                  <c:v>-4.8580761828095412E-3</c:v>
                </c:pt>
                <c:pt idx="2763">
                  <c:v>-5.1145132476918057E-3</c:v>
                </c:pt>
                <c:pt idx="2764">
                  <c:v>-5.294623499822175E-3</c:v>
                </c:pt>
                <c:pt idx="2765">
                  <c:v>-5.4048943247852633E-3</c:v>
                </c:pt>
                <c:pt idx="2766">
                  <c:v>-5.3994474787007335E-3</c:v>
                </c:pt>
                <c:pt idx="2767">
                  <c:v>-5.3417921743415149E-3</c:v>
                </c:pt>
                <c:pt idx="2768">
                  <c:v>-5.2767347566590982E-3</c:v>
                </c:pt>
                <c:pt idx="2769">
                  <c:v>-5.2485886651009641E-3</c:v>
                </c:pt>
                <c:pt idx="2770">
                  <c:v>-5.4292839815247235E-3</c:v>
                </c:pt>
                <c:pt idx="2771">
                  <c:v>-5.6405171044384807E-3</c:v>
                </c:pt>
                <c:pt idx="2772">
                  <c:v>-5.8139220055835415E-3</c:v>
                </c:pt>
                <c:pt idx="2773">
                  <c:v>-5.7598019838287816E-3</c:v>
                </c:pt>
                <c:pt idx="2774">
                  <c:v>-6.0417251224638563E-3</c:v>
                </c:pt>
                <c:pt idx="2775">
                  <c:v>-6.2013157091410035E-3</c:v>
                </c:pt>
                <c:pt idx="2776">
                  <c:v>-6.2831543825318725E-3</c:v>
                </c:pt>
                <c:pt idx="2777">
                  <c:v>-6.3157430753909213E-3</c:v>
                </c:pt>
                <c:pt idx="2778">
                  <c:v>-6.2598826494229525E-3</c:v>
                </c:pt>
                <c:pt idx="2779">
                  <c:v>-6.1349113612537108E-3</c:v>
                </c:pt>
                <c:pt idx="2780">
                  <c:v>-6.0130570570473803E-3</c:v>
                </c:pt>
                <c:pt idx="2781">
                  <c:v>-5.8031730024994642E-3</c:v>
                </c:pt>
                <c:pt idx="2782">
                  <c:v>-5.129722450702737E-3</c:v>
                </c:pt>
                <c:pt idx="2783">
                  <c:v>-4.8753392364484149E-3</c:v>
                </c:pt>
                <c:pt idx="2784">
                  <c:v>-4.7752291649643822E-3</c:v>
                </c:pt>
                <c:pt idx="2785">
                  <c:v>-5.4218835144065336E-3</c:v>
                </c:pt>
                <c:pt idx="2786">
                  <c:v>-5.438807324590512E-3</c:v>
                </c:pt>
                <c:pt idx="2787">
                  <c:v>-5.4843719481627376E-3</c:v>
                </c:pt>
                <c:pt idx="2788">
                  <c:v>-5.9159850431413199E-3</c:v>
                </c:pt>
                <c:pt idx="2789">
                  <c:v>-6.0809759997792825E-3</c:v>
                </c:pt>
                <c:pt idx="2790">
                  <c:v>-6.1479615287175294E-3</c:v>
                </c:pt>
                <c:pt idx="2791">
                  <c:v>-6.1719993706667751E-3</c:v>
                </c:pt>
                <c:pt idx="2792">
                  <c:v>-6.1130447500769708E-3</c:v>
                </c:pt>
                <c:pt idx="2793">
                  <c:v>-5.6508768559546041E-3</c:v>
                </c:pt>
                <c:pt idx="2794">
                  <c:v>-5.6121014065908768E-3</c:v>
                </c:pt>
                <c:pt idx="2795">
                  <c:v>-5.5880868680295986E-3</c:v>
                </c:pt>
                <c:pt idx="2796">
                  <c:v>-5.6140873360342129E-3</c:v>
                </c:pt>
                <c:pt idx="2797">
                  <c:v>-5.679450019267708E-3</c:v>
                </c:pt>
                <c:pt idx="2798">
                  <c:v>-5.6993753534920451E-3</c:v>
                </c:pt>
                <c:pt idx="2799">
                  <c:v>-5.6603307960293647E-3</c:v>
                </c:pt>
                <c:pt idx="2800">
                  <c:v>-5.5799165403963621E-3</c:v>
                </c:pt>
                <c:pt idx="2801">
                  <c:v>-5.0047427828155498E-3</c:v>
                </c:pt>
                <c:pt idx="2802">
                  <c:v>-4.9756246142424248E-3</c:v>
                </c:pt>
                <c:pt idx="2803">
                  <c:v>-4.8692228466223394E-3</c:v>
                </c:pt>
                <c:pt idx="2804">
                  <c:v>-4.8991210578658538E-3</c:v>
                </c:pt>
                <c:pt idx="2805">
                  <c:v>-4.9664959060438767E-3</c:v>
                </c:pt>
                <c:pt idx="2806">
                  <c:v>-5.0080277382513038E-3</c:v>
                </c:pt>
                <c:pt idx="2807">
                  <c:v>-5.0443342966524415E-3</c:v>
                </c:pt>
                <c:pt idx="2808">
                  <c:v>-5.0616665873021473E-3</c:v>
                </c:pt>
                <c:pt idx="2809">
                  <c:v>-5.0801157588197116E-3</c:v>
                </c:pt>
                <c:pt idx="2810">
                  <c:v>-5.0815293749442462E-3</c:v>
                </c:pt>
                <c:pt idx="2811">
                  <c:v>-5.158957023171205E-3</c:v>
                </c:pt>
                <c:pt idx="2812">
                  <c:v>-5.7798234915729784E-3</c:v>
                </c:pt>
                <c:pt idx="2813">
                  <c:v>-6.1771214472681312E-3</c:v>
                </c:pt>
                <c:pt idx="2814">
                  <c:v>-6.4264614417624284E-3</c:v>
                </c:pt>
                <c:pt idx="2815">
                  <c:v>-6.6213243337503898E-3</c:v>
                </c:pt>
                <c:pt idx="2816">
                  <c:v>-6.6792756106854173E-3</c:v>
                </c:pt>
                <c:pt idx="2817">
                  <c:v>-6.625017485031969E-3</c:v>
                </c:pt>
                <c:pt idx="2818">
                  <c:v>-6.4293597365718668E-3</c:v>
                </c:pt>
                <c:pt idx="2819">
                  <c:v>-6.2675751431931249E-3</c:v>
                </c:pt>
                <c:pt idx="2820">
                  <c:v>-6.1735626176881849E-3</c:v>
                </c:pt>
                <c:pt idx="2821">
                  <c:v>-6.1149629617989996E-3</c:v>
                </c:pt>
                <c:pt idx="2822">
                  <c:v>-6.0636910374086018E-3</c:v>
                </c:pt>
                <c:pt idx="2823">
                  <c:v>-6.5482608164960541E-3</c:v>
                </c:pt>
                <c:pt idx="2824">
                  <c:v>-6.5231741157983809E-3</c:v>
                </c:pt>
                <c:pt idx="2825">
                  <c:v>-6.502317514229335E-3</c:v>
                </c:pt>
                <c:pt idx="2826">
                  <c:v>-6.4492985271634735E-3</c:v>
                </c:pt>
                <c:pt idx="2827">
                  <c:v>-6.2939798846278934E-3</c:v>
                </c:pt>
                <c:pt idx="2828">
                  <c:v>-6.2207977393994949E-3</c:v>
                </c:pt>
                <c:pt idx="2829">
                  <c:v>-6.1887734205817637E-3</c:v>
                </c:pt>
                <c:pt idx="2830">
                  <c:v>-6.0370763432963364E-3</c:v>
                </c:pt>
                <c:pt idx="2831">
                  <c:v>-6.5572538157589975E-3</c:v>
                </c:pt>
                <c:pt idx="2832">
                  <c:v>-6.5289866773668367E-3</c:v>
                </c:pt>
                <c:pt idx="2833">
                  <c:v>-6.9388094296646205E-3</c:v>
                </c:pt>
                <c:pt idx="2834">
                  <c:v>-7.1089056275399614E-3</c:v>
                </c:pt>
                <c:pt idx="2835">
                  <c:v>-7.1759259982434112E-3</c:v>
                </c:pt>
                <c:pt idx="2836">
                  <c:v>-7.2635312649065014E-3</c:v>
                </c:pt>
                <c:pt idx="2837">
                  <c:v>-7.3288620789705924E-3</c:v>
                </c:pt>
                <c:pt idx="2838">
                  <c:v>-7.4039872859305769E-3</c:v>
                </c:pt>
                <c:pt idx="2839">
                  <c:v>-7.4975476324030442E-3</c:v>
                </c:pt>
                <c:pt idx="2840">
                  <c:v>-7.4464810669709102E-3</c:v>
                </c:pt>
                <c:pt idx="2841">
                  <c:v>-7.5447407262087757E-3</c:v>
                </c:pt>
                <c:pt idx="2842">
                  <c:v>-7.7367840044308168E-3</c:v>
                </c:pt>
                <c:pt idx="2843">
                  <c:v>-7.9511395327847983E-3</c:v>
                </c:pt>
                <c:pt idx="2844">
                  <c:v>-8.1151247916735007E-3</c:v>
                </c:pt>
                <c:pt idx="2845">
                  <c:v>-8.2985634103903312E-3</c:v>
                </c:pt>
                <c:pt idx="2846">
                  <c:v>-8.392440536116489E-3</c:v>
                </c:pt>
                <c:pt idx="2847">
                  <c:v>-8.4228770169608412E-3</c:v>
                </c:pt>
                <c:pt idx="2848">
                  <c:v>-8.4938596079436289E-3</c:v>
                </c:pt>
                <c:pt idx="2849">
                  <c:v>-8.5666720967863055E-3</c:v>
                </c:pt>
                <c:pt idx="2850">
                  <c:v>-8.6285091125960396E-3</c:v>
                </c:pt>
                <c:pt idx="2851">
                  <c:v>-8.6952392680187032E-3</c:v>
                </c:pt>
                <c:pt idx="2852">
                  <c:v>-8.8887859385459421E-3</c:v>
                </c:pt>
                <c:pt idx="2853">
                  <c:v>-8.8792741768857313E-3</c:v>
                </c:pt>
                <c:pt idx="2854">
                  <c:v>-8.8836869521644636E-3</c:v>
                </c:pt>
                <c:pt idx="2855">
                  <c:v>-8.7926377808533306E-3</c:v>
                </c:pt>
                <c:pt idx="2856">
                  <c:v>-8.6939642987459501E-3</c:v>
                </c:pt>
                <c:pt idx="2857">
                  <c:v>-8.6539469742107598E-3</c:v>
                </c:pt>
                <c:pt idx="2858">
                  <c:v>-8.6327375181078098E-3</c:v>
                </c:pt>
                <c:pt idx="2859">
                  <c:v>-8.5771555219843199E-3</c:v>
                </c:pt>
                <c:pt idx="2860">
                  <c:v>-8.6625426050985568E-3</c:v>
                </c:pt>
                <c:pt idx="2861">
                  <c:v>-8.7710556421885816E-3</c:v>
                </c:pt>
                <c:pt idx="2862">
                  <c:v>-8.6708288255995698E-3</c:v>
                </c:pt>
                <c:pt idx="2863">
                  <c:v>-8.560107589536653E-3</c:v>
                </c:pt>
                <c:pt idx="2864">
                  <c:v>-8.4585497869612628E-3</c:v>
                </c:pt>
                <c:pt idx="2865">
                  <c:v>-8.3387263836072062E-3</c:v>
                </c:pt>
                <c:pt idx="2866">
                  <c:v>-8.2436517390763828E-3</c:v>
                </c:pt>
                <c:pt idx="2867">
                  <c:v>-8.1523449439936391E-3</c:v>
                </c:pt>
                <c:pt idx="2868">
                  <c:v>-8.0479836752494621E-3</c:v>
                </c:pt>
                <c:pt idx="2869">
                  <c:v>-7.9554003586914911E-3</c:v>
                </c:pt>
                <c:pt idx="2870">
                  <c:v>-8.3564304319521127E-3</c:v>
                </c:pt>
                <c:pt idx="2871">
                  <c:v>-8.728382215896488E-3</c:v>
                </c:pt>
                <c:pt idx="2872">
                  <c:v>-9.012117123425048E-3</c:v>
                </c:pt>
                <c:pt idx="2873">
                  <c:v>-9.1573068335576539E-3</c:v>
                </c:pt>
                <c:pt idx="2874">
                  <c:v>-9.1496521502163267E-3</c:v>
                </c:pt>
                <c:pt idx="2875">
                  <c:v>-9.1344694289429828E-3</c:v>
                </c:pt>
                <c:pt idx="2876">
                  <c:v>-9.143627025024581E-3</c:v>
                </c:pt>
                <c:pt idx="2877">
                  <c:v>-9.1563694912720657E-3</c:v>
                </c:pt>
                <c:pt idx="2878">
                  <c:v>-9.1811423798058428E-3</c:v>
                </c:pt>
                <c:pt idx="2879">
                  <c:v>-9.2637414950535388E-3</c:v>
                </c:pt>
                <c:pt idx="2880">
                  <c:v>-9.4296587675828866E-3</c:v>
                </c:pt>
                <c:pt idx="2881">
                  <c:v>-9.6424544734712136E-3</c:v>
                </c:pt>
                <c:pt idx="2882">
                  <c:v>-9.8597274554512795E-3</c:v>
                </c:pt>
                <c:pt idx="2883">
                  <c:v>-9.9550030106847227E-3</c:v>
                </c:pt>
                <c:pt idx="2884">
                  <c:v>-1.0060231481908613E-2</c:v>
                </c:pt>
                <c:pt idx="2885">
                  <c:v>-9.3225804160094253E-3</c:v>
                </c:pt>
                <c:pt idx="2886">
                  <c:v>-8.6189149984240779E-3</c:v>
                </c:pt>
                <c:pt idx="2887">
                  <c:v>-7.746421114145305E-3</c:v>
                </c:pt>
                <c:pt idx="2888">
                  <c:v>-7.3075046225525757E-3</c:v>
                </c:pt>
                <c:pt idx="2889">
                  <c:v>-7.171788589892915E-3</c:v>
                </c:pt>
                <c:pt idx="2890">
                  <c:v>-7.0448299892487114E-3</c:v>
                </c:pt>
                <c:pt idx="2891">
                  <c:v>-6.6822038246966385E-3</c:v>
                </c:pt>
                <c:pt idx="2892">
                  <c:v>-6.5184027601091193E-3</c:v>
                </c:pt>
                <c:pt idx="2893">
                  <c:v>-6.3571685983423044E-3</c:v>
                </c:pt>
                <c:pt idx="2894">
                  <c:v>-6.2939733471907124E-3</c:v>
                </c:pt>
                <c:pt idx="2895">
                  <c:v>-6.2381884947527947E-3</c:v>
                </c:pt>
                <c:pt idx="2896">
                  <c:v>-6.1680742537961498E-3</c:v>
                </c:pt>
                <c:pt idx="2897">
                  <c:v>-6.0172217852262969E-3</c:v>
                </c:pt>
                <c:pt idx="2898">
                  <c:v>-5.8998405759600487E-3</c:v>
                </c:pt>
                <c:pt idx="2899">
                  <c:v>-5.8103282928783388E-3</c:v>
                </c:pt>
                <c:pt idx="2900">
                  <c:v>-5.7877216388085946E-3</c:v>
                </c:pt>
                <c:pt idx="2901">
                  <c:v>-5.7805010290932794E-3</c:v>
                </c:pt>
                <c:pt idx="2902">
                  <c:v>-5.773489291755759E-3</c:v>
                </c:pt>
                <c:pt idx="2903">
                  <c:v>-5.7743056724797823E-3</c:v>
                </c:pt>
                <c:pt idx="2904">
                  <c:v>-5.7573790232633808E-3</c:v>
                </c:pt>
                <c:pt idx="2905">
                  <c:v>-5.747503041365877E-3</c:v>
                </c:pt>
                <c:pt idx="2906">
                  <c:v>-5.7231466491936703E-3</c:v>
                </c:pt>
                <c:pt idx="2907">
                  <c:v>-5.7193185242605058E-3</c:v>
                </c:pt>
                <c:pt idx="2908">
                  <c:v>-5.7342346561829217E-3</c:v>
                </c:pt>
                <c:pt idx="2909">
                  <c:v>-5.751461698762509E-3</c:v>
                </c:pt>
                <c:pt idx="2910">
                  <c:v>-5.7663896582756616E-3</c:v>
                </c:pt>
                <c:pt idx="2911">
                  <c:v>-5.8109205573868622E-3</c:v>
                </c:pt>
                <c:pt idx="2912">
                  <c:v>-5.8991901492283089E-3</c:v>
                </c:pt>
                <c:pt idx="2913">
                  <c:v>-5.9628170134331674E-3</c:v>
                </c:pt>
                <c:pt idx="2914">
                  <c:v>-6.0235938072730312E-3</c:v>
                </c:pt>
                <c:pt idx="2915">
                  <c:v>-6.1542100568667216E-3</c:v>
                </c:pt>
                <c:pt idx="2916">
                  <c:v>-6.4689516347019114E-3</c:v>
                </c:pt>
                <c:pt idx="2917">
                  <c:v>-7.018335351773727E-3</c:v>
                </c:pt>
                <c:pt idx="2918">
                  <c:v>-6.9933427353149093E-3</c:v>
                </c:pt>
                <c:pt idx="2919">
                  <c:v>-6.689791872107732E-3</c:v>
                </c:pt>
                <c:pt idx="2920">
                  <c:v>-6.6516466149896753E-3</c:v>
                </c:pt>
                <c:pt idx="2921">
                  <c:v>-6.9296896327773645E-3</c:v>
                </c:pt>
                <c:pt idx="2922">
                  <c:v>-7.094114414640698E-3</c:v>
                </c:pt>
                <c:pt idx="2923">
                  <c:v>-7.3550072287283351E-3</c:v>
                </c:pt>
                <c:pt idx="2924">
                  <c:v>-7.4012028143066681E-3</c:v>
                </c:pt>
                <c:pt idx="2925">
                  <c:v>-7.4459853584791843E-3</c:v>
                </c:pt>
                <c:pt idx="2926">
                  <c:v>-7.5047311965037843E-3</c:v>
                </c:pt>
                <c:pt idx="2927">
                  <c:v>-7.643210777880426E-3</c:v>
                </c:pt>
                <c:pt idx="2928">
                  <c:v>-7.7928328672257768E-3</c:v>
                </c:pt>
                <c:pt idx="2929">
                  <c:v>-7.9545715078872987E-3</c:v>
                </c:pt>
                <c:pt idx="2930">
                  <c:v>-8.0259084187410054E-3</c:v>
                </c:pt>
                <c:pt idx="2931">
                  <c:v>-8.0559941039205999E-3</c:v>
                </c:pt>
                <c:pt idx="2932">
                  <c:v>-8.0811077102184228E-3</c:v>
                </c:pt>
                <c:pt idx="2933">
                  <c:v>-8.13294409658415E-3</c:v>
                </c:pt>
                <c:pt idx="2934">
                  <c:v>-8.1949313060097131E-3</c:v>
                </c:pt>
                <c:pt idx="2935">
                  <c:v>-8.2523196802643129E-3</c:v>
                </c:pt>
                <c:pt idx="2936">
                  <c:v>-8.2890942419524428E-3</c:v>
                </c:pt>
                <c:pt idx="2937">
                  <c:v>-8.2987874113489568E-3</c:v>
                </c:pt>
                <c:pt idx="2938">
                  <c:v>-8.2754885840486403E-3</c:v>
                </c:pt>
                <c:pt idx="2939">
                  <c:v>-8.2739525832014743E-3</c:v>
                </c:pt>
                <c:pt idx="2940">
                  <c:v>-8.2372404241886701E-3</c:v>
                </c:pt>
                <c:pt idx="2941">
                  <c:v>-8.1518279474046898E-3</c:v>
                </c:pt>
                <c:pt idx="2942">
                  <c:v>-8.0428239789606375E-3</c:v>
                </c:pt>
                <c:pt idx="2943">
                  <c:v>-7.939575320871705E-3</c:v>
                </c:pt>
                <c:pt idx="2944">
                  <c:v>-7.8991542085278081E-3</c:v>
                </c:pt>
                <c:pt idx="2945">
                  <c:v>-7.3804566707374513E-3</c:v>
                </c:pt>
                <c:pt idx="2946">
                  <c:v>-7.0631374509517262E-3</c:v>
                </c:pt>
                <c:pt idx="2947">
                  <c:v>-6.9078845861140718E-3</c:v>
                </c:pt>
                <c:pt idx="2948">
                  <c:v>-7.186947622905256E-3</c:v>
                </c:pt>
                <c:pt idx="2949">
                  <c:v>-7.5837749745663961E-3</c:v>
                </c:pt>
                <c:pt idx="2950">
                  <c:v>-7.7058904042008394E-3</c:v>
                </c:pt>
                <c:pt idx="2951">
                  <c:v>-7.839435999685871E-3</c:v>
                </c:pt>
                <c:pt idx="2952">
                  <c:v>-7.9156106823113255E-3</c:v>
                </c:pt>
                <c:pt idx="2953">
                  <c:v>-7.8895309836866396E-3</c:v>
                </c:pt>
                <c:pt idx="2954">
                  <c:v>-7.8231108609344048E-3</c:v>
                </c:pt>
                <c:pt idx="2955">
                  <c:v>-7.7683300811643603E-3</c:v>
                </c:pt>
                <c:pt idx="2956">
                  <c:v>-7.6835881405058516E-3</c:v>
                </c:pt>
                <c:pt idx="2957">
                  <c:v>-7.5889868543473002E-3</c:v>
                </c:pt>
                <c:pt idx="2958">
                  <c:v>-7.3947645195910332E-3</c:v>
                </c:pt>
                <c:pt idx="2959">
                  <c:v>-7.1936645602419117E-3</c:v>
                </c:pt>
                <c:pt idx="2960">
                  <c:v>-7.0028917356067455E-3</c:v>
                </c:pt>
                <c:pt idx="2961">
                  <c:v>-6.8418894957512797E-3</c:v>
                </c:pt>
                <c:pt idx="2962">
                  <c:v>-6.7223922765034857E-3</c:v>
                </c:pt>
                <c:pt idx="2963">
                  <c:v>-6.6326900191162694E-3</c:v>
                </c:pt>
                <c:pt idx="2964">
                  <c:v>-6.6313205931542944E-3</c:v>
                </c:pt>
                <c:pt idx="2965">
                  <c:v>-6.6058801449613387E-3</c:v>
                </c:pt>
                <c:pt idx="2966">
                  <c:v>-6.6207396696796742E-3</c:v>
                </c:pt>
                <c:pt idx="2967">
                  <c:v>-6.6457684584189866E-3</c:v>
                </c:pt>
                <c:pt idx="2968">
                  <c:v>-5.9404612631061005E-3</c:v>
                </c:pt>
                <c:pt idx="2969">
                  <c:v>-5.3482389737301E-3</c:v>
                </c:pt>
                <c:pt idx="2970">
                  <c:v>-5.1040974822726326E-3</c:v>
                </c:pt>
                <c:pt idx="2971">
                  <c:v>-5.183487252327171E-3</c:v>
                </c:pt>
                <c:pt idx="2972">
                  <c:v>-5.2945444013020012E-3</c:v>
                </c:pt>
                <c:pt idx="2973">
                  <c:v>-5.4253299527990476E-3</c:v>
                </c:pt>
                <c:pt idx="2974">
                  <c:v>-5.4759041934900818E-3</c:v>
                </c:pt>
                <c:pt idx="2975">
                  <c:v>-5.7049484206854731E-3</c:v>
                </c:pt>
                <c:pt idx="2976">
                  <c:v>-5.8757833443733275E-3</c:v>
                </c:pt>
                <c:pt idx="2977">
                  <c:v>-5.9800240299166625E-3</c:v>
                </c:pt>
                <c:pt idx="2978">
                  <c:v>-6.0249974508166174E-3</c:v>
                </c:pt>
                <c:pt idx="2979">
                  <c:v>-5.983529755501437E-3</c:v>
                </c:pt>
                <c:pt idx="2980">
                  <c:v>-5.7384940774929255E-3</c:v>
                </c:pt>
                <c:pt idx="2981">
                  <c:v>-5.3014373840162849E-3</c:v>
                </c:pt>
                <c:pt idx="2982">
                  <c:v>-4.9825697708138468E-3</c:v>
                </c:pt>
                <c:pt idx="2983">
                  <c:v>-4.7762927611579402E-3</c:v>
                </c:pt>
                <c:pt idx="2984">
                  <c:v>-4.644932785741818E-3</c:v>
                </c:pt>
                <c:pt idx="2985">
                  <c:v>-4.5586037677761357E-3</c:v>
                </c:pt>
                <c:pt idx="2986">
                  <c:v>-4.5639975244458845E-3</c:v>
                </c:pt>
                <c:pt idx="2987">
                  <c:v>-4.5691326852091169E-3</c:v>
                </c:pt>
                <c:pt idx="2988">
                  <c:v>-4.5956255113554119E-3</c:v>
                </c:pt>
                <c:pt idx="2989">
                  <c:v>-4.6223392938422063E-3</c:v>
                </c:pt>
                <c:pt idx="2990">
                  <c:v>-4.6496438821584073E-3</c:v>
                </c:pt>
                <c:pt idx="2991">
                  <c:v>-4.7022226742127835E-3</c:v>
                </c:pt>
                <c:pt idx="2992">
                  <c:v>-4.7614589956243916E-3</c:v>
                </c:pt>
                <c:pt idx="2993">
                  <c:v>-4.5511459721040183E-3</c:v>
                </c:pt>
                <c:pt idx="2994">
                  <c:v>-4.5427721625876114E-3</c:v>
                </c:pt>
                <c:pt idx="2995">
                  <c:v>-4.5469044625220459E-3</c:v>
                </c:pt>
                <c:pt idx="2996">
                  <c:v>-4.5396556194607857E-3</c:v>
                </c:pt>
                <c:pt idx="2997">
                  <c:v>-4.3987338055874216E-3</c:v>
                </c:pt>
                <c:pt idx="2998">
                  <c:v>-4.8174995052198575E-3</c:v>
                </c:pt>
                <c:pt idx="2999">
                  <c:v>-5.354093159999772E-3</c:v>
                </c:pt>
                <c:pt idx="3000">
                  <c:v>-5.6449800090702081E-3</c:v>
                </c:pt>
                <c:pt idx="3001">
                  <c:v>-5.4429690012188451E-3</c:v>
                </c:pt>
                <c:pt idx="3002">
                  <c:v>-5.3659665169096017E-3</c:v>
                </c:pt>
                <c:pt idx="3003">
                  <c:v>-5.4050073195660506E-3</c:v>
                </c:pt>
                <c:pt idx="3004">
                  <c:v>-5.50466032316781E-3</c:v>
                </c:pt>
                <c:pt idx="3005">
                  <c:v>-4.9585365114664763E-3</c:v>
                </c:pt>
                <c:pt idx="3006">
                  <c:v>-4.8854642124739099E-3</c:v>
                </c:pt>
                <c:pt idx="3007">
                  <c:v>-4.9353918596886735E-3</c:v>
                </c:pt>
                <c:pt idx="3008">
                  <c:v>-5.0883469475189414E-3</c:v>
                </c:pt>
                <c:pt idx="3009">
                  <c:v>-5.2072517880749295E-3</c:v>
                </c:pt>
                <c:pt idx="3010">
                  <c:v>-5.3685482706814303E-3</c:v>
                </c:pt>
                <c:pt idx="3011">
                  <c:v>-5.6522514299182204E-3</c:v>
                </c:pt>
                <c:pt idx="3012">
                  <c:v>-5.9583603863619609E-3</c:v>
                </c:pt>
                <c:pt idx="3013">
                  <c:v>-6.2139397270528536E-3</c:v>
                </c:pt>
                <c:pt idx="3014">
                  <c:v>-6.4392639373248104E-3</c:v>
                </c:pt>
                <c:pt idx="3015">
                  <c:v>-6.591723212027889E-3</c:v>
                </c:pt>
                <c:pt idx="3016">
                  <c:v>-6.5259834088024493E-3</c:v>
                </c:pt>
                <c:pt idx="3017">
                  <c:v>-6.3767771485197106E-3</c:v>
                </c:pt>
                <c:pt idx="3018">
                  <c:v>-6.2718523297471129E-3</c:v>
                </c:pt>
                <c:pt idx="3019">
                  <c:v>-6.272703301628311E-3</c:v>
                </c:pt>
                <c:pt idx="3020">
                  <c:v>-6.299533474004671E-3</c:v>
                </c:pt>
                <c:pt idx="3021">
                  <c:v>-6.3039386967666186E-3</c:v>
                </c:pt>
                <c:pt idx="3022">
                  <c:v>-6.2780773631583315E-3</c:v>
                </c:pt>
                <c:pt idx="3023">
                  <c:v>-6.4611458899018108E-3</c:v>
                </c:pt>
                <c:pt idx="3024">
                  <c:v>-6.450328950037683E-3</c:v>
                </c:pt>
                <c:pt idx="3025">
                  <c:v>-6.4485886324407819E-3</c:v>
                </c:pt>
                <c:pt idx="3026">
                  <c:v>-6.4505299349380341E-3</c:v>
                </c:pt>
                <c:pt idx="3027">
                  <c:v>-6.5826205723310046E-3</c:v>
                </c:pt>
                <c:pt idx="3028">
                  <c:v>-6.7777491718920427E-3</c:v>
                </c:pt>
                <c:pt idx="3029">
                  <c:v>-7.0467039651996672E-3</c:v>
                </c:pt>
                <c:pt idx="3030">
                  <c:v>-7.4959754508454228E-3</c:v>
                </c:pt>
                <c:pt idx="3031">
                  <c:v>-8.1617703972110996E-3</c:v>
                </c:pt>
                <c:pt idx="3032">
                  <c:v>-8.7897593033350024E-3</c:v>
                </c:pt>
                <c:pt idx="3033">
                  <c:v>-8.7949320503308108E-3</c:v>
                </c:pt>
                <c:pt idx="3034">
                  <c:v>-8.8269980830076762E-3</c:v>
                </c:pt>
                <c:pt idx="3035">
                  <c:v>-9.7195801948128414E-3</c:v>
                </c:pt>
                <c:pt idx="3036">
                  <c:v>-9.8421471603759043E-3</c:v>
                </c:pt>
                <c:pt idx="3037">
                  <c:v>-9.7333057951655873E-3</c:v>
                </c:pt>
                <c:pt idx="3038">
                  <c:v>-9.6198761189634809E-3</c:v>
                </c:pt>
                <c:pt idx="3039">
                  <c:v>-9.5472975106115909E-3</c:v>
                </c:pt>
                <c:pt idx="3040">
                  <c:v>-9.2833243705559045E-3</c:v>
                </c:pt>
                <c:pt idx="3041">
                  <c:v>-8.9935234717882055E-3</c:v>
                </c:pt>
                <c:pt idx="3042">
                  <c:v>-8.8033711202393332E-3</c:v>
                </c:pt>
                <c:pt idx="3043">
                  <c:v>-8.7376655602846298E-3</c:v>
                </c:pt>
                <c:pt idx="3044">
                  <c:v>-8.7281540328182222E-3</c:v>
                </c:pt>
                <c:pt idx="3045">
                  <c:v>-8.7232776447720532E-3</c:v>
                </c:pt>
                <c:pt idx="3046">
                  <c:v>-8.7308685381528341E-3</c:v>
                </c:pt>
                <c:pt idx="3047">
                  <c:v>-8.7479721438799597E-3</c:v>
                </c:pt>
                <c:pt idx="3048">
                  <c:v>-8.7105432637659998E-3</c:v>
                </c:pt>
                <c:pt idx="3049">
                  <c:v>-8.6618673632803973E-3</c:v>
                </c:pt>
                <c:pt idx="3050">
                  <c:v>-8.6585308383434652E-3</c:v>
                </c:pt>
                <c:pt idx="3051">
                  <c:v>-8.6429455086592926E-3</c:v>
                </c:pt>
                <c:pt idx="3052">
                  <c:v>-8.6271709884571893E-3</c:v>
                </c:pt>
                <c:pt idx="3053">
                  <c:v>-8.6139999356898162E-3</c:v>
                </c:pt>
                <c:pt idx="3054">
                  <c:v>-8.5957925008863165E-3</c:v>
                </c:pt>
                <c:pt idx="3055">
                  <c:v>-8.5716126504523735E-3</c:v>
                </c:pt>
                <c:pt idx="3056">
                  <c:v>-8.5310284633439565E-3</c:v>
                </c:pt>
                <c:pt idx="3057">
                  <c:v>-8.4502793627227509E-3</c:v>
                </c:pt>
                <c:pt idx="3058">
                  <c:v>-8.3290449066074634E-3</c:v>
                </c:pt>
                <c:pt idx="3059">
                  <c:v>-8.223299157726266E-3</c:v>
                </c:pt>
                <c:pt idx="3060">
                  <c:v>-8.1554753339282658E-3</c:v>
                </c:pt>
                <c:pt idx="3061">
                  <c:v>-8.1234256315280938E-3</c:v>
                </c:pt>
                <c:pt idx="3062">
                  <c:v>-8.0797739405546552E-3</c:v>
                </c:pt>
                <c:pt idx="3063">
                  <c:v>-8.0187902876544051E-3</c:v>
                </c:pt>
                <c:pt idx="3064">
                  <c:v>-7.9291208212624083E-3</c:v>
                </c:pt>
                <c:pt idx="3065">
                  <c:v>-7.8564780292396507E-3</c:v>
                </c:pt>
                <c:pt idx="3066">
                  <c:v>-7.8178193466681874E-3</c:v>
                </c:pt>
                <c:pt idx="3067">
                  <c:v>-7.6298580645129191E-3</c:v>
                </c:pt>
                <c:pt idx="3068">
                  <c:v>-7.5171723540551384E-3</c:v>
                </c:pt>
                <c:pt idx="3069">
                  <c:v>-7.4927701294270708E-3</c:v>
                </c:pt>
                <c:pt idx="3070">
                  <c:v>-7.6360119662146429E-3</c:v>
                </c:pt>
                <c:pt idx="3071">
                  <c:v>-7.8149332756602442E-3</c:v>
                </c:pt>
                <c:pt idx="3072">
                  <c:v>-8.1582365194799167E-3</c:v>
                </c:pt>
                <c:pt idx="3073">
                  <c:v>-8.4318806410198475E-3</c:v>
                </c:pt>
                <c:pt idx="3074">
                  <c:v>-8.5753975430976851E-3</c:v>
                </c:pt>
                <c:pt idx="3075">
                  <c:v>-8.6957959145439363E-3</c:v>
                </c:pt>
                <c:pt idx="3076">
                  <c:v>-8.779074210218743E-3</c:v>
                </c:pt>
                <c:pt idx="3077">
                  <c:v>-8.8044215792208464E-3</c:v>
                </c:pt>
                <c:pt idx="3078">
                  <c:v>-8.7981556405274108E-3</c:v>
                </c:pt>
                <c:pt idx="3079">
                  <c:v>-8.8114665568694885E-3</c:v>
                </c:pt>
                <c:pt idx="3080">
                  <c:v>-8.8422600162283947E-3</c:v>
                </c:pt>
                <c:pt idx="3081">
                  <c:v>-8.8855760392366461E-3</c:v>
                </c:pt>
                <c:pt idx="3082">
                  <c:v>-8.9409137890977802E-3</c:v>
                </c:pt>
                <c:pt idx="3083">
                  <c:v>-8.9931607816633296E-3</c:v>
                </c:pt>
                <c:pt idx="3084">
                  <c:v>-9.0191182422108829E-3</c:v>
                </c:pt>
                <c:pt idx="3085">
                  <c:v>-9.0396760882042546E-3</c:v>
                </c:pt>
                <c:pt idx="3086">
                  <c:v>-9.0856899763765361E-3</c:v>
                </c:pt>
                <c:pt idx="3087">
                  <c:v>-9.1191364912438545E-3</c:v>
                </c:pt>
                <c:pt idx="3088">
                  <c:v>-9.0884840235104132E-3</c:v>
                </c:pt>
                <c:pt idx="3089">
                  <c:v>-8.9698395806238462E-3</c:v>
                </c:pt>
                <c:pt idx="3090">
                  <c:v>-8.954936556320979E-3</c:v>
                </c:pt>
                <c:pt idx="3091">
                  <c:v>-8.9353606645028571E-3</c:v>
                </c:pt>
                <c:pt idx="3092">
                  <c:v>-8.9368467683241005E-3</c:v>
                </c:pt>
                <c:pt idx="3093">
                  <c:v>-8.8548257942794861E-3</c:v>
                </c:pt>
                <c:pt idx="3094">
                  <c:v>-8.7147996790801763E-3</c:v>
                </c:pt>
                <c:pt idx="3095">
                  <c:v>-8.6707033017724977E-3</c:v>
                </c:pt>
                <c:pt idx="3096">
                  <c:v>-8.6289500926794264E-3</c:v>
                </c:pt>
                <c:pt idx="3097">
                  <c:v>-8.679992520994325E-3</c:v>
                </c:pt>
                <c:pt idx="3098">
                  <c:v>-8.6874543652854051E-3</c:v>
                </c:pt>
                <c:pt idx="3099">
                  <c:v>-8.6500834703519512E-3</c:v>
                </c:pt>
                <c:pt idx="3100">
                  <c:v>-8.6377110508836612E-3</c:v>
                </c:pt>
                <c:pt idx="3101">
                  <c:v>-8.7752346421942906E-3</c:v>
                </c:pt>
                <c:pt idx="3102">
                  <c:v>-8.3205989730808505E-3</c:v>
                </c:pt>
                <c:pt idx="3103">
                  <c:v>-7.902529170516738E-3</c:v>
                </c:pt>
                <c:pt idx="3104">
                  <c:v>-7.6161899292163954E-3</c:v>
                </c:pt>
                <c:pt idx="3105">
                  <c:v>-7.3793442527444126E-3</c:v>
                </c:pt>
                <c:pt idx="3106">
                  <c:v>-7.1864979911512999E-3</c:v>
                </c:pt>
                <c:pt idx="3107">
                  <c:v>-6.8044325721722731E-3</c:v>
                </c:pt>
                <c:pt idx="3108">
                  <c:v>-6.7386081096053631E-3</c:v>
                </c:pt>
                <c:pt idx="3109">
                  <c:v>-6.6876418976159393E-3</c:v>
                </c:pt>
                <c:pt idx="3110">
                  <c:v>-6.6421361434944367E-3</c:v>
                </c:pt>
                <c:pt idx="3111">
                  <c:v>-6.6197790678999497E-3</c:v>
                </c:pt>
                <c:pt idx="3112">
                  <c:v>-6.6124439371766566E-3</c:v>
                </c:pt>
                <c:pt idx="3113">
                  <c:v>-6.5897574479661502E-3</c:v>
                </c:pt>
                <c:pt idx="3114">
                  <c:v>-6.5572466694914025E-3</c:v>
                </c:pt>
                <c:pt idx="3115">
                  <c:v>-6.5247754924497633E-3</c:v>
                </c:pt>
                <c:pt idx="3116">
                  <c:v>-6.5063442660470063E-3</c:v>
                </c:pt>
                <c:pt idx="3117">
                  <c:v>-6.5257125684659491E-3</c:v>
                </c:pt>
                <c:pt idx="3118">
                  <c:v>-6.6100400204108598E-3</c:v>
                </c:pt>
                <c:pt idx="3119">
                  <c:v>-6.7807654802991089E-3</c:v>
                </c:pt>
                <c:pt idx="3120">
                  <c:v>-6.9064169342213013E-3</c:v>
                </c:pt>
                <c:pt idx="3121">
                  <c:v>-6.9831534823642629E-3</c:v>
                </c:pt>
                <c:pt idx="3122">
                  <c:v>-6.9582459430088568E-3</c:v>
                </c:pt>
                <c:pt idx="3123">
                  <c:v>-7.0173855293304667E-3</c:v>
                </c:pt>
                <c:pt idx="3124">
                  <c:v>-7.1404609172937162E-3</c:v>
                </c:pt>
                <c:pt idx="3125">
                  <c:v>-7.0637765032335329E-3</c:v>
                </c:pt>
                <c:pt idx="3126">
                  <c:v>-6.9763806738416048E-3</c:v>
                </c:pt>
                <c:pt idx="3127">
                  <c:v>-6.7877425205039692E-3</c:v>
                </c:pt>
                <c:pt idx="3128">
                  <c:v>-6.7559992862965129E-3</c:v>
                </c:pt>
                <c:pt idx="3129">
                  <c:v>-6.7213219639008824E-3</c:v>
                </c:pt>
                <c:pt idx="3130">
                  <c:v>-6.6897452052087619E-3</c:v>
                </c:pt>
                <c:pt idx="3131">
                  <c:v>-6.6923443283120922E-3</c:v>
                </c:pt>
                <c:pt idx="3132">
                  <c:v>-6.988358886628244E-3</c:v>
                </c:pt>
                <c:pt idx="3133">
                  <c:v>-7.3502042943103911E-3</c:v>
                </c:pt>
                <c:pt idx="3134">
                  <c:v>-7.651793632358829E-3</c:v>
                </c:pt>
                <c:pt idx="3135">
                  <c:v>-7.9269885473884725E-3</c:v>
                </c:pt>
                <c:pt idx="3136">
                  <c:v>-8.1648859689630801E-3</c:v>
                </c:pt>
                <c:pt idx="3137">
                  <c:v>-8.4117508132200945E-3</c:v>
                </c:pt>
                <c:pt idx="3138">
                  <c:v>-8.2625212890612525E-3</c:v>
                </c:pt>
                <c:pt idx="3139">
                  <c:v>-8.1862298338624059E-3</c:v>
                </c:pt>
                <c:pt idx="3140">
                  <c:v>-8.1722340900349556E-3</c:v>
                </c:pt>
                <c:pt idx="3141">
                  <c:v>-8.1412715848707094E-3</c:v>
                </c:pt>
                <c:pt idx="3142">
                  <c:v>-8.0755325933995134E-3</c:v>
                </c:pt>
                <c:pt idx="3143">
                  <c:v>-7.9626950338175413E-3</c:v>
                </c:pt>
                <c:pt idx="3144">
                  <c:v>-7.6693713104777454E-3</c:v>
                </c:pt>
                <c:pt idx="3145">
                  <c:v>-7.6248092670133157E-3</c:v>
                </c:pt>
                <c:pt idx="3146">
                  <c:v>-7.6133831305544774E-3</c:v>
                </c:pt>
                <c:pt idx="3147">
                  <c:v>-7.6052342990089858E-3</c:v>
                </c:pt>
                <c:pt idx="3148">
                  <c:v>-7.4059504455312375E-3</c:v>
                </c:pt>
                <c:pt idx="3149">
                  <c:v>-7.2500185356402305E-3</c:v>
                </c:pt>
                <c:pt idx="3150">
                  <c:v>-7.1474985262435058E-3</c:v>
                </c:pt>
                <c:pt idx="3151">
                  <c:v>-7.0800746506248756E-3</c:v>
                </c:pt>
                <c:pt idx="3152">
                  <c:v>-7.0405445999287188E-3</c:v>
                </c:pt>
                <c:pt idx="3153">
                  <c:v>-7.0548411219968016E-3</c:v>
                </c:pt>
                <c:pt idx="3154">
                  <c:v>-7.0905542696824099E-3</c:v>
                </c:pt>
                <c:pt idx="3155">
                  <c:v>-7.1729082160798142E-3</c:v>
                </c:pt>
                <c:pt idx="3156">
                  <c:v>-7.300737213293061E-3</c:v>
                </c:pt>
                <c:pt idx="3157">
                  <c:v>-7.4325787909316262E-3</c:v>
                </c:pt>
                <c:pt idx="3158">
                  <c:v>-7.4456639940327952E-3</c:v>
                </c:pt>
                <c:pt idx="3159">
                  <c:v>-7.4558787567907698E-3</c:v>
                </c:pt>
                <c:pt idx="3160">
                  <c:v>-7.471837979261764E-3</c:v>
                </c:pt>
                <c:pt idx="3161">
                  <c:v>-7.4144427610786223E-3</c:v>
                </c:pt>
                <c:pt idx="3162">
                  <c:v>-7.3442295968617899E-3</c:v>
                </c:pt>
                <c:pt idx="3163">
                  <c:v>-7.3006087497675112E-3</c:v>
                </c:pt>
                <c:pt idx="3164">
                  <c:v>-7.2984912080070775E-3</c:v>
                </c:pt>
                <c:pt idx="3165">
                  <c:v>-7.3278826833211574E-3</c:v>
                </c:pt>
                <c:pt idx="3166">
                  <c:v>-7.3811646704884572E-3</c:v>
                </c:pt>
                <c:pt idx="3167">
                  <c:v>-7.4105818757236337E-3</c:v>
                </c:pt>
                <c:pt idx="3168">
                  <c:v>-7.4302856972198357E-3</c:v>
                </c:pt>
                <c:pt idx="3169">
                  <c:v>-7.4508143956250831E-3</c:v>
                </c:pt>
                <c:pt idx="3170">
                  <c:v>-7.4828191215323943E-3</c:v>
                </c:pt>
                <c:pt idx="3171">
                  <c:v>-7.5428799273708682E-3</c:v>
                </c:pt>
                <c:pt idx="3172">
                  <c:v>-7.6915488276341343E-3</c:v>
                </c:pt>
                <c:pt idx="3173">
                  <c:v>-7.9505388493408668E-3</c:v>
                </c:pt>
                <c:pt idx="3174">
                  <c:v>-8.6761584755541618E-3</c:v>
                </c:pt>
                <c:pt idx="3175">
                  <c:v>-9.1227204626881647E-3</c:v>
                </c:pt>
                <c:pt idx="3176">
                  <c:v>-9.416822608988365E-3</c:v>
                </c:pt>
                <c:pt idx="3177">
                  <c:v>-9.5475210540222431E-3</c:v>
                </c:pt>
                <c:pt idx="3178">
                  <c:v>-8.9133589279779303E-3</c:v>
                </c:pt>
                <c:pt idx="3179">
                  <c:v>-8.9211253300365591E-3</c:v>
                </c:pt>
                <c:pt idx="3180">
                  <c:v>-8.829832960779287E-3</c:v>
                </c:pt>
                <c:pt idx="3181">
                  <c:v>-8.2398360277379443E-3</c:v>
                </c:pt>
                <c:pt idx="3182">
                  <c:v>-7.3841894886672683E-3</c:v>
                </c:pt>
                <c:pt idx="3183">
                  <c:v>-6.7306951682114622E-3</c:v>
                </c:pt>
                <c:pt idx="3184">
                  <c:v>-6.3458340435961925E-3</c:v>
                </c:pt>
                <c:pt idx="3185">
                  <c:v>-6.1067311965602731E-3</c:v>
                </c:pt>
                <c:pt idx="3186">
                  <c:v>-5.961610553829196E-3</c:v>
                </c:pt>
                <c:pt idx="3187">
                  <c:v>-5.842023854127517E-3</c:v>
                </c:pt>
                <c:pt idx="3188">
                  <c:v>-5.7480957878755573E-3</c:v>
                </c:pt>
                <c:pt idx="3189">
                  <c:v>-5.6681643089638561E-3</c:v>
                </c:pt>
                <c:pt idx="3190">
                  <c:v>-5.6203894836139396E-3</c:v>
                </c:pt>
                <c:pt idx="3191">
                  <c:v>-5.6253736805649546E-3</c:v>
                </c:pt>
                <c:pt idx="3192">
                  <c:v>-5.6562207214206359E-3</c:v>
                </c:pt>
                <c:pt idx="3193">
                  <c:v>-5.6963567963357106E-3</c:v>
                </c:pt>
                <c:pt idx="3194">
                  <c:v>-5.7230826595542758E-3</c:v>
                </c:pt>
                <c:pt idx="3195">
                  <c:v>-5.7443033830444547E-3</c:v>
                </c:pt>
                <c:pt idx="3196">
                  <c:v>-5.7497960559837347E-3</c:v>
                </c:pt>
                <c:pt idx="3197">
                  <c:v>-5.7498796210015482E-3</c:v>
                </c:pt>
                <c:pt idx="3198">
                  <c:v>-5.7194067434325393E-3</c:v>
                </c:pt>
                <c:pt idx="3199">
                  <c:v>-5.7000068069507012E-3</c:v>
                </c:pt>
                <c:pt idx="3200">
                  <c:v>-5.6746077770997733E-3</c:v>
                </c:pt>
                <c:pt idx="3201">
                  <c:v>-5.6464240836016514E-3</c:v>
                </c:pt>
                <c:pt idx="3202">
                  <c:v>-5.6163126070846135E-3</c:v>
                </c:pt>
                <c:pt idx="3203">
                  <c:v>-5.548795706413907E-3</c:v>
                </c:pt>
                <c:pt idx="3204">
                  <c:v>-5.4852143008958971E-3</c:v>
                </c:pt>
                <c:pt idx="3205">
                  <c:v>-5.4174393546664789E-3</c:v>
                </c:pt>
                <c:pt idx="3206">
                  <c:v>-5.3608186582559765E-3</c:v>
                </c:pt>
                <c:pt idx="3207">
                  <c:v>-5.2061834872669677E-3</c:v>
                </c:pt>
                <c:pt idx="3208">
                  <c:v>-5.204264997887096E-3</c:v>
                </c:pt>
                <c:pt idx="3209">
                  <c:v>-4.967561273120054E-3</c:v>
                </c:pt>
                <c:pt idx="3210">
                  <c:v>-4.783225339525108E-3</c:v>
                </c:pt>
                <c:pt idx="3211">
                  <c:v>-4.8635259536822526E-3</c:v>
                </c:pt>
                <c:pt idx="3212">
                  <c:v>-5.269048882977005E-3</c:v>
                </c:pt>
                <c:pt idx="3213">
                  <c:v>-5.8142730973085536E-3</c:v>
                </c:pt>
                <c:pt idx="3214">
                  <c:v>-6.3815478783552249E-3</c:v>
                </c:pt>
                <c:pt idx="3215">
                  <c:v>-6.9279512720024448E-3</c:v>
                </c:pt>
                <c:pt idx="3216">
                  <c:v>-7.4406957219638773E-3</c:v>
                </c:pt>
                <c:pt idx="3217">
                  <c:v>-7.226950059311333E-3</c:v>
                </c:pt>
                <c:pt idx="3218">
                  <c:v>-6.6958652910165291E-3</c:v>
                </c:pt>
                <c:pt idx="3219">
                  <c:v>-6.3987741306514518E-3</c:v>
                </c:pt>
                <c:pt idx="3220">
                  <c:v>-6.2382549628861167E-3</c:v>
                </c:pt>
                <c:pt idx="3221">
                  <c:v>-5.6241619770840655E-3</c:v>
                </c:pt>
                <c:pt idx="3222">
                  <c:v>-5.6046552327590204E-3</c:v>
                </c:pt>
                <c:pt idx="3223">
                  <c:v>-5.5934401863756136E-3</c:v>
                </c:pt>
                <c:pt idx="3224">
                  <c:v>-5.6101382172645212E-3</c:v>
                </c:pt>
                <c:pt idx="3225">
                  <c:v>-5.6399996884067497E-3</c:v>
                </c:pt>
                <c:pt idx="3226">
                  <c:v>-5.6714197206125493E-3</c:v>
                </c:pt>
                <c:pt idx="3227">
                  <c:v>-5.6891280224278052E-3</c:v>
                </c:pt>
                <c:pt idx="3228">
                  <c:v>-5.6370881539205431E-3</c:v>
                </c:pt>
                <c:pt idx="3229">
                  <c:v>-5.5518365261416781E-3</c:v>
                </c:pt>
                <c:pt idx="3230">
                  <c:v>-5.4856586360013723E-3</c:v>
                </c:pt>
                <c:pt idx="3231">
                  <c:v>-4.7890076506519712E-3</c:v>
                </c:pt>
                <c:pt idx="3232">
                  <c:v>-4.7283259263874219E-3</c:v>
                </c:pt>
                <c:pt idx="3233">
                  <c:v>-4.6580385825717805E-3</c:v>
                </c:pt>
                <c:pt idx="3234">
                  <c:v>-4.6357006094685672E-3</c:v>
                </c:pt>
                <c:pt idx="3235">
                  <c:v>-4.6385103525530503E-3</c:v>
                </c:pt>
                <c:pt idx="3236">
                  <c:v>-4.6285733078876862E-3</c:v>
                </c:pt>
                <c:pt idx="3237">
                  <c:v>-4.6277529154505389E-3</c:v>
                </c:pt>
                <c:pt idx="3238">
                  <c:v>-4.6458883645038272E-3</c:v>
                </c:pt>
                <c:pt idx="3239">
                  <c:v>-4.6923643650126131E-3</c:v>
                </c:pt>
                <c:pt idx="3240">
                  <c:v>-4.7463742786303473E-3</c:v>
                </c:pt>
                <c:pt idx="3241">
                  <c:v>-4.7961877603909537E-3</c:v>
                </c:pt>
                <c:pt idx="3242">
                  <c:v>-4.8224426120104403E-3</c:v>
                </c:pt>
                <c:pt idx="3243">
                  <c:v>-4.7916562763866879E-3</c:v>
                </c:pt>
                <c:pt idx="3244">
                  <c:v>-4.7155763449987578E-3</c:v>
                </c:pt>
                <c:pt idx="3245">
                  <c:v>-4.263167039897358E-3</c:v>
                </c:pt>
                <c:pt idx="3246">
                  <c:v>-3.7904070297643307E-3</c:v>
                </c:pt>
                <c:pt idx="3247">
                  <c:v>-3.594420603345928E-3</c:v>
                </c:pt>
                <c:pt idx="3248">
                  <c:v>-3.4184356992132004E-3</c:v>
                </c:pt>
                <c:pt idx="3249">
                  <c:v>-3.2698937870069469E-3</c:v>
                </c:pt>
                <c:pt idx="3250">
                  <c:v>-3.3085305629108018E-3</c:v>
                </c:pt>
                <c:pt idx="3251">
                  <c:v>-3.4768488160094955E-3</c:v>
                </c:pt>
                <c:pt idx="3252">
                  <c:v>-3.5158998852837832E-3</c:v>
                </c:pt>
                <c:pt idx="3253">
                  <c:v>-3.5897760214829467E-3</c:v>
                </c:pt>
                <c:pt idx="3254">
                  <c:v>-3.6695860298782672E-3</c:v>
                </c:pt>
                <c:pt idx="3255">
                  <c:v>-3.7278118000571778E-3</c:v>
                </c:pt>
                <c:pt idx="3256">
                  <c:v>-3.7777862924894528E-3</c:v>
                </c:pt>
                <c:pt idx="3257">
                  <c:v>-3.8102154386595744E-3</c:v>
                </c:pt>
                <c:pt idx="3258">
                  <c:v>-3.8530463294303673E-3</c:v>
                </c:pt>
                <c:pt idx="3259">
                  <c:v>-3.9194613973761224E-3</c:v>
                </c:pt>
                <c:pt idx="3260">
                  <c:v>-4.007605057159299E-3</c:v>
                </c:pt>
                <c:pt idx="3261">
                  <c:v>-4.1781141032411293E-3</c:v>
                </c:pt>
                <c:pt idx="3262">
                  <c:v>-4.2447759211946181E-3</c:v>
                </c:pt>
                <c:pt idx="3263">
                  <c:v>-4.6025491134957354E-3</c:v>
                </c:pt>
                <c:pt idx="3264">
                  <c:v>-4.8779200561272764E-3</c:v>
                </c:pt>
                <c:pt idx="3265">
                  <c:v>-4.1832915031562584E-3</c:v>
                </c:pt>
                <c:pt idx="3266">
                  <c:v>-3.7234447113717456E-3</c:v>
                </c:pt>
                <c:pt idx="3267">
                  <c:v>-3.3857788275218816E-3</c:v>
                </c:pt>
                <c:pt idx="3268">
                  <c:v>-3.1797907959627125E-3</c:v>
                </c:pt>
                <c:pt idx="3269">
                  <c:v>-2.9871973379088333E-3</c:v>
                </c:pt>
                <c:pt idx="3270">
                  <c:v>-2.8793984787550599E-3</c:v>
                </c:pt>
                <c:pt idx="3271">
                  <c:v>-2.8844211139819782E-3</c:v>
                </c:pt>
                <c:pt idx="3272">
                  <c:v>-2.9381623182679339E-3</c:v>
                </c:pt>
                <c:pt idx="3273">
                  <c:v>-3.1063904857429152E-3</c:v>
                </c:pt>
                <c:pt idx="3274">
                  <c:v>-3.2935316653515019E-3</c:v>
                </c:pt>
                <c:pt idx="3275">
                  <c:v>-3.6538800775958724E-3</c:v>
                </c:pt>
                <c:pt idx="3276">
                  <c:v>-3.9660574073385677E-3</c:v>
                </c:pt>
                <c:pt idx="3277">
                  <c:v>-4.3276633858748345E-3</c:v>
                </c:pt>
                <c:pt idx="3278">
                  <c:v>-4.870046930189097E-3</c:v>
                </c:pt>
                <c:pt idx="3279">
                  <c:v>-5.4235279709975714E-3</c:v>
                </c:pt>
                <c:pt idx="3280">
                  <c:v>-5.8661893559711301E-3</c:v>
                </c:pt>
                <c:pt idx="3281">
                  <c:v>-5.7995327124031951E-3</c:v>
                </c:pt>
                <c:pt idx="3282">
                  <c:v>-5.8104842848795994E-3</c:v>
                </c:pt>
                <c:pt idx="3283">
                  <c:v>-5.8524563740560507E-3</c:v>
                </c:pt>
                <c:pt idx="3284">
                  <c:v>-5.8787490408483221E-3</c:v>
                </c:pt>
                <c:pt idx="3285">
                  <c:v>-5.9528980361333158E-3</c:v>
                </c:pt>
                <c:pt idx="3286">
                  <c:v>-6.0690263367174976E-3</c:v>
                </c:pt>
                <c:pt idx="3287">
                  <c:v>-6.0545791583995999E-3</c:v>
                </c:pt>
                <c:pt idx="3288">
                  <c:v>-5.8866742899477895E-3</c:v>
                </c:pt>
                <c:pt idx="3289">
                  <c:v>-5.8885370248049455E-3</c:v>
                </c:pt>
                <c:pt idx="3290">
                  <c:v>-5.9781888959578007E-3</c:v>
                </c:pt>
                <c:pt idx="3291">
                  <c:v>-6.0576594184193339E-3</c:v>
                </c:pt>
                <c:pt idx="3292">
                  <c:v>-5.9626751501660451E-3</c:v>
                </c:pt>
                <c:pt idx="3293">
                  <c:v>-5.6876607915702171E-3</c:v>
                </c:pt>
                <c:pt idx="3294">
                  <c:v>-5.6869382186921207E-3</c:v>
                </c:pt>
                <c:pt idx="3295">
                  <c:v>-6.2650609391625995E-3</c:v>
                </c:pt>
                <c:pt idx="3296">
                  <c:v>-6.7485070285121214E-3</c:v>
                </c:pt>
                <c:pt idx="3297">
                  <c:v>-7.0802476859073678E-3</c:v>
                </c:pt>
                <c:pt idx="3298">
                  <c:v>-7.2828170368277965E-3</c:v>
                </c:pt>
                <c:pt idx="3299">
                  <c:v>-7.5123543877262475E-3</c:v>
                </c:pt>
                <c:pt idx="3300">
                  <c:v>-7.6306741661682958E-3</c:v>
                </c:pt>
                <c:pt idx="3301">
                  <c:v>-7.5916064634509112E-3</c:v>
                </c:pt>
                <c:pt idx="3302">
                  <c:v>-7.5483935412592037E-3</c:v>
                </c:pt>
                <c:pt idx="3303">
                  <c:v>-7.4996209912375593E-3</c:v>
                </c:pt>
                <c:pt idx="3304">
                  <c:v>-7.4686096578294153E-3</c:v>
                </c:pt>
                <c:pt idx="3305">
                  <c:v>-7.1986712584014541E-3</c:v>
                </c:pt>
                <c:pt idx="3306">
                  <c:v>-6.9292867875913938E-3</c:v>
                </c:pt>
                <c:pt idx="3307">
                  <c:v>-6.8374672531653748E-3</c:v>
                </c:pt>
                <c:pt idx="3308">
                  <c:v>-6.7579484440115321E-3</c:v>
                </c:pt>
                <c:pt idx="3309">
                  <c:v>-6.6636616985541689E-3</c:v>
                </c:pt>
                <c:pt idx="3310">
                  <c:v>-6.6076906359471832E-3</c:v>
                </c:pt>
                <c:pt idx="3311">
                  <c:v>-6.5414145748796098E-3</c:v>
                </c:pt>
                <c:pt idx="3312">
                  <c:v>-6.5127003702206837E-3</c:v>
                </c:pt>
                <c:pt idx="3313">
                  <c:v>-6.4792310223443159E-3</c:v>
                </c:pt>
                <c:pt idx="3314">
                  <c:v>-6.4596890972238724E-3</c:v>
                </c:pt>
                <c:pt idx="3315">
                  <c:v>-6.4221376407311067E-3</c:v>
                </c:pt>
                <c:pt idx="3316">
                  <c:v>-6.362115088344107E-3</c:v>
                </c:pt>
                <c:pt idx="3317">
                  <c:v>-6.5503343016449249E-3</c:v>
                </c:pt>
                <c:pt idx="3318">
                  <c:v>-7.0550416443961881E-3</c:v>
                </c:pt>
                <c:pt idx="3319">
                  <c:v>-7.3326660359783399E-3</c:v>
                </c:pt>
                <c:pt idx="3320">
                  <c:v>-7.3760662628373653E-3</c:v>
                </c:pt>
                <c:pt idx="3321">
                  <c:v>-7.3566772535957579E-3</c:v>
                </c:pt>
                <c:pt idx="3322">
                  <c:v>-7.2510566254196029E-3</c:v>
                </c:pt>
                <c:pt idx="3323">
                  <c:v>-7.3143339919525359E-3</c:v>
                </c:pt>
                <c:pt idx="3324">
                  <c:v>-7.2814691183651107E-3</c:v>
                </c:pt>
                <c:pt idx="3325">
                  <c:v>-7.1894319007290968E-3</c:v>
                </c:pt>
                <c:pt idx="3326">
                  <c:v>-7.0956708413245509E-3</c:v>
                </c:pt>
                <c:pt idx="3327">
                  <c:v>-7.0157076842827445E-3</c:v>
                </c:pt>
                <c:pt idx="3328">
                  <c:v>-6.9665743366479956E-3</c:v>
                </c:pt>
                <c:pt idx="3329">
                  <c:v>-6.9230922510996919E-3</c:v>
                </c:pt>
                <c:pt idx="3330">
                  <c:v>-6.8823804819145729E-3</c:v>
                </c:pt>
                <c:pt idx="3331">
                  <c:v>-6.8581977061224495E-3</c:v>
                </c:pt>
                <c:pt idx="3332">
                  <c:v>-6.8376924379190442E-3</c:v>
                </c:pt>
                <c:pt idx="3333">
                  <c:v>-6.8058990810426533E-3</c:v>
                </c:pt>
                <c:pt idx="3334">
                  <c:v>-6.7865848006640923E-3</c:v>
                </c:pt>
                <c:pt idx="3335">
                  <c:v>-7.0175720413772971E-3</c:v>
                </c:pt>
                <c:pt idx="3336">
                  <c:v>-7.2994829639190274E-3</c:v>
                </c:pt>
                <c:pt idx="3337">
                  <c:v>-7.3080278796327468E-3</c:v>
                </c:pt>
                <c:pt idx="3338">
                  <c:v>-7.3115905897341658E-3</c:v>
                </c:pt>
                <c:pt idx="3339">
                  <c:v>-7.4347855474973315E-3</c:v>
                </c:pt>
                <c:pt idx="3340">
                  <c:v>-7.5599970878496466E-3</c:v>
                </c:pt>
                <c:pt idx="3341">
                  <c:v>-7.6915497686475837E-3</c:v>
                </c:pt>
                <c:pt idx="3342">
                  <c:v>-7.7039179470826209E-3</c:v>
                </c:pt>
                <c:pt idx="3343">
                  <c:v>-7.7094199406656273E-3</c:v>
                </c:pt>
                <c:pt idx="3344">
                  <c:v>-7.6814736764963549E-3</c:v>
                </c:pt>
                <c:pt idx="3345">
                  <c:v>-7.6530702741024817E-3</c:v>
                </c:pt>
                <c:pt idx="3346">
                  <c:v>-7.6244329130920651E-3</c:v>
                </c:pt>
                <c:pt idx="3347">
                  <c:v>-7.5989880143477878E-3</c:v>
                </c:pt>
                <c:pt idx="3348">
                  <c:v>-7.5860816019470154E-3</c:v>
                </c:pt>
                <c:pt idx="3349">
                  <c:v>-7.5692476717333142E-3</c:v>
                </c:pt>
                <c:pt idx="3350">
                  <c:v>-7.5564229028585441E-3</c:v>
                </c:pt>
                <c:pt idx="3351">
                  <c:v>-7.5681184966799684E-3</c:v>
                </c:pt>
                <c:pt idx="3352">
                  <c:v>-7.8666403487465918E-3</c:v>
                </c:pt>
                <c:pt idx="3353">
                  <c:v>-8.2092847918137004E-3</c:v>
                </c:pt>
                <c:pt idx="3354">
                  <c:v>-8.3716969145919088E-3</c:v>
                </c:pt>
                <c:pt idx="3355">
                  <c:v>-8.3763033195724604E-3</c:v>
                </c:pt>
                <c:pt idx="3356">
                  <c:v>-8.3777043955989804E-3</c:v>
                </c:pt>
                <c:pt idx="3357">
                  <c:v>-8.3604250806280714E-3</c:v>
                </c:pt>
                <c:pt idx="3358">
                  <c:v>-8.2729159094257036E-3</c:v>
                </c:pt>
                <c:pt idx="3359">
                  <c:v>-8.18550183359152E-3</c:v>
                </c:pt>
                <c:pt idx="3360">
                  <c:v>-8.1406484506512736E-3</c:v>
                </c:pt>
                <c:pt idx="3361">
                  <c:v>-7.9971225593018849E-3</c:v>
                </c:pt>
                <c:pt idx="3362">
                  <c:v>-7.7726702653996812E-3</c:v>
                </c:pt>
                <c:pt idx="3363">
                  <c:v>-7.5878114986808742E-3</c:v>
                </c:pt>
                <c:pt idx="3364">
                  <c:v>-7.4665522790017726E-3</c:v>
                </c:pt>
                <c:pt idx="3365">
                  <c:v>-7.3777677343315525E-3</c:v>
                </c:pt>
                <c:pt idx="3366">
                  <c:v>-7.415234571196712E-3</c:v>
                </c:pt>
                <c:pt idx="3367">
                  <c:v>-7.4422186878645782E-3</c:v>
                </c:pt>
                <c:pt idx="3368">
                  <c:v>-7.5163927332267616E-3</c:v>
                </c:pt>
                <c:pt idx="3369">
                  <c:v>-7.5023923647347356E-3</c:v>
                </c:pt>
                <c:pt idx="3370">
                  <c:v>-7.4811450608976392E-3</c:v>
                </c:pt>
                <c:pt idx="3371">
                  <c:v>-7.4552644674106836E-3</c:v>
                </c:pt>
                <c:pt idx="3372">
                  <c:v>-7.2645232306919154E-3</c:v>
                </c:pt>
                <c:pt idx="3373">
                  <c:v>-7.0997473707029822E-3</c:v>
                </c:pt>
                <c:pt idx="3374">
                  <c:v>-7.0269934684826854E-3</c:v>
                </c:pt>
                <c:pt idx="3375">
                  <c:v>-6.9882684896492931E-3</c:v>
                </c:pt>
                <c:pt idx="3376">
                  <c:v>-7.0018889162047956E-3</c:v>
                </c:pt>
                <c:pt idx="3377">
                  <c:v>-7.0462809511356228E-3</c:v>
                </c:pt>
                <c:pt idx="3378">
                  <c:v>-7.0664128845220981E-3</c:v>
                </c:pt>
                <c:pt idx="3379">
                  <c:v>-7.0660530616602681E-3</c:v>
                </c:pt>
                <c:pt idx="3380">
                  <c:v>-7.0910166095922902E-3</c:v>
                </c:pt>
                <c:pt idx="3381">
                  <c:v>-7.1224260418761539E-3</c:v>
                </c:pt>
                <c:pt idx="3382">
                  <c:v>-7.1531643468335359E-3</c:v>
                </c:pt>
                <c:pt idx="3383">
                  <c:v>-7.1876213364551961E-3</c:v>
                </c:pt>
                <c:pt idx="3384">
                  <c:v>-7.2222145256638209E-3</c:v>
                </c:pt>
                <c:pt idx="3385">
                  <c:v>-7.2653602674937964E-3</c:v>
                </c:pt>
                <c:pt idx="3386">
                  <c:v>-7.3241078517322297E-3</c:v>
                </c:pt>
                <c:pt idx="3387">
                  <c:v>-7.3982282130873019E-3</c:v>
                </c:pt>
                <c:pt idx="3388">
                  <c:v>-7.5061787281483364E-3</c:v>
                </c:pt>
                <c:pt idx="3389">
                  <c:v>-7.6271139230167009E-3</c:v>
                </c:pt>
                <c:pt idx="3390">
                  <c:v>-7.6848675543280806E-3</c:v>
                </c:pt>
                <c:pt idx="3391">
                  <c:v>-7.7737389138794518E-3</c:v>
                </c:pt>
                <c:pt idx="3392">
                  <c:v>-7.9253874760621609E-3</c:v>
                </c:pt>
                <c:pt idx="3393">
                  <c:v>-8.091102427986387E-3</c:v>
                </c:pt>
                <c:pt idx="3394">
                  <c:v>-8.2615252874400271E-3</c:v>
                </c:pt>
                <c:pt idx="3395">
                  <c:v>-8.4517614747624363E-3</c:v>
                </c:pt>
                <c:pt idx="3396">
                  <c:v>-8.6627808082525293E-3</c:v>
                </c:pt>
                <c:pt idx="3397">
                  <c:v>-8.8935903328975392E-3</c:v>
                </c:pt>
                <c:pt idx="3398">
                  <c:v>-8.9943767895668877E-3</c:v>
                </c:pt>
                <c:pt idx="3399">
                  <c:v>-9.1915676508245552E-3</c:v>
                </c:pt>
                <c:pt idx="3400">
                  <c:v>-9.4244399003585652E-3</c:v>
                </c:pt>
                <c:pt idx="3401">
                  <c:v>-9.4711037616507683E-3</c:v>
                </c:pt>
                <c:pt idx="3402">
                  <c:v>-9.7172793889335769E-3</c:v>
                </c:pt>
                <c:pt idx="3403">
                  <c:v>-1.0057105115000757E-2</c:v>
                </c:pt>
                <c:pt idx="3404">
                  <c:v>-1.0294259089827772E-2</c:v>
                </c:pt>
                <c:pt idx="3405">
                  <c:v>-1.0501900225164829E-2</c:v>
                </c:pt>
                <c:pt idx="3406">
                  <c:v>-1.0566708432306766E-2</c:v>
                </c:pt>
                <c:pt idx="3407">
                  <c:v>-1.0590183464033492E-2</c:v>
                </c:pt>
                <c:pt idx="3408">
                  <c:v>-1.0558025910746425E-2</c:v>
                </c:pt>
                <c:pt idx="3409">
                  <c:v>-1.054671183115144E-2</c:v>
                </c:pt>
                <c:pt idx="3410">
                  <c:v>-1.0482380289510408E-2</c:v>
                </c:pt>
                <c:pt idx="3411">
                  <c:v>-1.0409427448914127E-2</c:v>
                </c:pt>
                <c:pt idx="3412">
                  <c:v>-1.0316927939364531E-2</c:v>
                </c:pt>
                <c:pt idx="3413">
                  <c:v>-1.0223297110424922E-2</c:v>
                </c:pt>
                <c:pt idx="3414">
                  <c:v>-1.0083463794793416E-2</c:v>
                </c:pt>
                <c:pt idx="3415">
                  <c:v>-9.9163054596607125E-3</c:v>
                </c:pt>
                <c:pt idx="3416">
                  <c:v>-9.8195165696892545E-3</c:v>
                </c:pt>
                <c:pt idx="3417">
                  <c:v>-9.8060975940299708E-3</c:v>
                </c:pt>
                <c:pt idx="3418">
                  <c:v>-9.8056235227876043E-3</c:v>
                </c:pt>
                <c:pt idx="3419">
                  <c:v>-9.8169473825663045E-3</c:v>
                </c:pt>
                <c:pt idx="3420">
                  <c:v>-9.8337649441431821E-3</c:v>
                </c:pt>
                <c:pt idx="3421">
                  <c:v>-9.8473784414026301E-3</c:v>
                </c:pt>
                <c:pt idx="3422">
                  <c:v>-9.8393486409492671E-3</c:v>
                </c:pt>
                <c:pt idx="3423">
                  <c:v>-9.8360759098113978E-3</c:v>
                </c:pt>
                <c:pt idx="3424">
                  <c:v>-9.8285154929451217E-3</c:v>
                </c:pt>
                <c:pt idx="3425">
                  <c:v>-9.8177619103842068E-3</c:v>
                </c:pt>
                <c:pt idx="3426">
                  <c:v>-9.7850099368232968E-3</c:v>
                </c:pt>
                <c:pt idx="3427">
                  <c:v>-9.7440411747247019E-3</c:v>
                </c:pt>
                <c:pt idx="3428">
                  <c:v>-9.7005762551959761E-3</c:v>
                </c:pt>
                <c:pt idx="3429">
                  <c:v>-9.6353464292786989E-3</c:v>
                </c:pt>
                <c:pt idx="3430">
                  <c:v>-9.5592074995783372E-3</c:v>
                </c:pt>
                <c:pt idx="3431">
                  <c:v>-9.4862155364393245E-3</c:v>
                </c:pt>
                <c:pt idx="3432">
                  <c:v>-9.418313187228574E-3</c:v>
                </c:pt>
                <c:pt idx="3433">
                  <c:v>-9.3430612321431326E-3</c:v>
                </c:pt>
                <c:pt idx="3434">
                  <c:v>-9.2800435293238677E-3</c:v>
                </c:pt>
                <c:pt idx="3435">
                  <c:v>-9.2316358546409155E-3</c:v>
                </c:pt>
                <c:pt idx="3436">
                  <c:v>-9.1969509482947784E-3</c:v>
                </c:pt>
                <c:pt idx="3437">
                  <c:v>-9.1437772564900519E-3</c:v>
                </c:pt>
                <c:pt idx="3438">
                  <c:v>-9.1077083504832769E-3</c:v>
                </c:pt>
                <c:pt idx="3439">
                  <c:v>-9.1473937788443174E-3</c:v>
                </c:pt>
                <c:pt idx="3440">
                  <c:v>-9.2213599368033312E-3</c:v>
                </c:pt>
                <c:pt idx="3441">
                  <c:v>-9.3059640742862576E-3</c:v>
                </c:pt>
                <c:pt idx="3442">
                  <c:v>-9.3852637001113296E-3</c:v>
                </c:pt>
                <c:pt idx="3443">
                  <c:v>-9.4609149032345574E-3</c:v>
                </c:pt>
                <c:pt idx="3444">
                  <c:v>-9.6372582695726829E-3</c:v>
                </c:pt>
                <c:pt idx="3445">
                  <c:v>-9.8919903321225289E-3</c:v>
                </c:pt>
                <c:pt idx="3446">
                  <c:v>-1.0142863828595519E-2</c:v>
                </c:pt>
                <c:pt idx="3447">
                  <c:v>-9.3487623078604247E-3</c:v>
                </c:pt>
                <c:pt idx="3448">
                  <c:v>-8.9177077153607086E-3</c:v>
                </c:pt>
                <c:pt idx="3449">
                  <c:v>-8.5796159341510886E-3</c:v>
                </c:pt>
                <c:pt idx="3450">
                  <c:v>-8.2698435729554112E-3</c:v>
                </c:pt>
                <c:pt idx="3451">
                  <c:v>-8.0495881188664027E-3</c:v>
                </c:pt>
                <c:pt idx="3452">
                  <c:v>-7.9112967070654322E-3</c:v>
                </c:pt>
                <c:pt idx="3453">
                  <c:v>-7.3907845627656328E-3</c:v>
                </c:pt>
                <c:pt idx="3454">
                  <c:v>-6.75865722104378E-3</c:v>
                </c:pt>
                <c:pt idx="3455">
                  <c:v>-6.2329467410681691E-3</c:v>
                </c:pt>
                <c:pt idx="3456">
                  <c:v>-5.9813026764277445E-3</c:v>
                </c:pt>
                <c:pt idx="3457">
                  <c:v>-5.8597952186715931E-3</c:v>
                </c:pt>
                <c:pt idx="3458">
                  <c:v>-5.7947469701199773E-3</c:v>
                </c:pt>
                <c:pt idx="3459">
                  <c:v>-5.7283358716101766E-3</c:v>
                </c:pt>
                <c:pt idx="3460">
                  <c:v>-5.6735579990518734E-3</c:v>
                </c:pt>
                <c:pt idx="3461">
                  <c:v>-5.6252720280475727E-3</c:v>
                </c:pt>
                <c:pt idx="3462">
                  <c:v>-5.5742230759507306E-3</c:v>
                </c:pt>
                <c:pt idx="3463">
                  <c:v>-5.5444407859513182E-3</c:v>
                </c:pt>
                <c:pt idx="3464">
                  <c:v>-5.5385545180368896E-3</c:v>
                </c:pt>
                <c:pt idx="3465">
                  <c:v>-5.5421212798709542E-3</c:v>
                </c:pt>
                <c:pt idx="3466">
                  <c:v>-5.5232703549159901E-3</c:v>
                </c:pt>
                <c:pt idx="3467">
                  <c:v>-5.4817624613907167E-3</c:v>
                </c:pt>
                <c:pt idx="3468">
                  <c:v>-5.4137592989022022E-3</c:v>
                </c:pt>
                <c:pt idx="3469">
                  <c:v>-5.303298199972298E-3</c:v>
                </c:pt>
                <c:pt idx="3470">
                  <c:v>-5.259074158447551E-3</c:v>
                </c:pt>
                <c:pt idx="3471">
                  <c:v>-5.1791085471782567E-3</c:v>
                </c:pt>
                <c:pt idx="3472">
                  <c:v>-4.7717547376145602E-3</c:v>
                </c:pt>
                <c:pt idx="3473">
                  <c:v>-4.7229060996219225E-3</c:v>
                </c:pt>
                <c:pt idx="3474">
                  <c:v>-4.6809237117699104E-3</c:v>
                </c:pt>
                <c:pt idx="3475">
                  <c:v>-4.631761403441275E-3</c:v>
                </c:pt>
                <c:pt idx="3476">
                  <c:v>-4.5957549768492669E-3</c:v>
                </c:pt>
                <c:pt idx="3477">
                  <c:v>-4.9831904266684247E-3</c:v>
                </c:pt>
                <c:pt idx="3478">
                  <c:v>-5.3552347273134685E-3</c:v>
                </c:pt>
                <c:pt idx="3479">
                  <c:v>-5.653551663802308E-3</c:v>
                </c:pt>
                <c:pt idx="3480">
                  <c:v>-5.9217783863486483E-3</c:v>
                </c:pt>
                <c:pt idx="3481">
                  <c:v>-6.1134348419248797E-3</c:v>
                </c:pt>
                <c:pt idx="3482">
                  <c:v>-6.2545973656787917E-3</c:v>
                </c:pt>
                <c:pt idx="3483">
                  <c:v>-6.5480786737213232E-3</c:v>
                </c:pt>
                <c:pt idx="3484">
                  <c:v>-6.9386082084645969E-3</c:v>
                </c:pt>
                <c:pt idx="3485">
                  <c:v>-7.4115489699981187E-3</c:v>
                </c:pt>
                <c:pt idx="3486">
                  <c:v>-7.5618551652185924E-3</c:v>
                </c:pt>
                <c:pt idx="3487">
                  <c:v>-7.4715971272561309E-3</c:v>
                </c:pt>
                <c:pt idx="3488">
                  <c:v>-7.2828236712654034E-3</c:v>
                </c:pt>
                <c:pt idx="3489">
                  <c:v>-7.1234449634637338E-3</c:v>
                </c:pt>
                <c:pt idx="3490">
                  <c:v>-6.884605214871122E-3</c:v>
                </c:pt>
                <c:pt idx="3491">
                  <c:v>-6.6821943368586718E-3</c:v>
                </c:pt>
                <c:pt idx="3492">
                  <c:v>-6.531023543600311E-3</c:v>
                </c:pt>
                <c:pt idx="3493">
                  <c:v>-6.3529238169702127E-3</c:v>
                </c:pt>
                <c:pt idx="3494">
                  <c:v>-6.1894684661134127E-3</c:v>
                </c:pt>
                <c:pt idx="3495">
                  <c:v>-6.0082881498055418E-3</c:v>
                </c:pt>
                <c:pt idx="3496">
                  <c:v>-5.8337676421805875E-3</c:v>
                </c:pt>
                <c:pt idx="3497">
                  <c:v>-5.7103105969059193E-3</c:v>
                </c:pt>
                <c:pt idx="3498">
                  <c:v>-5.5719690638710261E-3</c:v>
                </c:pt>
                <c:pt idx="3499">
                  <c:v>-5.7465485026290154E-3</c:v>
                </c:pt>
                <c:pt idx="3500">
                  <c:v>-5.7870370403374054E-3</c:v>
                </c:pt>
                <c:pt idx="3501">
                  <c:v>-5.9740015601311321E-3</c:v>
                </c:pt>
                <c:pt idx="3502">
                  <c:v>-7.3642816153626448E-3</c:v>
                </c:pt>
                <c:pt idx="3503">
                  <c:v>-7.4514368889281712E-3</c:v>
                </c:pt>
                <c:pt idx="3504">
                  <c:v>-7.6711774045986397E-3</c:v>
                </c:pt>
                <c:pt idx="3505">
                  <c:v>-7.8579054879915587E-3</c:v>
                </c:pt>
                <c:pt idx="3506">
                  <c:v>-8.0204072403834408E-3</c:v>
                </c:pt>
                <c:pt idx="3507">
                  <c:v>-8.2026812333007692E-3</c:v>
                </c:pt>
                <c:pt idx="3508">
                  <c:v>-8.2228016333335003E-3</c:v>
                </c:pt>
                <c:pt idx="3509">
                  <c:v>-8.2182850311106059E-3</c:v>
                </c:pt>
                <c:pt idx="3510">
                  <c:v>-8.2009839670876029E-3</c:v>
                </c:pt>
                <c:pt idx="3511">
                  <c:v>-8.3052172040849713E-3</c:v>
                </c:pt>
                <c:pt idx="3512">
                  <c:v>-8.3228361513368425E-3</c:v>
                </c:pt>
                <c:pt idx="3513">
                  <c:v>-8.1576829963403638E-3</c:v>
                </c:pt>
                <c:pt idx="3514">
                  <c:v>-8.0925099827424581E-3</c:v>
                </c:pt>
                <c:pt idx="3515">
                  <c:v>-8.1475282195000547E-3</c:v>
                </c:pt>
                <c:pt idx="3516">
                  <c:v>-8.0903428112884899E-3</c:v>
                </c:pt>
                <c:pt idx="3517">
                  <c:v>-7.9824956263540719E-3</c:v>
                </c:pt>
                <c:pt idx="3518">
                  <c:v>-7.9077758566981939E-3</c:v>
                </c:pt>
                <c:pt idx="3519">
                  <c:v>-7.8433600020562065E-3</c:v>
                </c:pt>
                <c:pt idx="3520">
                  <c:v>-7.7927080553715534E-3</c:v>
                </c:pt>
                <c:pt idx="3521">
                  <c:v>-7.747030701837512E-3</c:v>
                </c:pt>
                <c:pt idx="3522">
                  <c:v>-7.7056734523949007E-3</c:v>
                </c:pt>
                <c:pt idx="3523">
                  <c:v>-7.6735261811943884E-3</c:v>
                </c:pt>
                <c:pt idx="3524">
                  <c:v>-7.6621367464871359E-3</c:v>
                </c:pt>
                <c:pt idx="3525">
                  <c:v>-7.6663934887102386E-3</c:v>
                </c:pt>
                <c:pt idx="3526">
                  <c:v>-7.7073303162327631E-3</c:v>
                </c:pt>
                <c:pt idx="3527">
                  <c:v>-7.7802446998915149E-3</c:v>
                </c:pt>
                <c:pt idx="3528">
                  <c:v>-7.8808694394826642E-3</c:v>
                </c:pt>
                <c:pt idx="3529">
                  <c:v>-7.9781624236455462E-3</c:v>
                </c:pt>
                <c:pt idx="3530">
                  <c:v>-8.0717939319232372E-3</c:v>
                </c:pt>
                <c:pt idx="3531">
                  <c:v>-8.2320807413466049E-3</c:v>
                </c:pt>
                <c:pt idx="3532">
                  <c:v>-8.2799392630804169E-3</c:v>
                </c:pt>
                <c:pt idx="3533">
                  <c:v>-8.2829323991514582E-3</c:v>
                </c:pt>
                <c:pt idx="3534">
                  <c:v>-8.2683493383705984E-3</c:v>
                </c:pt>
                <c:pt idx="3535">
                  <c:v>-8.2608202854713049E-3</c:v>
                </c:pt>
                <c:pt idx="3536">
                  <c:v>-8.2481958576757983E-3</c:v>
                </c:pt>
                <c:pt idx="3537">
                  <c:v>-8.2293056533982688E-3</c:v>
                </c:pt>
                <c:pt idx="3538">
                  <c:v>-8.2707697541668582E-3</c:v>
                </c:pt>
                <c:pt idx="3539">
                  <c:v>-8.2925796256842193E-3</c:v>
                </c:pt>
                <c:pt idx="3540">
                  <c:v>-8.277333924317079E-3</c:v>
                </c:pt>
                <c:pt idx="3541">
                  <c:v>-8.2377478752248337E-3</c:v>
                </c:pt>
                <c:pt idx="3542">
                  <c:v>-8.3388692197731221E-3</c:v>
                </c:pt>
                <c:pt idx="3543">
                  <c:v>-8.640138947356147E-3</c:v>
                </c:pt>
                <c:pt idx="3544">
                  <c:v>-8.853363336776594E-3</c:v>
                </c:pt>
                <c:pt idx="3545">
                  <c:v>-8.4897687448355977E-3</c:v>
                </c:pt>
                <c:pt idx="3546">
                  <c:v>-8.1453656166654183E-3</c:v>
                </c:pt>
                <c:pt idx="3547">
                  <c:v>-8.4496400873951254E-3</c:v>
                </c:pt>
                <c:pt idx="3548">
                  <c:v>-8.273925827109823E-3</c:v>
                </c:pt>
                <c:pt idx="3549">
                  <c:v>-8.1452236235281007E-3</c:v>
                </c:pt>
                <c:pt idx="3550">
                  <c:v>-8.0664895322140502E-3</c:v>
                </c:pt>
                <c:pt idx="3551">
                  <c:v>-8.0252908561124249E-3</c:v>
                </c:pt>
                <c:pt idx="3552">
                  <c:v>-7.9971757102584046E-3</c:v>
                </c:pt>
                <c:pt idx="3553">
                  <c:v>-7.9852753216226799E-3</c:v>
                </c:pt>
                <c:pt idx="3554">
                  <c:v>-7.9733769506638071E-3</c:v>
                </c:pt>
                <c:pt idx="3555">
                  <c:v>-7.9519130811359206E-3</c:v>
                </c:pt>
                <c:pt idx="3556">
                  <c:v>-7.9031281521037659E-3</c:v>
                </c:pt>
                <c:pt idx="3557">
                  <c:v>-7.8580267064397927E-3</c:v>
                </c:pt>
                <c:pt idx="3558">
                  <c:v>-7.805543245447558E-3</c:v>
                </c:pt>
                <c:pt idx="3559">
                  <c:v>-7.7382252105808154E-3</c:v>
                </c:pt>
                <c:pt idx="3560">
                  <c:v>-7.4434970946727404E-3</c:v>
                </c:pt>
                <c:pt idx="3561">
                  <c:v>-6.306178002789764E-3</c:v>
                </c:pt>
                <c:pt idx="3562">
                  <c:v>-6.2936538623880444E-3</c:v>
                </c:pt>
                <c:pt idx="3563">
                  <c:v>-6.288643419668105E-3</c:v>
                </c:pt>
                <c:pt idx="3564">
                  <c:v>-6.30202717020032E-3</c:v>
                </c:pt>
                <c:pt idx="3565">
                  <c:v>-6.275388483214064E-3</c:v>
                </c:pt>
                <c:pt idx="3566">
                  <c:v>-6.2791078712082556E-3</c:v>
                </c:pt>
                <c:pt idx="3567">
                  <c:v>-6.2957025121550114E-3</c:v>
                </c:pt>
                <c:pt idx="3568">
                  <c:v>-6.3123793484507664E-3</c:v>
                </c:pt>
                <c:pt idx="3569">
                  <c:v>-6.2992325175861268E-3</c:v>
                </c:pt>
                <c:pt idx="3570">
                  <c:v>-6.2330224066889182E-3</c:v>
                </c:pt>
                <c:pt idx="3571">
                  <c:v>-6.1978597159185666E-3</c:v>
                </c:pt>
                <c:pt idx="3572">
                  <c:v>-6.2193666590538987E-3</c:v>
                </c:pt>
                <c:pt idx="3573">
                  <c:v>-6.3664730914260214E-3</c:v>
                </c:pt>
                <c:pt idx="3574">
                  <c:v>-6.5473373005052148E-3</c:v>
                </c:pt>
                <c:pt idx="3575">
                  <c:v>-6.8708386447780493E-3</c:v>
                </c:pt>
                <c:pt idx="3576">
                  <c:v>-7.2503585660715058E-3</c:v>
                </c:pt>
                <c:pt idx="3577">
                  <c:v>-7.5280983509231278E-3</c:v>
                </c:pt>
                <c:pt idx="3578">
                  <c:v>-7.7746940122577941E-3</c:v>
                </c:pt>
                <c:pt idx="3579">
                  <c:v>-7.7736700029849143E-3</c:v>
                </c:pt>
                <c:pt idx="3580">
                  <c:v>-8.0105957240640055E-3</c:v>
                </c:pt>
                <c:pt idx="3581">
                  <c:v>-8.1980044197661819E-3</c:v>
                </c:pt>
                <c:pt idx="3582">
                  <c:v>-8.299556380299826E-3</c:v>
                </c:pt>
                <c:pt idx="3583">
                  <c:v>-8.4309107188002084E-3</c:v>
                </c:pt>
                <c:pt idx="3584">
                  <c:v>-8.3753939926773519E-3</c:v>
                </c:pt>
                <c:pt idx="3585">
                  <c:v>-8.2623066067955154E-3</c:v>
                </c:pt>
                <c:pt idx="3586">
                  <c:v>-8.2632189327497725E-3</c:v>
                </c:pt>
                <c:pt idx="3587">
                  <c:v>-7.3062798219091056E-3</c:v>
                </c:pt>
                <c:pt idx="3588">
                  <c:v>-6.699867870936238E-3</c:v>
                </c:pt>
                <c:pt idx="3589">
                  <c:v>-6.361158224216742E-3</c:v>
                </c:pt>
                <c:pt idx="3590">
                  <c:v>-6.1638838463855608E-3</c:v>
                </c:pt>
                <c:pt idx="3591">
                  <c:v>-6.6006669717999216E-3</c:v>
                </c:pt>
                <c:pt idx="3592">
                  <c:v>-6.4462582878724245E-3</c:v>
                </c:pt>
                <c:pt idx="3593">
                  <c:v>-6.2407879397938758E-3</c:v>
                </c:pt>
                <c:pt idx="3594">
                  <c:v>-6.0096848782577525E-3</c:v>
                </c:pt>
                <c:pt idx="3595">
                  <c:v>-5.8351121069975809E-3</c:v>
                </c:pt>
                <c:pt idx="3596">
                  <c:v>-5.6519366674904654E-3</c:v>
                </c:pt>
                <c:pt idx="3597">
                  <c:v>-5.5288497218989336E-3</c:v>
                </c:pt>
                <c:pt idx="3598">
                  <c:v>-5.4278621249179964E-3</c:v>
                </c:pt>
                <c:pt idx="3599">
                  <c:v>-5.3876079892489657E-3</c:v>
                </c:pt>
                <c:pt idx="3600">
                  <c:v>-5.4106585652622186E-3</c:v>
                </c:pt>
                <c:pt idx="3601">
                  <c:v>-5.4302531201088598E-3</c:v>
                </c:pt>
                <c:pt idx="3602">
                  <c:v>-5.44005396045159E-3</c:v>
                </c:pt>
                <c:pt idx="3603">
                  <c:v>-5.365015040747434E-3</c:v>
                </c:pt>
                <c:pt idx="3604">
                  <c:v>-5.3173293511841711E-3</c:v>
                </c:pt>
                <c:pt idx="3605">
                  <c:v>-5.3187027702559404E-3</c:v>
                </c:pt>
                <c:pt idx="3606">
                  <c:v>-5.3155588331180248E-3</c:v>
                </c:pt>
                <c:pt idx="3607">
                  <c:v>-5.1182035834876427E-3</c:v>
                </c:pt>
                <c:pt idx="3608">
                  <c:v>-4.9803841170483181E-3</c:v>
                </c:pt>
                <c:pt idx="3609">
                  <c:v>-5.2375022159623988E-3</c:v>
                </c:pt>
                <c:pt idx="3610">
                  <c:v>-5.3100422852820125E-3</c:v>
                </c:pt>
                <c:pt idx="3611">
                  <c:v>-5.3723731365061134E-3</c:v>
                </c:pt>
                <c:pt idx="3612">
                  <c:v>-5.574060000744856E-3</c:v>
                </c:pt>
                <c:pt idx="3613">
                  <c:v>-5.6566244875167126E-3</c:v>
                </c:pt>
                <c:pt idx="3614">
                  <c:v>-6.0407812732793126E-3</c:v>
                </c:pt>
                <c:pt idx="3615">
                  <c:v>-6.104488198184245E-3</c:v>
                </c:pt>
                <c:pt idx="3616">
                  <c:v>-6.1638467369564539E-3</c:v>
                </c:pt>
                <c:pt idx="3617">
                  <c:v>-6.8039071467514709E-3</c:v>
                </c:pt>
                <c:pt idx="3618">
                  <c:v>-7.4200352811858005E-3</c:v>
                </c:pt>
                <c:pt idx="3619">
                  <c:v>-7.7137092624088247E-3</c:v>
                </c:pt>
                <c:pt idx="3620">
                  <c:v>-7.888159931409032E-3</c:v>
                </c:pt>
                <c:pt idx="3621">
                  <c:v>-7.876007995459686E-3</c:v>
                </c:pt>
                <c:pt idx="3622">
                  <c:v>-7.8069931693425547E-3</c:v>
                </c:pt>
                <c:pt idx="3623">
                  <c:v>-7.7384789859598251E-3</c:v>
                </c:pt>
                <c:pt idx="3624">
                  <c:v>-7.7002781123440608E-3</c:v>
                </c:pt>
                <c:pt idx="3625">
                  <c:v>-7.6782638089394036E-3</c:v>
                </c:pt>
                <c:pt idx="3626">
                  <c:v>-7.6422759692244416E-3</c:v>
                </c:pt>
                <c:pt idx="3627">
                  <c:v>-7.6260847888272249E-3</c:v>
                </c:pt>
                <c:pt idx="3628">
                  <c:v>-7.6287677418293417E-3</c:v>
                </c:pt>
                <c:pt idx="3629">
                  <c:v>-7.6213175888168189E-3</c:v>
                </c:pt>
                <c:pt idx="3630">
                  <c:v>-7.6319094476250413E-3</c:v>
                </c:pt>
                <c:pt idx="3631">
                  <c:v>-7.6308622232645583E-3</c:v>
                </c:pt>
                <c:pt idx="3632">
                  <c:v>-7.6229752437168685E-3</c:v>
                </c:pt>
                <c:pt idx="3633">
                  <c:v>-7.6245546280166382E-3</c:v>
                </c:pt>
                <c:pt idx="3634">
                  <c:v>-7.6051714788262555E-3</c:v>
                </c:pt>
                <c:pt idx="3635">
                  <c:v>-7.4402428197779353E-3</c:v>
                </c:pt>
                <c:pt idx="3636">
                  <c:v>-7.3960742374239337E-3</c:v>
                </c:pt>
                <c:pt idx="3637">
                  <c:v>-7.9070521912246103E-3</c:v>
                </c:pt>
                <c:pt idx="3638">
                  <c:v>-8.4588488138577361E-3</c:v>
                </c:pt>
                <c:pt idx="3639">
                  <c:v>-8.8751490319785801E-3</c:v>
                </c:pt>
                <c:pt idx="3640">
                  <c:v>-9.0716985468082736E-3</c:v>
                </c:pt>
                <c:pt idx="3641">
                  <c:v>-9.1714100234435297E-3</c:v>
                </c:pt>
                <c:pt idx="3642">
                  <c:v>-9.1933109637430312E-3</c:v>
                </c:pt>
                <c:pt idx="3643">
                  <c:v>-9.2174206719508635E-3</c:v>
                </c:pt>
                <c:pt idx="3644">
                  <c:v>-9.2001161319770035E-3</c:v>
                </c:pt>
                <c:pt idx="3645">
                  <c:v>-9.1885444243780239E-3</c:v>
                </c:pt>
                <c:pt idx="3646">
                  <c:v>-9.1989271682651197E-3</c:v>
                </c:pt>
                <c:pt idx="3647">
                  <c:v>-9.2198485804682387E-3</c:v>
                </c:pt>
                <c:pt idx="3648">
                  <c:v>-9.2388427975803183E-3</c:v>
                </c:pt>
                <c:pt idx="3649">
                  <c:v>-9.2159540449337288E-3</c:v>
                </c:pt>
                <c:pt idx="3650">
                  <c:v>-9.1410086875788055E-3</c:v>
                </c:pt>
                <c:pt idx="3651">
                  <c:v>-9.0201637372412553E-3</c:v>
                </c:pt>
                <c:pt idx="3652">
                  <c:v>-8.7638441253363886E-3</c:v>
                </c:pt>
                <c:pt idx="3653">
                  <c:v>-8.6503919137240464E-3</c:v>
                </c:pt>
                <c:pt idx="3654">
                  <c:v>-8.3630768649375613E-3</c:v>
                </c:pt>
                <c:pt idx="3655">
                  <c:v>-8.2927907173553639E-3</c:v>
                </c:pt>
                <c:pt idx="3656">
                  <c:v>-8.3276231986774835E-3</c:v>
                </c:pt>
                <c:pt idx="3657">
                  <c:v>-8.4011072431994308E-3</c:v>
                </c:pt>
                <c:pt idx="3658">
                  <c:v>-8.4351322056064725E-3</c:v>
                </c:pt>
                <c:pt idx="3659">
                  <c:v>-8.4738297880081748E-3</c:v>
                </c:pt>
                <c:pt idx="3660">
                  <c:v>-8.5003355887473472E-3</c:v>
                </c:pt>
                <c:pt idx="3661">
                  <c:v>-8.5229103994716986E-3</c:v>
                </c:pt>
                <c:pt idx="3662">
                  <c:v>-8.5530581584493878E-3</c:v>
                </c:pt>
                <c:pt idx="3663">
                  <c:v>-8.5949573113296689E-3</c:v>
                </c:pt>
                <c:pt idx="3664">
                  <c:v>-8.6495740786230839E-3</c:v>
                </c:pt>
                <c:pt idx="3665">
                  <c:v>-8.7971573878594667E-3</c:v>
                </c:pt>
                <c:pt idx="3666">
                  <c:v>-8.9822887768519384E-3</c:v>
                </c:pt>
                <c:pt idx="3667">
                  <c:v>-9.1137267140490759E-3</c:v>
                </c:pt>
                <c:pt idx="3668">
                  <c:v>-9.2147911945986982E-3</c:v>
                </c:pt>
                <c:pt idx="3669">
                  <c:v>-8.9639469616301422E-3</c:v>
                </c:pt>
                <c:pt idx="3670">
                  <c:v>-8.7576832238884031E-3</c:v>
                </c:pt>
                <c:pt idx="3671">
                  <c:v>-8.7432806144801117E-3</c:v>
                </c:pt>
                <c:pt idx="3672">
                  <c:v>-8.8235831782704898E-3</c:v>
                </c:pt>
                <c:pt idx="3673">
                  <c:v>-8.8039827163282087E-3</c:v>
                </c:pt>
                <c:pt idx="3674">
                  <c:v>-8.7331633007120962E-3</c:v>
                </c:pt>
                <c:pt idx="3675">
                  <c:v>-8.6578976498463932E-3</c:v>
                </c:pt>
                <c:pt idx="3676">
                  <c:v>-8.5286118134949417E-3</c:v>
                </c:pt>
                <c:pt idx="3677">
                  <c:v>-8.4179800165621807E-3</c:v>
                </c:pt>
                <c:pt idx="3678">
                  <c:v>-8.3471468755837476E-3</c:v>
                </c:pt>
                <c:pt idx="3679">
                  <c:v>-8.3013130669295186E-3</c:v>
                </c:pt>
                <c:pt idx="3680">
                  <c:v>-8.2982296474863049E-3</c:v>
                </c:pt>
                <c:pt idx="3681">
                  <c:v>-8.3577252170428974E-3</c:v>
                </c:pt>
                <c:pt idx="3682">
                  <c:v>-8.5450908676216204E-3</c:v>
                </c:pt>
                <c:pt idx="3683">
                  <c:v>-8.5305091835460554E-3</c:v>
                </c:pt>
                <c:pt idx="3684">
                  <c:v>-8.6672216777747609E-3</c:v>
                </c:pt>
                <c:pt idx="3685">
                  <c:v>-8.6501400817870517E-3</c:v>
                </c:pt>
                <c:pt idx="3686">
                  <c:v>-8.5092874537978733E-3</c:v>
                </c:pt>
                <c:pt idx="3687">
                  <c:v>-8.3289602136470652E-3</c:v>
                </c:pt>
                <c:pt idx="3688">
                  <c:v>-8.1783152190353925E-3</c:v>
                </c:pt>
                <c:pt idx="3689">
                  <c:v>-7.9912607206780346E-3</c:v>
                </c:pt>
                <c:pt idx="3690">
                  <c:v>-7.777520951946202E-3</c:v>
                </c:pt>
                <c:pt idx="3691">
                  <c:v>-7.6151750400765307E-3</c:v>
                </c:pt>
                <c:pt idx="3692">
                  <c:v>-7.4795675497052591E-3</c:v>
                </c:pt>
                <c:pt idx="3693">
                  <c:v>-7.3685550180282097E-3</c:v>
                </c:pt>
                <c:pt idx="3694">
                  <c:v>-7.2910679869356478E-3</c:v>
                </c:pt>
                <c:pt idx="3695">
                  <c:v>-6.9816847202846029E-3</c:v>
                </c:pt>
                <c:pt idx="3696">
                  <c:v>-6.7212677422010328E-3</c:v>
                </c:pt>
                <c:pt idx="3697">
                  <c:v>-6.5286058119223547E-3</c:v>
                </c:pt>
                <c:pt idx="3698">
                  <c:v>-6.4018599737499914E-3</c:v>
                </c:pt>
                <c:pt idx="3699">
                  <c:v>-6.6792662729430177E-3</c:v>
                </c:pt>
                <c:pt idx="3700">
                  <c:v>-7.0619068054073638E-3</c:v>
                </c:pt>
                <c:pt idx="3701">
                  <c:v>-7.4679064378202487E-3</c:v>
                </c:pt>
                <c:pt idx="3702">
                  <c:v>-7.4817391781983825E-3</c:v>
                </c:pt>
                <c:pt idx="3703">
                  <c:v>-7.3644156316530892E-3</c:v>
                </c:pt>
                <c:pt idx="3704">
                  <c:v>-7.2294586154496576E-3</c:v>
                </c:pt>
                <c:pt idx="3705">
                  <c:v>-7.1025430982092517E-3</c:v>
                </c:pt>
                <c:pt idx="3706">
                  <c:v>-7.0356807980331802E-3</c:v>
                </c:pt>
                <c:pt idx="3707">
                  <c:v>-7.0497776387407479E-3</c:v>
                </c:pt>
                <c:pt idx="3708">
                  <c:v>-7.1473745493182876E-3</c:v>
                </c:pt>
                <c:pt idx="3709">
                  <c:v>-7.2706474410803171E-3</c:v>
                </c:pt>
                <c:pt idx="3710">
                  <c:v>-7.4023947870901054E-3</c:v>
                </c:pt>
                <c:pt idx="3711">
                  <c:v>-6.9992994686235016E-3</c:v>
                </c:pt>
                <c:pt idx="3712">
                  <c:v>-6.7958916984050908E-3</c:v>
                </c:pt>
                <c:pt idx="3713">
                  <c:v>-6.8721126122458388E-3</c:v>
                </c:pt>
                <c:pt idx="3714">
                  <c:v>-6.9761541475931946E-3</c:v>
                </c:pt>
                <c:pt idx="3715">
                  <c:v>-7.0950049106554784E-3</c:v>
                </c:pt>
                <c:pt idx="3716">
                  <c:v>-6.7587810453201766E-3</c:v>
                </c:pt>
                <c:pt idx="3717">
                  <c:v>-6.7730417136739485E-3</c:v>
                </c:pt>
                <c:pt idx="3718">
                  <c:v>-6.7850652676350251E-3</c:v>
                </c:pt>
                <c:pt idx="3719">
                  <c:v>-6.7389203253387601E-3</c:v>
                </c:pt>
                <c:pt idx="3720">
                  <c:v>-6.7083497975067331E-3</c:v>
                </c:pt>
                <c:pt idx="3721">
                  <c:v>-6.6432431284733848E-3</c:v>
                </c:pt>
                <c:pt idx="3722">
                  <c:v>-6.5677063211699808E-3</c:v>
                </c:pt>
                <c:pt idx="3723">
                  <c:v>-6.5187565557300623E-3</c:v>
                </c:pt>
                <c:pt idx="3724">
                  <c:v>-6.4234288821642463E-3</c:v>
                </c:pt>
                <c:pt idx="3725">
                  <c:v>-6.4381148593415354E-3</c:v>
                </c:pt>
                <c:pt idx="3726">
                  <c:v>-6.5077179701904329E-3</c:v>
                </c:pt>
                <c:pt idx="3727">
                  <c:v>-6.5463271629551713E-3</c:v>
                </c:pt>
                <c:pt idx="3728">
                  <c:v>-6.5815036716319383E-3</c:v>
                </c:pt>
                <c:pt idx="3729">
                  <c:v>-6.6039080851666059E-3</c:v>
                </c:pt>
                <c:pt idx="3730">
                  <c:v>-6.5989231408544492E-3</c:v>
                </c:pt>
                <c:pt idx="3731">
                  <c:v>-6.4986822314031332E-3</c:v>
                </c:pt>
                <c:pt idx="3732">
                  <c:v>-6.494581410532929E-3</c:v>
                </c:pt>
                <c:pt idx="3733">
                  <c:v>-6.4970612572915754E-3</c:v>
                </c:pt>
                <c:pt idx="3734">
                  <c:v>-6.4879906895774038E-3</c:v>
                </c:pt>
                <c:pt idx="3735">
                  <c:v>-6.5547626201953816E-3</c:v>
                </c:pt>
                <c:pt idx="3736">
                  <c:v>-6.6099697428985025E-3</c:v>
                </c:pt>
                <c:pt idx="3737">
                  <c:v>-6.5970388005780981E-3</c:v>
                </c:pt>
                <c:pt idx="3738">
                  <c:v>-6.5478209813263017E-3</c:v>
                </c:pt>
                <c:pt idx="3739">
                  <c:v>-6.4952791658923325E-3</c:v>
                </c:pt>
                <c:pt idx="3740">
                  <c:v>-6.4681273887195259E-3</c:v>
                </c:pt>
                <c:pt idx="3741">
                  <c:v>-7.0587214933959539E-3</c:v>
                </c:pt>
                <c:pt idx="3742">
                  <c:v>-7.5423690594119191E-3</c:v>
                </c:pt>
                <c:pt idx="3743">
                  <c:v>-7.5621165331289063E-3</c:v>
                </c:pt>
                <c:pt idx="3744">
                  <c:v>-7.5955580577417338E-3</c:v>
                </c:pt>
                <c:pt idx="3745">
                  <c:v>-7.6150869439237743E-3</c:v>
                </c:pt>
                <c:pt idx="3746">
                  <c:v>-8.3237835561869224E-3</c:v>
                </c:pt>
                <c:pt idx="3747">
                  <c:v>-8.359953619137838E-3</c:v>
                </c:pt>
                <c:pt idx="3748">
                  <c:v>-8.387690168455763E-3</c:v>
                </c:pt>
                <c:pt idx="3749">
                  <c:v>-8.365793666438831E-3</c:v>
                </c:pt>
                <c:pt idx="3750">
                  <c:v>-8.1048128954680689E-3</c:v>
                </c:pt>
                <c:pt idx="3751">
                  <c:v>-7.9480912783609151E-3</c:v>
                </c:pt>
                <c:pt idx="3752">
                  <c:v>-7.8834104800717623E-3</c:v>
                </c:pt>
                <c:pt idx="3753">
                  <c:v>-7.8605864005530535E-3</c:v>
                </c:pt>
                <c:pt idx="3754">
                  <c:v>-7.8550525630816798E-3</c:v>
                </c:pt>
                <c:pt idx="3755">
                  <c:v>-7.8626394696892886E-3</c:v>
                </c:pt>
                <c:pt idx="3756">
                  <c:v>-7.8660227465332088E-3</c:v>
                </c:pt>
                <c:pt idx="3757">
                  <c:v>-7.8715950891476878E-3</c:v>
                </c:pt>
                <c:pt idx="3758">
                  <c:v>-7.8604815387890922E-3</c:v>
                </c:pt>
                <c:pt idx="3759">
                  <c:v>-7.8637710820279733E-3</c:v>
                </c:pt>
                <c:pt idx="3760">
                  <c:v>-7.8972539098778813E-3</c:v>
                </c:pt>
                <c:pt idx="3761">
                  <c:v>-7.9423277384370727E-3</c:v>
                </c:pt>
                <c:pt idx="3762">
                  <c:v>-8.0466342975126035E-3</c:v>
                </c:pt>
                <c:pt idx="3763">
                  <c:v>-8.1090917911043909E-3</c:v>
                </c:pt>
                <c:pt idx="3764">
                  <c:v>-8.1939853032904353E-3</c:v>
                </c:pt>
                <c:pt idx="3765">
                  <c:v>-8.1709262947543895E-3</c:v>
                </c:pt>
                <c:pt idx="3766">
                  <c:v>-8.2082619334941861E-3</c:v>
                </c:pt>
                <c:pt idx="3767">
                  <c:v>-8.2616242410269575E-3</c:v>
                </c:pt>
                <c:pt idx="3768">
                  <c:v>-8.3015105461250668E-3</c:v>
                </c:pt>
                <c:pt idx="3769">
                  <c:v>-8.3378055349333097E-3</c:v>
                </c:pt>
                <c:pt idx="3770">
                  <c:v>-8.2772184519947622E-3</c:v>
                </c:pt>
                <c:pt idx="3771">
                  <c:v>-8.2097276972255585E-3</c:v>
                </c:pt>
                <c:pt idx="3772">
                  <c:v>-8.1653870788938685E-3</c:v>
                </c:pt>
                <c:pt idx="3773">
                  <c:v>-8.149274618285799E-3</c:v>
                </c:pt>
                <c:pt idx="3774">
                  <c:v>-8.0651974911052603E-3</c:v>
                </c:pt>
                <c:pt idx="3775">
                  <c:v>-7.9059082774383983E-3</c:v>
                </c:pt>
                <c:pt idx="3776">
                  <c:v>-7.7851832173848673E-3</c:v>
                </c:pt>
                <c:pt idx="3777">
                  <c:v>-7.7239352053821257E-3</c:v>
                </c:pt>
                <c:pt idx="3778">
                  <c:v>-7.7301774543155257E-3</c:v>
                </c:pt>
                <c:pt idx="3779">
                  <c:v>-7.7439622682520907E-3</c:v>
                </c:pt>
                <c:pt idx="3780">
                  <c:v>-7.9206600462722772E-3</c:v>
                </c:pt>
                <c:pt idx="3781">
                  <c:v>-8.0760930663862102E-3</c:v>
                </c:pt>
                <c:pt idx="3782">
                  <c:v>-8.1386593414135809E-3</c:v>
                </c:pt>
                <c:pt idx="3783">
                  <c:v>-8.1487987851998414E-3</c:v>
                </c:pt>
                <c:pt idx="3784">
                  <c:v>-8.1425199114095251E-3</c:v>
                </c:pt>
                <c:pt idx="3785">
                  <c:v>-8.1267007569382418E-3</c:v>
                </c:pt>
                <c:pt idx="3786">
                  <c:v>-8.096651450827946E-3</c:v>
                </c:pt>
                <c:pt idx="3787">
                  <c:v>-8.0446571029211544E-3</c:v>
                </c:pt>
                <c:pt idx="3788">
                  <c:v>-7.9848841654644419E-3</c:v>
                </c:pt>
                <c:pt idx="3789">
                  <c:v>-7.9226056619253575E-3</c:v>
                </c:pt>
                <c:pt idx="3790">
                  <c:v>-7.9644539150375265E-3</c:v>
                </c:pt>
                <c:pt idx="3791">
                  <c:v>-8.1242792867233325E-3</c:v>
                </c:pt>
                <c:pt idx="3792">
                  <c:v>-8.3173899600029761E-3</c:v>
                </c:pt>
                <c:pt idx="3793">
                  <c:v>-8.5233011957762776E-3</c:v>
                </c:pt>
                <c:pt idx="3794">
                  <c:v>-8.7092693835924325E-3</c:v>
                </c:pt>
                <c:pt idx="3795">
                  <c:v>-8.9163613570334074E-3</c:v>
                </c:pt>
                <c:pt idx="3796">
                  <c:v>-8.9602623099883337E-3</c:v>
                </c:pt>
                <c:pt idx="3797">
                  <c:v>-8.9601846923285343E-3</c:v>
                </c:pt>
                <c:pt idx="3798">
                  <c:v>-8.993527773499408E-3</c:v>
                </c:pt>
                <c:pt idx="3799">
                  <c:v>-9.024818403651505E-3</c:v>
                </c:pt>
                <c:pt idx="3800">
                  <c:v>-9.0865918758983467E-3</c:v>
                </c:pt>
                <c:pt idx="3801">
                  <c:v>-9.1411482038246412E-3</c:v>
                </c:pt>
                <c:pt idx="3802">
                  <c:v>-9.0822383031057621E-3</c:v>
                </c:pt>
                <c:pt idx="3803">
                  <c:v>-9.0371373402792742E-3</c:v>
                </c:pt>
                <c:pt idx="3804">
                  <c:v>-9.1214671138407487E-3</c:v>
                </c:pt>
                <c:pt idx="3805">
                  <c:v>-9.3313880798953433E-3</c:v>
                </c:pt>
                <c:pt idx="3806">
                  <c:v>-9.5624527912175784E-3</c:v>
                </c:pt>
                <c:pt idx="3807">
                  <c:v>-9.7792704695510279E-3</c:v>
                </c:pt>
                <c:pt idx="3808">
                  <c:v>-9.7476751065395332E-3</c:v>
                </c:pt>
                <c:pt idx="3809">
                  <c:v>-9.713041716442208E-3</c:v>
                </c:pt>
                <c:pt idx="3810">
                  <c:v>-9.7305110201627368E-3</c:v>
                </c:pt>
                <c:pt idx="3811">
                  <c:v>-9.660323860776858E-3</c:v>
                </c:pt>
                <c:pt idx="3812">
                  <c:v>-9.6269474107031627E-3</c:v>
                </c:pt>
                <c:pt idx="3813">
                  <c:v>-9.5842909378064025E-3</c:v>
                </c:pt>
                <c:pt idx="3814">
                  <c:v>-9.5452064189623775E-3</c:v>
                </c:pt>
                <c:pt idx="3815">
                  <c:v>-9.5279069719901993E-3</c:v>
                </c:pt>
                <c:pt idx="3816">
                  <c:v>-9.5453359930880444E-3</c:v>
                </c:pt>
                <c:pt idx="3817">
                  <c:v>-9.6208456520324708E-3</c:v>
                </c:pt>
                <c:pt idx="3818">
                  <c:v>-9.7452759140775926E-3</c:v>
                </c:pt>
                <c:pt idx="3819">
                  <c:v>-9.8995622484956795E-3</c:v>
                </c:pt>
                <c:pt idx="3820">
                  <c:v>-9.9710727263608891E-3</c:v>
                </c:pt>
                <c:pt idx="3821">
                  <c:v>-9.9894620322422897E-3</c:v>
                </c:pt>
                <c:pt idx="3822">
                  <c:v>-9.9600002779968912E-3</c:v>
                </c:pt>
                <c:pt idx="3823">
                  <c:v>-9.9565557415667444E-3</c:v>
                </c:pt>
                <c:pt idx="3824">
                  <c:v>-9.9424625991815889E-3</c:v>
                </c:pt>
                <c:pt idx="3825">
                  <c:v>-9.9040820347655843E-3</c:v>
                </c:pt>
                <c:pt idx="3826">
                  <c:v>-9.864968250650568E-3</c:v>
                </c:pt>
                <c:pt idx="3827">
                  <c:v>-9.8339514499204972E-3</c:v>
                </c:pt>
                <c:pt idx="3828">
                  <c:v>-9.8261033739918818E-3</c:v>
                </c:pt>
                <c:pt idx="3829">
                  <c:v>-9.8532430974469804E-3</c:v>
                </c:pt>
                <c:pt idx="3830">
                  <c:v>-9.8602186299971382E-3</c:v>
                </c:pt>
                <c:pt idx="3831">
                  <c:v>-9.8473395773666424E-3</c:v>
                </c:pt>
                <c:pt idx="3832">
                  <c:v>-9.8500950266686409E-3</c:v>
                </c:pt>
                <c:pt idx="3833">
                  <c:v>-9.8763477795054122E-3</c:v>
                </c:pt>
                <c:pt idx="3834">
                  <c:v>-8.8655476398904372E-3</c:v>
                </c:pt>
                <c:pt idx="3835">
                  <c:v>-8.2338000196310185E-3</c:v>
                </c:pt>
                <c:pt idx="3836">
                  <c:v>-7.8083819934393435E-3</c:v>
                </c:pt>
                <c:pt idx="3837">
                  <c:v>-7.8035593469873276E-3</c:v>
                </c:pt>
                <c:pt idx="3838">
                  <c:v>-7.5657973747499932E-3</c:v>
                </c:pt>
                <c:pt idx="3839">
                  <c:v>-7.4013590037060161E-3</c:v>
                </c:pt>
                <c:pt idx="3840">
                  <c:v>-7.2195863799933424E-3</c:v>
                </c:pt>
                <c:pt idx="3841">
                  <c:v>-7.1276105224383924E-3</c:v>
                </c:pt>
                <c:pt idx="3842">
                  <c:v>-6.9889989551241453E-3</c:v>
                </c:pt>
                <c:pt idx="3843">
                  <c:v>-6.889043374898882E-3</c:v>
                </c:pt>
                <c:pt idx="3844">
                  <c:v>-6.7993830413058563E-3</c:v>
                </c:pt>
                <c:pt idx="3845">
                  <c:v>-6.7281603195522887E-3</c:v>
                </c:pt>
                <c:pt idx="3846">
                  <c:v>-6.6498778650882131E-3</c:v>
                </c:pt>
                <c:pt idx="3847">
                  <c:v>-6.5325429510677173E-3</c:v>
                </c:pt>
                <c:pt idx="3848">
                  <c:v>-6.4538306577297229E-3</c:v>
                </c:pt>
                <c:pt idx="3849">
                  <c:v>-6.3933326174518716E-3</c:v>
                </c:pt>
                <c:pt idx="3850">
                  <c:v>-6.3737002919417992E-3</c:v>
                </c:pt>
                <c:pt idx="3851">
                  <c:v>-6.3530589271925657E-3</c:v>
                </c:pt>
                <c:pt idx="3852">
                  <c:v>-6.3390484941514436E-3</c:v>
                </c:pt>
                <c:pt idx="3853">
                  <c:v>-6.3322991245999237E-3</c:v>
                </c:pt>
                <c:pt idx="3854">
                  <c:v>-6.3192963536316676E-3</c:v>
                </c:pt>
                <c:pt idx="3855">
                  <c:v>-6.3195417461124493E-3</c:v>
                </c:pt>
                <c:pt idx="3856">
                  <c:v>-6.3095456186112852E-3</c:v>
                </c:pt>
                <c:pt idx="3857">
                  <c:v>-6.2871599369884422E-3</c:v>
                </c:pt>
                <c:pt idx="3858">
                  <c:v>-6.2615257299159371E-3</c:v>
                </c:pt>
                <c:pt idx="3859">
                  <c:v>-6.2481068847290841E-3</c:v>
                </c:pt>
                <c:pt idx="3860">
                  <c:v>-6.2352976324474198E-3</c:v>
                </c:pt>
                <c:pt idx="3861">
                  <c:v>-6.2222655098745413E-3</c:v>
                </c:pt>
                <c:pt idx="3862">
                  <c:v>-6.2167420353024302E-3</c:v>
                </c:pt>
                <c:pt idx="3863">
                  <c:v>-6.2151258495615307E-3</c:v>
                </c:pt>
                <c:pt idx="3864">
                  <c:v>-6.6374178127590455E-3</c:v>
                </c:pt>
                <c:pt idx="3865">
                  <c:v>-7.1585017964227518E-3</c:v>
                </c:pt>
                <c:pt idx="3866">
                  <c:v>-7.7451571055517816E-3</c:v>
                </c:pt>
                <c:pt idx="3867">
                  <c:v>-7.8148507305082493E-3</c:v>
                </c:pt>
                <c:pt idx="3868">
                  <c:v>-7.9756876588397245E-3</c:v>
                </c:pt>
                <c:pt idx="3869">
                  <c:v>-8.1415696207955846E-3</c:v>
                </c:pt>
                <c:pt idx="3870">
                  <c:v>-8.369583857494766E-3</c:v>
                </c:pt>
                <c:pt idx="3871">
                  <c:v>-8.4449936080780441E-3</c:v>
                </c:pt>
                <c:pt idx="3872">
                  <c:v>-8.3586659685522709E-3</c:v>
                </c:pt>
                <c:pt idx="3873">
                  <c:v>-8.0432108947852878E-3</c:v>
                </c:pt>
                <c:pt idx="3874">
                  <c:v>-7.7612560202208287E-3</c:v>
                </c:pt>
                <c:pt idx="3875">
                  <c:v>-7.6807613554682932E-3</c:v>
                </c:pt>
                <c:pt idx="3876">
                  <c:v>-7.71130760860514E-3</c:v>
                </c:pt>
                <c:pt idx="3877">
                  <c:v>-7.8010352788268995E-3</c:v>
                </c:pt>
                <c:pt idx="3878">
                  <c:v>-7.8947333774753714E-3</c:v>
                </c:pt>
                <c:pt idx="3879">
                  <c:v>-7.9874880641999033E-3</c:v>
                </c:pt>
                <c:pt idx="3880">
                  <c:v>-8.0608277560749661E-3</c:v>
                </c:pt>
                <c:pt idx="3881">
                  <c:v>-8.0546577320088752E-3</c:v>
                </c:pt>
                <c:pt idx="3882">
                  <c:v>-7.9691460737228298E-3</c:v>
                </c:pt>
                <c:pt idx="3883">
                  <c:v>-7.8819221101437097E-3</c:v>
                </c:pt>
                <c:pt idx="3884">
                  <c:v>-7.8366854065807894E-3</c:v>
                </c:pt>
                <c:pt idx="3885">
                  <c:v>-7.7859740606406888E-3</c:v>
                </c:pt>
                <c:pt idx="3886">
                  <c:v>-7.5867898720921277E-3</c:v>
                </c:pt>
                <c:pt idx="3887">
                  <c:v>-6.9227804428038534E-3</c:v>
                </c:pt>
                <c:pt idx="3888">
                  <c:v>-6.4309582040060547E-3</c:v>
                </c:pt>
                <c:pt idx="3889">
                  <c:v>-6.4188404906528312E-3</c:v>
                </c:pt>
                <c:pt idx="3890">
                  <c:v>-6.2574811246186458E-3</c:v>
                </c:pt>
                <c:pt idx="3891">
                  <c:v>-6.2485886560912397E-3</c:v>
                </c:pt>
                <c:pt idx="3892">
                  <c:v>-6.2361964685622613E-3</c:v>
                </c:pt>
                <c:pt idx="3893">
                  <c:v>-6.2061471717051436E-3</c:v>
                </c:pt>
                <c:pt idx="3894">
                  <c:v>-6.2041616348996196E-3</c:v>
                </c:pt>
                <c:pt idx="3895">
                  <c:v>-6.2264780809031927E-3</c:v>
                </c:pt>
                <c:pt idx="3896">
                  <c:v>-6.2188621331046457E-3</c:v>
                </c:pt>
                <c:pt idx="3897">
                  <c:v>-6.1543101665676586E-3</c:v>
                </c:pt>
                <c:pt idx="3898">
                  <c:v>-6.0243003875510188E-3</c:v>
                </c:pt>
                <c:pt idx="3899">
                  <c:v>-5.8368913067045397E-3</c:v>
                </c:pt>
                <c:pt idx="3900">
                  <c:v>-5.7943726721649234E-3</c:v>
                </c:pt>
                <c:pt idx="3901">
                  <c:v>-5.7630042900211004E-3</c:v>
                </c:pt>
                <c:pt idx="3902">
                  <c:v>-5.7739307181044891E-3</c:v>
                </c:pt>
                <c:pt idx="3903">
                  <c:v>-5.9159086352064787E-3</c:v>
                </c:pt>
                <c:pt idx="3904">
                  <c:v>-6.0871951910026227E-3</c:v>
                </c:pt>
                <c:pt idx="3905">
                  <c:v>-6.128993711372978E-3</c:v>
                </c:pt>
                <c:pt idx="3906">
                  <c:v>-6.1150510849223988E-3</c:v>
                </c:pt>
                <c:pt idx="3907">
                  <c:v>-6.0969788708024227E-3</c:v>
                </c:pt>
                <c:pt idx="3908">
                  <c:v>-6.0785753830356754E-3</c:v>
                </c:pt>
                <c:pt idx="3909">
                  <c:v>-6.0501836756537766E-3</c:v>
                </c:pt>
                <c:pt idx="3910">
                  <c:v>-6.0080364291842814E-3</c:v>
                </c:pt>
                <c:pt idx="3911">
                  <c:v>-5.935899541193005E-3</c:v>
                </c:pt>
                <c:pt idx="3912">
                  <c:v>-5.8777344870345628E-3</c:v>
                </c:pt>
                <c:pt idx="3913">
                  <c:v>-5.8211038196695711E-3</c:v>
                </c:pt>
                <c:pt idx="3914">
                  <c:v>-5.7024066059376682E-3</c:v>
                </c:pt>
                <c:pt idx="3915">
                  <c:v>-5.5072045486029928E-3</c:v>
                </c:pt>
                <c:pt idx="3916">
                  <c:v>-5.3575796574383012E-3</c:v>
                </c:pt>
                <c:pt idx="3917">
                  <c:v>-5.7351304363915216E-3</c:v>
                </c:pt>
                <c:pt idx="3918">
                  <c:v>-6.1908144375130711E-3</c:v>
                </c:pt>
                <c:pt idx="3919">
                  <c:v>-5.7191914917904471E-3</c:v>
                </c:pt>
                <c:pt idx="3920">
                  <c:v>-5.9470747571452182E-3</c:v>
                </c:pt>
                <c:pt idx="3921">
                  <c:v>-5.9735427155196592E-3</c:v>
                </c:pt>
                <c:pt idx="3922">
                  <c:v>-6.0084555626454521E-3</c:v>
                </c:pt>
                <c:pt idx="3923">
                  <c:v>-6.033698709485614E-3</c:v>
                </c:pt>
                <c:pt idx="3924">
                  <c:v>-5.9645894005461086E-3</c:v>
                </c:pt>
                <c:pt idx="3925">
                  <c:v>-5.6867111247149594E-3</c:v>
                </c:pt>
                <c:pt idx="3926">
                  <c:v>-5.4285273392364521E-3</c:v>
                </c:pt>
                <c:pt idx="3927">
                  <c:v>-5.4125162600908369E-3</c:v>
                </c:pt>
                <c:pt idx="3928">
                  <c:v>-5.4678255072884447E-3</c:v>
                </c:pt>
                <c:pt idx="3929">
                  <c:v>-5.590813292999341E-3</c:v>
                </c:pt>
                <c:pt idx="3930">
                  <c:v>-5.6246311974221773E-3</c:v>
                </c:pt>
                <c:pt idx="3931">
                  <c:v>-5.6861790750374489E-3</c:v>
                </c:pt>
                <c:pt idx="3932">
                  <c:v>-5.7334317667778693E-3</c:v>
                </c:pt>
                <c:pt idx="3933">
                  <c:v>-5.7358806018322816E-3</c:v>
                </c:pt>
                <c:pt idx="3934">
                  <c:v>-5.7388170364388695E-3</c:v>
                </c:pt>
                <c:pt idx="3935">
                  <c:v>-5.7322531943167793E-3</c:v>
                </c:pt>
                <c:pt idx="3936">
                  <c:v>-5.7229294195627854E-3</c:v>
                </c:pt>
                <c:pt idx="3937">
                  <c:v>-5.6064725175921761E-3</c:v>
                </c:pt>
                <c:pt idx="3938">
                  <c:v>-5.1863899227245925E-3</c:v>
                </c:pt>
                <c:pt idx="3939">
                  <c:v>-4.8357596581102436E-3</c:v>
                </c:pt>
                <c:pt idx="3940">
                  <c:v>-4.8175455396947068E-3</c:v>
                </c:pt>
                <c:pt idx="3941">
                  <c:v>-4.8858241993146633E-3</c:v>
                </c:pt>
                <c:pt idx="3942">
                  <c:v>-5.0004304768744507E-3</c:v>
                </c:pt>
                <c:pt idx="3943">
                  <c:v>-5.1330076971945731E-3</c:v>
                </c:pt>
                <c:pt idx="3944">
                  <c:v>-5.3607626501634897E-3</c:v>
                </c:pt>
                <c:pt idx="3945">
                  <c:v>-5.7239164114105149E-3</c:v>
                </c:pt>
                <c:pt idx="3946">
                  <c:v>-6.1845265381382146E-3</c:v>
                </c:pt>
                <c:pt idx="3947">
                  <c:v>-6.2297860112905373E-3</c:v>
                </c:pt>
                <c:pt idx="3948">
                  <c:v>-6.3228045430235216E-3</c:v>
                </c:pt>
                <c:pt idx="3949">
                  <c:v>-6.694267484223344E-3</c:v>
                </c:pt>
                <c:pt idx="3950">
                  <c:v>-6.7380285042038463E-3</c:v>
                </c:pt>
                <c:pt idx="3951">
                  <c:v>-6.7850746682070273E-3</c:v>
                </c:pt>
                <c:pt idx="3952">
                  <c:v>-6.8568078180107125E-3</c:v>
                </c:pt>
                <c:pt idx="3953">
                  <c:v>-6.9067758568623775E-3</c:v>
                </c:pt>
                <c:pt idx="3954">
                  <c:v>-7.0297505824551869E-3</c:v>
                </c:pt>
                <c:pt idx="3955">
                  <c:v>-7.3432477960092002E-3</c:v>
                </c:pt>
                <c:pt idx="3956">
                  <c:v>-7.6559601353167837E-3</c:v>
                </c:pt>
                <c:pt idx="3957">
                  <c:v>-7.7346076249137242E-3</c:v>
                </c:pt>
                <c:pt idx="3958">
                  <c:v>-7.8100163371400827E-3</c:v>
                </c:pt>
                <c:pt idx="3959">
                  <c:v>-7.8833519528965501E-3</c:v>
                </c:pt>
                <c:pt idx="3960">
                  <c:v>-7.940994013709568E-3</c:v>
                </c:pt>
                <c:pt idx="3961">
                  <c:v>-7.9829227673996681E-3</c:v>
                </c:pt>
                <c:pt idx="3962">
                  <c:v>-8.024475443305118E-3</c:v>
                </c:pt>
                <c:pt idx="3963">
                  <c:v>-8.0527375757295135E-3</c:v>
                </c:pt>
                <c:pt idx="3964">
                  <c:v>-8.0915604467163248E-3</c:v>
                </c:pt>
                <c:pt idx="3965">
                  <c:v>-8.167574459401826E-3</c:v>
                </c:pt>
                <c:pt idx="3966">
                  <c:v>-8.2761426565547691E-3</c:v>
                </c:pt>
                <c:pt idx="3967">
                  <c:v>-8.4055598219604129E-3</c:v>
                </c:pt>
                <c:pt idx="3968">
                  <c:v>-8.6361029646622595E-3</c:v>
                </c:pt>
                <c:pt idx="3969">
                  <c:v>-9.0408182350435219E-3</c:v>
                </c:pt>
                <c:pt idx="3970">
                  <c:v>-8.7747616906791188E-3</c:v>
                </c:pt>
                <c:pt idx="3971">
                  <c:v>-8.4392277620199373E-3</c:v>
                </c:pt>
                <c:pt idx="3972">
                  <c:v>-8.3096190020869494E-3</c:v>
                </c:pt>
                <c:pt idx="3973">
                  <c:v>-8.2047177954724434E-3</c:v>
                </c:pt>
                <c:pt idx="3974">
                  <c:v>-8.1230014346995987E-3</c:v>
                </c:pt>
                <c:pt idx="3975">
                  <c:v>-8.0784862024202899E-3</c:v>
                </c:pt>
                <c:pt idx="3976">
                  <c:v>-8.021044319876651E-3</c:v>
                </c:pt>
                <c:pt idx="3977">
                  <c:v>-7.9699237517743479E-3</c:v>
                </c:pt>
                <c:pt idx="3978">
                  <c:v>-7.9348926666435605E-3</c:v>
                </c:pt>
                <c:pt idx="3979">
                  <c:v>-7.9100400971720622E-3</c:v>
                </c:pt>
                <c:pt idx="3980">
                  <c:v>-7.9428891856298638E-3</c:v>
                </c:pt>
                <c:pt idx="3981">
                  <c:v>-8.0103821097969735E-3</c:v>
                </c:pt>
                <c:pt idx="3982">
                  <c:v>-8.0866636595373007E-3</c:v>
                </c:pt>
                <c:pt idx="3983">
                  <c:v>-8.1806042053971673E-3</c:v>
                </c:pt>
                <c:pt idx="3984">
                  <c:v>-8.2545236809782041E-3</c:v>
                </c:pt>
                <c:pt idx="3985">
                  <c:v>-8.3302333080965303E-3</c:v>
                </c:pt>
                <c:pt idx="3986">
                  <c:v>-8.4107395598117286E-3</c:v>
                </c:pt>
                <c:pt idx="3987">
                  <c:v>-8.491779697311715E-3</c:v>
                </c:pt>
                <c:pt idx="3988">
                  <c:v>-8.5727658523339755E-3</c:v>
                </c:pt>
                <c:pt idx="3989">
                  <c:v>-8.6893380084087438E-3</c:v>
                </c:pt>
                <c:pt idx="3990">
                  <c:v>-8.7936733673775313E-3</c:v>
                </c:pt>
                <c:pt idx="3991">
                  <c:v>-8.8946854264930278E-3</c:v>
                </c:pt>
                <c:pt idx="3992">
                  <c:v>-8.9306020012711214E-3</c:v>
                </c:pt>
                <c:pt idx="3993">
                  <c:v>-8.9135654069718382E-3</c:v>
                </c:pt>
                <c:pt idx="3994">
                  <c:v>-8.9376328361792066E-3</c:v>
                </c:pt>
                <c:pt idx="3995">
                  <c:v>-8.9754809643047898E-3</c:v>
                </c:pt>
                <c:pt idx="3996">
                  <c:v>-9.0273803274809744E-3</c:v>
                </c:pt>
                <c:pt idx="3997">
                  <c:v>-9.0851513696734512E-3</c:v>
                </c:pt>
                <c:pt idx="3998">
                  <c:v>-9.307863452567176E-3</c:v>
                </c:pt>
                <c:pt idx="3999">
                  <c:v>-9.6141777152804302E-3</c:v>
                </c:pt>
                <c:pt idx="4000">
                  <c:v>-9.9842656586387208E-3</c:v>
                </c:pt>
                <c:pt idx="4001">
                  <c:v>-9.6879324716721889E-3</c:v>
                </c:pt>
                <c:pt idx="4002">
                  <c:v>-8.0867355917141164E-3</c:v>
                </c:pt>
                <c:pt idx="4003">
                  <c:v>-7.1344881174585009E-3</c:v>
                </c:pt>
                <c:pt idx="4004">
                  <c:v>-6.5146460255896795E-3</c:v>
                </c:pt>
                <c:pt idx="4005">
                  <c:v>-6.066725360763899E-3</c:v>
                </c:pt>
                <c:pt idx="4006">
                  <c:v>-5.7389442737539277E-3</c:v>
                </c:pt>
                <c:pt idx="4007">
                  <c:v>-5.5181174952659449E-3</c:v>
                </c:pt>
                <c:pt idx="4008">
                  <c:v>-5.4539680328587921E-3</c:v>
                </c:pt>
                <c:pt idx="4009">
                  <c:v>-5.266305592120827E-3</c:v>
                </c:pt>
                <c:pt idx="4010">
                  <c:v>-5.2276194333387678E-3</c:v>
                </c:pt>
                <c:pt idx="4011">
                  <c:v>-4.8588789655854238E-3</c:v>
                </c:pt>
                <c:pt idx="4012">
                  <c:v>-4.8546226865978058E-3</c:v>
                </c:pt>
                <c:pt idx="4013">
                  <c:v>-4.8594736206406166E-3</c:v>
                </c:pt>
                <c:pt idx="4014">
                  <c:v>-4.6993451383852934E-3</c:v>
                </c:pt>
                <c:pt idx="4015">
                  <c:v>-4.2129378067416422E-3</c:v>
                </c:pt>
                <c:pt idx="4016">
                  <c:v>-4.2733898664225594E-3</c:v>
                </c:pt>
                <c:pt idx="4017">
                  <c:v>-4.3744425793895633E-3</c:v>
                </c:pt>
                <c:pt idx="4018">
                  <c:v>-4.4997916433695837E-3</c:v>
                </c:pt>
                <c:pt idx="4019">
                  <c:v>-4.5930968393741931E-3</c:v>
                </c:pt>
                <c:pt idx="4020">
                  <c:v>-4.6983474514869393E-3</c:v>
                </c:pt>
                <c:pt idx="4021">
                  <c:v>-4.7503523510179441E-3</c:v>
                </c:pt>
                <c:pt idx="4022">
                  <c:v>-4.8000128424653E-3</c:v>
                </c:pt>
                <c:pt idx="4023">
                  <c:v>-4.8548680885716587E-3</c:v>
                </c:pt>
                <c:pt idx="4024">
                  <c:v>-4.9178605989688654E-3</c:v>
                </c:pt>
                <c:pt idx="4025">
                  <c:v>-4.9295852080324439E-3</c:v>
                </c:pt>
                <c:pt idx="4026">
                  <c:v>-4.9027776088784716E-3</c:v>
                </c:pt>
                <c:pt idx="4027">
                  <c:v>-4.8826753308082345E-3</c:v>
                </c:pt>
                <c:pt idx="4028">
                  <c:v>-4.8522069834213179E-3</c:v>
                </c:pt>
                <c:pt idx="4029">
                  <c:v>-4.8518683472348586E-3</c:v>
                </c:pt>
                <c:pt idx="4030">
                  <c:v>-4.9045507155137009E-3</c:v>
                </c:pt>
                <c:pt idx="4031">
                  <c:v>-4.9451494107507071E-3</c:v>
                </c:pt>
                <c:pt idx="4032">
                  <c:v>-5.3409006693894909E-3</c:v>
                </c:pt>
                <c:pt idx="4033">
                  <c:v>-5.7958438919779309E-3</c:v>
                </c:pt>
                <c:pt idx="4034">
                  <c:v>-6.1677198148223497E-3</c:v>
                </c:pt>
                <c:pt idx="4035">
                  <c:v>-6.3802335051347473E-3</c:v>
                </c:pt>
                <c:pt idx="4036">
                  <c:v>-6.5600605699212304E-3</c:v>
                </c:pt>
                <c:pt idx="4037">
                  <c:v>-6.7001443168273507E-3</c:v>
                </c:pt>
                <c:pt idx="4038">
                  <c:v>-6.7170454737267198E-3</c:v>
                </c:pt>
                <c:pt idx="4039">
                  <c:v>-6.868092442101824E-3</c:v>
                </c:pt>
                <c:pt idx="4040">
                  <c:v>-6.8259962692035032E-3</c:v>
                </c:pt>
                <c:pt idx="4041">
                  <c:v>-7.4479695638453459E-3</c:v>
                </c:pt>
                <c:pt idx="4042">
                  <c:v>-7.476653590331693E-3</c:v>
                </c:pt>
                <c:pt idx="4043">
                  <c:v>-7.4890255534605238E-3</c:v>
                </c:pt>
                <c:pt idx="4044">
                  <c:v>-7.7540534951815714E-3</c:v>
                </c:pt>
                <c:pt idx="4045">
                  <c:v>-8.9967392798847162E-3</c:v>
                </c:pt>
                <c:pt idx="4046">
                  <c:v>-9.0519355537519025E-3</c:v>
                </c:pt>
                <c:pt idx="4047">
                  <c:v>-9.1099464126126843E-3</c:v>
                </c:pt>
                <c:pt idx="4048">
                  <c:v>-9.1822792824536592E-3</c:v>
                </c:pt>
                <c:pt idx="4049">
                  <c:v>-9.2666279576498339E-3</c:v>
                </c:pt>
                <c:pt idx="4050">
                  <c:v>-9.3352048711536594E-3</c:v>
                </c:pt>
                <c:pt idx="4051">
                  <c:v>-9.368808309041906E-3</c:v>
                </c:pt>
                <c:pt idx="4052">
                  <c:v>-9.3658708081669918E-3</c:v>
                </c:pt>
                <c:pt idx="4053">
                  <c:v>-9.3003807223481713E-3</c:v>
                </c:pt>
                <c:pt idx="4054">
                  <c:v>-9.234353820184709E-3</c:v>
                </c:pt>
                <c:pt idx="4055">
                  <c:v>-9.2284574959183453E-3</c:v>
                </c:pt>
                <c:pt idx="4056">
                  <c:v>-9.2679711849021872E-3</c:v>
                </c:pt>
                <c:pt idx="4057">
                  <c:v>-9.2757580207959781E-3</c:v>
                </c:pt>
                <c:pt idx="4058">
                  <c:v>-8.8430524582826572E-3</c:v>
                </c:pt>
                <c:pt idx="4059">
                  <c:v>-8.7615946054641711E-3</c:v>
                </c:pt>
                <c:pt idx="4060">
                  <c:v>-8.7587541653035665E-3</c:v>
                </c:pt>
                <c:pt idx="4061">
                  <c:v>-8.8403322865171254E-3</c:v>
                </c:pt>
                <c:pt idx="4062">
                  <c:v>-8.9599591941256444E-3</c:v>
                </c:pt>
                <c:pt idx="4063">
                  <c:v>-9.0948456269718571E-3</c:v>
                </c:pt>
                <c:pt idx="4064">
                  <c:v>-9.160182542281398E-3</c:v>
                </c:pt>
                <c:pt idx="4065">
                  <c:v>-9.0895477797558223E-3</c:v>
                </c:pt>
                <c:pt idx="4066">
                  <c:v>-8.8944471942448457E-3</c:v>
                </c:pt>
                <c:pt idx="4067">
                  <c:v>-8.8340397138412553E-3</c:v>
                </c:pt>
                <c:pt idx="4068">
                  <c:v>-8.8180927958493652E-3</c:v>
                </c:pt>
                <c:pt idx="4069">
                  <c:v>-8.70280478514175E-3</c:v>
                </c:pt>
                <c:pt idx="4070">
                  <c:v>-8.6104261910272973E-3</c:v>
                </c:pt>
                <c:pt idx="4071">
                  <c:v>-8.5092541573042572E-3</c:v>
                </c:pt>
                <c:pt idx="4072">
                  <c:v>-8.3614018169959892E-3</c:v>
                </c:pt>
                <c:pt idx="4073">
                  <c:v>-8.1913308639212142E-3</c:v>
                </c:pt>
                <c:pt idx="4074">
                  <c:v>-8.0378688803027891E-3</c:v>
                </c:pt>
                <c:pt idx="4075">
                  <c:v>-7.854055969757039E-3</c:v>
                </c:pt>
                <c:pt idx="4076">
                  <c:v>-7.6975412536438356E-3</c:v>
                </c:pt>
                <c:pt idx="4077">
                  <c:v>-7.6445598627072472E-3</c:v>
                </c:pt>
                <c:pt idx="4078">
                  <c:v>-7.6414754854936271E-3</c:v>
                </c:pt>
                <c:pt idx="4079">
                  <c:v>-7.6495527398039555E-3</c:v>
                </c:pt>
                <c:pt idx="4080">
                  <c:v>-7.6647078812511933E-3</c:v>
                </c:pt>
                <c:pt idx="4081">
                  <c:v>-7.7022955289899071E-3</c:v>
                </c:pt>
                <c:pt idx="4082">
                  <c:v>-7.7621506571832703E-3</c:v>
                </c:pt>
                <c:pt idx="4083">
                  <c:v>-7.4673306744743994E-3</c:v>
                </c:pt>
                <c:pt idx="4084">
                  <c:v>-7.405427954455408E-3</c:v>
                </c:pt>
                <c:pt idx="4085">
                  <c:v>-7.4424530232128031E-3</c:v>
                </c:pt>
                <c:pt idx="4086">
                  <c:v>-7.4115053081649429E-3</c:v>
                </c:pt>
                <c:pt idx="4087">
                  <c:v>-7.4196592600722575E-3</c:v>
                </c:pt>
                <c:pt idx="4088">
                  <c:v>-7.5712033839780658E-3</c:v>
                </c:pt>
                <c:pt idx="4089">
                  <c:v>-7.6122183871137408E-3</c:v>
                </c:pt>
                <c:pt idx="4090">
                  <c:v>-7.5920208429499387E-3</c:v>
                </c:pt>
                <c:pt idx="4091">
                  <c:v>-7.54775588680014E-3</c:v>
                </c:pt>
                <c:pt idx="4092">
                  <c:v>-7.5299860158198071E-3</c:v>
                </c:pt>
                <c:pt idx="4093">
                  <c:v>-7.4722862620324199E-3</c:v>
                </c:pt>
                <c:pt idx="4094">
                  <c:v>-7.4443613115898737E-3</c:v>
                </c:pt>
                <c:pt idx="4095">
                  <c:v>-7.5039337169480859E-3</c:v>
                </c:pt>
                <c:pt idx="4096">
                  <c:v>-7.619405955215125E-3</c:v>
                </c:pt>
                <c:pt idx="4097">
                  <c:v>-7.6006017587553409E-3</c:v>
                </c:pt>
                <c:pt idx="4098">
                  <c:v>-7.5674256080180665E-3</c:v>
                </c:pt>
                <c:pt idx="4099">
                  <c:v>-7.4562207775739561E-3</c:v>
                </c:pt>
                <c:pt idx="4100">
                  <c:v>-7.4360937194230233E-3</c:v>
                </c:pt>
                <c:pt idx="4101">
                  <c:v>-7.4244720885797214E-3</c:v>
                </c:pt>
                <c:pt idx="4102">
                  <c:v>-7.4203494933996975E-3</c:v>
                </c:pt>
                <c:pt idx="4103">
                  <c:v>-7.4463453873697934E-3</c:v>
                </c:pt>
                <c:pt idx="4104">
                  <c:v>-7.4994238889091562E-3</c:v>
                </c:pt>
                <c:pt idx="4105">
                  <c:v>-7.6018497732776918E-3</c:v>
                </c:pt>
                <c:pt idx="4106">
                  <c:v>-7.7283069687139353E-3</c:v>
                </c:pt>
                <c:pt idx="4107">
                  <c:v>-7.7881700532141003E-3</c:v>
                </c:pt>
                <c:pt idx="4108">
                  <c:v>-7.7970007469126612E-3</c:v>
                </c:pt>
                <c:pt idx="4109">
                  <c:v>-7.3218309769428752E-3</c:v>
                </c:pt>
                <c:pt idx="4110">
                  <c:v>-7.1219821188969442E-3</c:v>
                </c:pt>
                <c:pt idx="4111">
                  <c:v>-6.9872888791519018E-3</c:v>
                </c:pt>
                <c:pt idx="4112">
                  <c:v>-6.8722122441664301E-3</c:v>
                </c:pt>
                <c:pt idx="4113">
                  <c:v>-6.2109562249919731E-3</c:v>
                </c:pt>
                <c:pt idx="4114">
                  <c:v>-6.2395136434481944E-3</c:v>
                </c:pt>
                <c:pt idx="4115">
                  <c:v>-6.147975832830754E-3</c:v>
                </c:pt>
                <c:pt idx="4116">
                  <c:v>-6.0657832543083746E-3</c:v>
                </c:pt>
                <c:pt idx="4117">
                  <c:v>-5.619693354441015E-3</c:v>
                </c:pt>
                <c:pt idx="4118">
                  <c:v>-5.5713730355311589E-3</c:v>
                </c:pt>
                <c:pt idx="4119">
                  <c:v>-5.4884596194385033E-3</c:v>
                </c:pt>
                <c:pt idx="4120">
                  <c:v>-5.4818085298440535E-3</c:v>
                </c:pt>
                <c:pt idx="4121">
                  <c:v>-5.4963531709922662E-3</c:v>
                </c:pt>
                <c:pt idx="4122">
                  <c:v>-5.4738868835822966E-3</c:v>
                </c:pt>
                <c:pt idx="4123">
                  <c:v>-5.4631889103759438E-3</c:v>
                </c:pt>
                <c:pt idx="4124">
                  <c:v>-5.5172932589324149E-3</c:v>
                </c:pt>
                <c:pt idx="4125">
                  <c:v>-5.5769261934298184E-3</c:v>
                </c:pt>
                <c:pt idx="4126">
                  <c:v>-5.6637625081041275E-3</c:v>
                </c:pt>
                <c:pt idx="4127">
                  <c:v>-5.7504254138564404E-3</c:v>
                </c:pt>
                <c:pt idx="4128">
                  <c:v>-5.7766284801290726E-3</c:v>
                </c:pt>
                <c:pt idx="4129">
                  <c:v>-5.9059403051948851E-3</c:v>
                </c:pt>
                <c:pt idx="4130">
                  <c:v>-5.9768873495390958E-3</c:v>
                </c:pt>
                <c:pt idx="4131">
                  <c:v>-5.9715278438251234E-3</c:v>
                </c:pt>
                <c:pt idx="4132">
                  <c:v>-5.9722280951069991E-3</c:v>
                </c:pt>
                <c:pt idx="4133">
                  <c:v>-5.9485887305142536E-3</c:v>
                </c:pt>
                <c:pt idx="4134">
                  <c:v>-5.9138199177512351E-3</c:v>
                </c:pt>
                <c:pt idx="4135">
                  <c:v>-5.8708819528482305E-3</c:v>
                </c:pt>
                <c:pt idx="4136">
                  <c:v>-5.8400834759739645E-3</c:v>
                </c:pt>
                <c:pt idx="4137">
                  <c:v>-5.8159016137546409E-3</c:v>
                </c:pt>
                <c:pt idx="4138">
                  <c:v>-5.8124833909893453E-3</c:v>
                </c:pt>
                <c:pt idx="4139">
                  <c:v>-6.2249876672768071E-3</c:v>
                </c:pt>
                <c:pt idx="4140">
                  <c:v>-6.3923674762592104E-3</c:v>
                </c:pt>
                <c:pt idx="4141">
                  <c:v>-6.4927610718518367E-3</c:v>
                </c:pt>
                <c:pt idx="4142">
                  <c:v>-6.5899354945454201E-3</c:v>
                </c:pt>
                <c:pt idx="4143">
                  <c:v>-8.1774983592918706E-3</c:v>
                </c:pt>
                <c:pt idx="4144">
                  <c:v>-8.1787266006030819E-3</c:v>
                </c:pt>
                <c:pt idx="4145">
                  <c:v>-8.2319220026383505E-3</c:v>
                </c:pt>
                <c:pt idx="4146">
                  <c:v>-8.1685857992205551E-3</c:v>
                </c:pt>
                <c:pt idx="4147">
                  <c:v>-8.5285646355140552E-3</c:v>
                </c:pt>
                <c:pt idx="4148">
                  <c:v>-8.5035922245817273E-3</c:v>
                </c:pt>
                <c:pt idx="4149">
                  <c:v>-8.6643036033725949E-3</c:v>
                </c:pt>
                <c:pt idx="4150">
                  <c:v>-8.6150124120737501E-3</c:v>
                </c:pt>
                <c:pt idx="4151">
                  <c:v>-8.3957533025508149E-3</c:v>
                </c:pt>
                <c:pt idx="4152">
                  <c:v>-8.2161821901376234E-3</c:v>
                </c:pt>
                <c:pt idx="4153">
                  <c:v>-8.1081837088698688E-3</c:v>
                </c:pt>
                <c:pt idx="4154">
                  <c:v>-7.9809108427132663E-3</c:v>
                </c:pt>
                <c:pt idx="4155">
                  <c:v>-7.8444392527420512E-3</c:v>
                </c:pt>
                <c:pt idx="4156">
                  <c:v>-7.7111181500523034E-3</c:v>
                </c:pt>
                <c:pt idx="4157">
                  <c:v>-7.6087368926714347E-3</c:v>
                </c:pt>
                <c:pt idx="4158">
                  <c:v>-7.5393215837034708E-3</c:v>
                </c:pt>
                <c:pt idx="4159">
                  <c:v>-7.4966418799739653E-3</c:v>
                </c:pt>
                <c:pt idx="4160">
                  <c:v>-7.4503370235445773E-3</c:v>
                </c:pt>
                <c:pt idx="4161">
                  <c:v>-7.4173853667915141E-3</c:v>
                </c:pt>
                <c:pt idx="4162">
                  <c:v>-7.4038305209302253E-3</c:v>
                </c:pt>
                <c:pt idx="4163">
                  <c:v>-7.419588929385137E-3</c:v>
                </c:pt>
                <c:pt idx="4164">
                  <c:v>-7.4226754615250301E-3</c:v>
                </c:pt>
                <c:pt idx="4165">
                  <c:v>-7.4058920016072463E-3</c:v>
                </c:pt>
                <c:pt idx="4166">
                  <c:v>-7.3732522850048316E-3</c:v>
                </c:pt>
                <c:pt idx="4167">
                  <c:v>-7.3513162999247943E-3</c:v>
                </c:pt>
                <c:pt idx="4168">
                  <c:v>-7.3240109223091671E-3</c:v>
                </c:pt>
                <c:pt idx="4169">
                  <c:v>-6.8792484434645942E-3</c:v>
                </c:pt>
                <c:pt idx="4170">
                  <c:v>-6.8310411584041209E-3</c:v>
                </c:pt>
                <c:pt idx="4171">
                  <c:v>-6.7973853071041212E-3</c:v>
                </c:pt>
                <c:pt idx="4172">
                  <c:v>-6.8051575086575007E-3</c:v>
                </c:pt>
                <c:pt idx="4173">
                  <c:v>-6.8303447108300427E-3</c:v>
                </c:pt>
                <c:pt idx="4174">
                  <c:v>-6.6723093847249303E-3</c:v>
                </c:pt>
                <c:pt idx="4175">
                  <c:v>-5.8388626905791653E-3</c:v>
                </c:pt>
                <c:pt idx="4176">
                  <c:v>-1.7356076926898344E-3</c:v>
                </c:pt>
                <c:pt idx="4177">
                  <c:v>2.5619045529305884E-2</c:v>
                </c:pt>
                <c:pt idx="4178">
                  <c:v>3.674157961757353E-2</c:v>
                </c:pt>
                <c:pt idx="4179">
                  <c:v>3.8082950579147651E-2</c:v>
                </c:pt>
                <c:pt idx="4180">
                  <c:v>4.30764156567323E-2</c:v>
                </c:pt>
                <c:pt idx="4181">
                  <c:v>4.9828623416976379E-2</c:v>
                </c:pt>
                <c:pt idx="4182">
                  <c:v>5.4955624756952204E-2</c:v>
                </c:pt>
                <c:pt idx="4183">
                  <c:v>5.5342531978819096E-2</c:v>
                </c:pt>
                <c:pt idx="4184">
                  <c:v>5.5035433036947731E-2</c:v>
                </c:pt>
                <c:pt idx="4185">
                  <c:v>5.4487768269674691E-2</c:v>
                </c:pt>
                <c:pt idx="4186">
                  <c:v>5.4090982372696272E-2</c:v>
                </c:pt>
                <c:pt idx="4187">
                  <c:v>5.3836604722954748E-2</c:v>
                </c:pt>
                <c:pt idx="4188">
                  <c:v>5.373168017564188E-2</c:v>
                </c:pt>
                <c:pt idx="4189">
                  <c:v>5.3622749189120536E-2</c:v>
                </c:pt>
                <c:pt idx="4190">
                  <c:v>5.3448332793901085E-2</c:v>
                </c:pt>
                <c:pt idx="4191">
                  <c:v>5.3191394699995398E-2</c:v>
                </c:pt>
                <c:pt idx="4192">
                  <c:v>5.287233797262092E-2</c:v>
                </c:pt>
                <c:pt idx="4193">
                  <c:v>5.2705823605124102E-2</c:v>
                </c:pt>
                <c:pt idx="4194">
                  <c:v>5.2674465439084911E-2</c:v>
                </c:pt>
                <c:pt idx="4195">
                  <c:v>5.2684600257062633E-2</c:v>
                </c:pt>
                <c:pt idx="4196">
                  <c:v>5.2700888169593452E-2</c:v>
                </c:pt>
                <c:pt idx="4197">
                  <c:v>5.2680137565747631E-2</c:v>
                </c:pt>
                <c:pt idx="4198">
                  <c:v>5.2614453749729798E-2</c:v>
                </c:pt>
                <c:pt idx="4199">
                  <c:v>5.2760360089117317E-2</c:v>
                </c:pt>
                <c:pt idx="4200">
                  <c:v>5.2768595657272363E-2</c:v>
                </c:pt>
                <c:pt idx="4201">
                  <c:v>5.2775035135529141E-2</c:v>
                </c:pt>
                <c:pt idx="4202">
                  <c:v>5.2715625619131845E-2</c:v>
                </c:pt>
                <c:pt idx="4203">
                  <c:v>5.2624074026203144E-2</c:v>
                </c:pt>
                <c:pt idx="4204">
                  <c:v>5.2718159983229443E-2</c:v>
                </c:pt>
                <c:pt idx="4205">
                  <c:v>5.2247726378498366E-2</c:v>
                </c:pt>
                <c:pt idx="4206">
                  <c:v>5.245771369558784E-2</c:v>
                </c:pt>
                <c:pt idx="4207">
                  <c:v>4.5964597226766366E-2</c:v>
                </c:pt>
                <c:pt idx="4208">
                  <c:v>3.9688619256510523E-2</c:v>
                </c:pt>
                <c:pt idx="4209">
                  <c:v>3.8975963606680632E-2</c:v>
                </c:pt>
                <c:pt idx="4210">
                  <c:v>3.4075863594411865E-2</c:v>
                </c:pt>
                <c:pt idx="4211">
                  <c:v>2.3607292679905217E-2</c:v>
                </c:pt>
                <c:pt idx="4212">
                  <c:v>8.0207296491836121E-3</c:v>
                </c:pt>
                <c:pt idx="4213">
                  <c:v>1.0631277451016632E-3</c:v>
                </c:pt>
                <c:pt idx="4214">
                  <c:v>-4.3303671884175488E-3</c:v>
                </c:pt>
                <c:pt idx="4215">
                  <c:v>-1.0142772191820576E-2</c:v>
                </c:pt>
                <c:pt idx="4216">
                  <c:v>-1.1284450946131619E-2</c:v>
                </c:pt>
                <c:pt idx="4217">
                  <c:v>-1.2079071858653659E-2</c:v>
                </c:pt>
                <c:pt idx="4218">
                  <c:v>-1.2079888596875258E-2</c:v>
                </c:pt>
                <c:pt idx="4219">
                  <c:v>-1.2086052744410358E-2</c:v>
                </c:pt>
                <c:pt idx="4220">
                  <c:v>-1.2095314769284974E-2</c:v>
                </c:pt>
                <c:pt idx="4221">
                  <c:v>-1.2095218548131462E-2</c:v>
                </c:pt>
                <c:pt idx="4222">
                  <c:v>-1.2095360651544682E-2</c:v>
                </c:pt>
                <c:pt idx="4223">
                  <c:v>-1.2090308810504612E-2</c:v>
                </c:pt>
                <c:pt idx="4224">
                  <c:v>-1.2105581005105576E-2</c:v>
                </c:pt>
                <c:pt idx="4225">
                  <c:v>-1.2108373507332331E-2</c:v>
                </c:pt>
                <c:pt idx="4226">
                  <c:v>-1.2118283749717918E-2</c:v>
                </c:pt>
                <c:pt idx="4227">
                  <c:v>-1.211810908029529E-2</c:v>
                </c:pt>
                <c:pt idx="4228">
                  <c:v>-1.2118875430016942E-2</c:v>
                </c:pt>
                <c:pt idx="4229">
                  <c:v>-1.2136409184209723E-2</c:v>
                </c:pt>
                <c:pt idx="4230">
                  <c:v>-1.2151028800775752E-2</c:v>
                </c:pt>
                <c:pt idx="4231">
                  <c:v>-1.2167558996982814E-2</c:v>
                </c:pt>
                <c:pt idx="4232">
                  <c:v>-1.2149219975451693E-2</c:v>
                </c:pt>
                <c:pt idx="4233">
                  <c:v>-1.2147947791810085E-2</c:v>
                </c:pt>
                <c:pt idx="4234">
                  <c:v>-1.2141760722183101E-2</c:v>
                </c:pt>
                <c:pt idx="4235">
                  <c:v>-1.2123462150187014E-2</c:v>
                </c:pt>
                <c:pt idx="4236">
                  <c:v>-1.2127920373026105E-2</c:v>
                </c:pt>
                <c:pt idx="4237">
                  <c:v>-1.2127549705272613E-2</c:v>
                </c:pt>
                <c:pt idx="4238">
                  <c:v>-1.21272495008246E-2</c:v>
                </c:pt>
                <c:pt idx="4239">
                  <c:v>-1.2126556321978284E-2</c:v>
                </c:pt>
                <c:pt idx="4240">
                  <c:v>-1.2125839150083631E-2</c:v>
                </c:pt>
                <c:pt idx="4241">
                  <c:v>-1.2132415260906708E-2</c:v>
                </c:pt>
                <c:pt idx="4242">
                  <c:v>-1.2134578095878906E-2</c:v>
                </c:pt>
                <c:pt idx="4243">
                  <c:v>-1.2133954886414902E-2</c:v>
                </c:pt>
                <c:pt idx="4244">
                  <c:v>-1.2138605520590172E-2</c:v>
                </c:pt>
                <c:pt idx="4245">
                  <c:v>-1.2143049822684956E-2</c:v>
                </c:pt>
                <c:pt idx="4246">
                  <c:v>-1.2148269070625328E-2</c:v>
                </c:pt>
                <c:pt idx="4247">
                  <c:v>-1.2167080754930129E-2</c:v>
                </c:pt>
                <c:pt idx="4248">
                  <c:v>-1.2169190481555597E-2</c:v>
                </c:pt>
                <c:pt idx="4249">
                  <c:v>-1.2158078622566848E-2</c:v>
                </c:pt>
                <c:pt idx="4250">
                  <c:v>-1.2159536491873776E-2</c:v>
                </c:pt>
                <c:pt idx="4251">
                  <c:v>-1.2163104841539946E-2</c:v>
                </c:pt>
                <c:pt idx="4252">
                  <c:v>-1.2164891088524766E-2</c:v>
                </c:pt>
                <c:pt idx="4253">
                  <c:v>-1.21707205051258E-2</c:v>
                </c:pt>
                <c:pt idx="4254">
                  <c:v>-1.2173399691289903E-2</c:v>
                </c:pt>
                <c:pt idx="4255">
                  <c:v>-1.2174533546086148E-2</c:v>
                </c:pt>
                <c:pt idx="4256">
                  <c:v>-1.2185450836127914E-2</c:v>
                </c:pt>
                <c:pt idx="4257">
                  <c:v>-1.2189017183258348E-2</c:v>
                </c:pt>
                <c:pt idx="4258">
                  <c:v>-1.2194167360399419E-2</c:v>
                </c:pt>
                <c:pt idx="4259">
                  <c:v>-1.2186483593901764E-2</c:v>
                </c:pt>
                <c:pt idx="4260">
                  <c:v>-1.2190488549974083E-2</c:v>
                </c:pt>
                <c:pt idx="4261">
                  <c:v>-1.2192813133762614E-2</c:v>
                </c:pt>
                <c:pt idx="4262">
                  <c:v>-1.2193790319323944E-2</c:v>
                </c:pt>
                <c:pt idx="4263">
                  <c:v>-1.2193297825075635E-2</c:v>
                </c:pt>
                <c:pt idx="4264">
                  <c:v>-1.219633154078671E-2</c:v>
                </c:pt>
                <c:pt idx="4265">
                  <c:v>-1.2217558692213831E-2</c:v>
                </c:pt>
                <c:pt idx="4266">
                  <c:v>-1.2220247562118728E-2</c:v>
                </c:pt>
                <c:pt idx="4267">
                  <c:v>-1.222277134779347E-2</c:v>
                </c:pt>
                <c:pt idx="4268">
                  <c:v>-1.2213375750364752E-2</c:v>
                </c:pt>
                <c:pt idx="4269">
                  <c:v>-1.2197643856640284E-2</c:v>
                </c:pt>
                <c:pt idx="4270">
                  <c:v>-1.2196201359871832E-2</c:v>
                </c:pt>
                <c:pt idx="4271">
                  <c:v>-1.2195074111353165E-2</c:v>
                </c:pt>
                <c:pt idx="4272">
                  <c:v>-1.2190275832657332E-2</c:v>
                </c:pt>
                <c:pt idx="4273">
                  <c:v>-1.2192329491665578E-2</c:v>
                </c:pt>
                <c:pt idx="4274">
                  <c:v>-1.2188462500302219E-2</c:v>
                </c:pt>
                <c:pt idx="4275">
                  <c:v>-1.2190489271233453E-2</c:v>
                </c:pt>
                <c:pt idx="4276">
                  <c:v>-1.2189497314877576E-2</c:v>
                </c:pt>
                <c:pt idx="4277">
                  <c:v>-1.2198875934803878E-2</c:v>
                </c:pt>
                <c:pt idx="4278">
                  <c:v>-1.2185404464604742E-2</c:v>
                </c:pt>
                <c:pt idx="4279">
                  <c:v>-1.2199162623853628E-2</c:v>
                </c:pt>
                <c:pt idx="4280">
                  <c:v>-1.2196304753533513E-2</c:v>
                </c:pt>
                <c:pt idx="4281">
                  <c:v>-1.2194180360815059E-2</c:v>
                </c:pt>
                <c:pt idx="4282">
                  <c:v>-1.2189965188189975E-2</c:v>
                </c:pt>
                <c:pt idx="4283">
                  <c:v>-1.2186861687278599E-2</c:v>
                </c:pt>
                <c:pt idx="4284">
                  <c:v>-1.2177357586821862E-2</c:v>
                </c:pt>
                <c:pt idx="4285">
                  <c:v>-1.2161709813990838E-2</c:v>
                </c:pt>
                <c:pt idx="4286">
                  <c:v>-1.2161953805923702E-2</c:v>
                </c:pt>
                <c:pt idx="4287">
                  <c:v>-1.2162570458701973E-2</c:v>
                </c:pt>
                <c:pt idx="4288">
                  <c:v>-1.2162730265732296E-2</c:v>
                </c:pt>
                <c:pt idx="4289">
                  <c:v>-1.2176943467965709E-2</c:v>
                </c:pt>
                <c:pt idx="4290">
                  <c:v>-1.2170884799453687E-2</c:v>
                </c:pt>
                <c:pt idx="4291">
                  <c:v>-1.2168342147505696E-2</c:v>
                </c:pt>
                <c:pt idx="4292">
                  <c:v>-1.2183874223007617E-2</c:v>
                </c:pt>
                <c:pt idx="4293">
                  <c:v>-1.2191554506679374E-2</c:v>
                </c:pt>
                <c:pt idx="4294">
                  <c:v>-1.2193226345703904E-2</c:v>
                </c:pt>
                <c:pt idx="4295">
                  <c:v>-1.2195054134186367E-2</c:v>
                </c:pt>
                <c:pt idx="4296">
                  <c:v>-1.2197272549312481E-2</c:v>
                </c:pt>
                <c:pt idx="4297">
                  <c:v>-1.2198616201175893E-2</c:v>
                </c:pt>
                <c:pt idx="4298">
                  <c:v>-1.2216848789740258E-2</c:v>
                </c:pt>
                <c:pt idx="4299">
                  <c:v>-1.2224471428890384E-2</c:v>
                </c:pt>
                <c:pt idx="4300">
                  <c:v>-1.2228478064240758E-2</c:v>
                </c:pt>
                <c:pt idx="4301">
                  <c:v>-1.222498963301437E-2</c:v>
                </c:pt>
                <c:pt idx="4302">
                  <c:v>-1.2221382319028131E-2</c:v>
                </c:pt>
                <c:pt idx="4303">
                  <c:v>-1.221593062716789E-2</c:v>
                </c:pt>
                <c:pt idx="4304">
                  <c:v>-1.2209495307927979E-2</c:v>
                </c:pt>
                <c:pt idx="4305">
                  <c:v>-1.2201850876376402E-2</c:v>
                </c:pt>
                <c:pt idx="4306">
                  <c:v>-1.2192901804373598E-2</c:v>
                </c:pt>
                <c:pt idx="4307">
                  <c:v>-1.2165459948048843E-2</c:v>
                </c:pt>
                <c:pt idx="4308">
                  <c:v>-1.2153872563443328E-2</c:v>
                </c:pt>
                <c:pt idx="4309">
                  <c:v>-1.2131126248018308E-2</c:v>
                </c:pt>
                <c:pt idx="4310">
                  <c:v>-1.2109227053464544E-2</c:v>
                </c:pt>
                <c:pt idx="4311">
                  <c:v>-1.2094821933811043E-2</c:v>
                </c:pt>
                <c:pt idx="4312">
                  <c:v>-1.2095823241241387E-2</c:v>
                </c:pt>
                <c:pt idx="4313">
                  <c:v>-1.2088397185087718E-2</c:v>
                </c:pt>
                <c:pt idx="4314">
                  <c:v>-1.2059722256775001E-2</c:v>
                </c:pt>
                <c:pt idx="4315">
                  <c:v>-1.207097218498264E-2</c:v>
                </c:pt>
                <c:pt idx="4316">
                  <c:v>-1.2063263342042777E-2</c:v>
                </c:pt>
                <c:pt idx="4317">
                  <c:v>-1.2058890395429242E-2</c:v>
                </c:pt>
                <c:pt idx="4318">
                  <c:v>-1.2054698939887519E-2</c:v>
                </c:pt>
                <c:pt idx="4319">
                  <c:v>-1.2052799131114445E-2</c:v>
                </c:pt>
                <c:pt idx="4320">
                  <c:v>-1.2044149587815333E-2</c:v>
                </c:pt>
                <c:pt idx="4321">
                  <c:v>-1.2054662390900322E-2</c:v>
                </c:pt>
                <c:pt idx="4322">
                  <c:v>-1.2057632903130663E-2</c:v>
                </c:pt>
                <c:pt idx="4323">
                  <c:v>-1.2064239564896957E-2</c:v>
                </c:pt>
                <c:pt idx="4324">
                  <c:v>-1.2068130345412716E-2</c:v>
                </c:pt>
                <c:pt idx="4325">
                  <c:v>-1.2061563609402028E-2</c:v>
                </c:pt>
                <c:pt idx="4326">
                  <c:v>-1.2067306568376046E-2</c:v>
                </c:pt>
                <c:pt idx="4327">
                  <c:v>-1.2069995359976051E-2</c:v>
                </c:pt>
                <c:pt idx="4328">
                  <c:v>-1.2075476165281908E-2</c:v>
                </c:pt>
                <c:pt idx="4329">
                  <c:v>-1.2077860443087125E-2</c:v>
                </c:pt>
                <c:pt idx="4330">
                  <c:v>-1.2077992592237545E-2</c:v>
                </c:pt>
                <c:pt idx="4331">
                  <c:v>-1.2078149832895513E-2</c:v>
                </c:pt>
                <c:pt idx="4332">
                  <c:v>-1.2078608694773535E-2</c:v>
                </c:pt>
                <c:pt idx="4333">
                  <c:v>-1.2079007520536375E-2</c:v>
                </c:pt>
                <c:pt idx="4334">
                  <c:v>-1.2068752706646398E-2</c:v>
                </c:pt>
                <c:pt idx="4335">
                  <c:v>-1.2059544906998303E-2</c:v>
                </c:pt>
                <c:pt idx="4336">
                  <c:v>-1.2059918024643868E-2</c:v>
                </c:pt>
                <c:pt idx="4337">
                  <c:v>-1.2069825671239246E-2</c:v>
                </c:pt>
                <c:pt idx="4338">
                  <c:v>-1.2080642693204035E-2</c:v>
                </c:pt>
                <c:pt idx="4339">
                  <c:v>-1.2088573568613918E-2</c:v>
                </c:pt>
                <c:pt idx="4340">
                  <c:v>-1.2099785657748092E-2</c:v>
                </c:pt>
                <c:pt idx="4341">
                  <c:v>-1.2108794584450529E-2</c:v>
                </c:pt>
                <c:pt idx="4342">
                  <c:v>-1.2108462550506776E-2</c:v>
                </c:pt>
                <c:pt idx="4343">
                  <c:v>-1.210493388865885E-2</c:v>
                </c:pt>
                <c:pt idx="4344">
                  <c:v>-1.2134365675127807E-2</c:v>
                </c:pt>
                <c:pt idx="4345">
                  <c:v>-1.2137335296959137E-2</c:v>
                </c:pt>
                <c:pt idx="4346">
                  <c:v>-1.2137270945326049E-2</c:v>
                </c:pt>
                <c:pt idx="4347">
                  <c:v>-1.2137184833655137E-2</c:v>
                </c:pt>
                <c:pt idx="4348">
                  <c:v>-1.213330167727868E-2</c:v>
                </c:pt>
                <c:pt idx="4349">
                  <c:v>-1.2133522859787185E-2</c:v>
                </c:pt>
                <c:pt idx="4350">
                  <c:v>-1.2148952930756639E-2</c:v>
                </c:pt>
                <c:pt idx="4351">
                  <c:v>-1.2148925531540587E-2</c:v>
                </c:pt>
                <c:pt idx="4352">
                  <c:v>-1.2149311940544655E-2</c:v>
                </c:pt>
                <c:pt idx="4353">
                  <c:v>-1.2146388315643551E-2</c:v>
                </c:pt>
                <c:pt idx="4354">
                  <c:v>-1.2142419182074942E-2</c:v>
                </c:pt>
                <c:pt idx="4355">
                  <c:v>-1.2154048031045089E-2</c:v>
                </c:pt>
                <c:pt idx="4356">
                  <c:v>-1.2154425382306069E-2</c:v>
                </c:pt>
                <c:pt idx="4357">
                  <c:v>-1.2154723545990283E-2</c:v>
                </c:pt>
                <c:pt idx="4358">
                  <c:v>-1.2155075368612055E-2</c:v>
                </c:pt>
                <c:pt idx="4359">
                  <c:v>-1.215208093935982E-2</c:v>
                </c:pt>
                <c:pt idx="4360">
                  <c:v>-1.2154149337005319E-2</c:v>
                </c:pt>
                <c:pt idx="4361">
                  <c:v>-1.2151982546585892E-2</c:v>
                </c:pt>
                <c:pt idx="4362">
                  <c:v>-1.2158092136440505E-2</c:v>
                </c:pt>
                <c:pt idx="4363">
                  <c:v>-1.2153182373929096E-2</c:v>
                </c:pt>
                <c:pt idx="4364">
                  <c:v>-1.2143978764277339E-2</c:v>
                </c:pt>
                <c:pt idx="4365">
                  <c:v>-1.2128984276278757E-2</c:v>
                </c:pt>
                <c:pt idx="4366">
                  <c:v>-1.2128034920218184E-2</c:v>
                </c:pt>
                <c:pt idx="4367">
                  <c:v>-1.2120599287275845E-2</c:v>
                </c:pt>
                <c:pt idx="4368">
                  <c:v>-1.2120180406623042E-2</c:v>
                </c:pt>
                <c:pt idx="4369">
                  <c:v>-1.2120007328794764E-2</c:v>
                </c:pt>
                <c:pt idx="4370">
                  <c:v>-1.2119743260848907E-2</c:v>
                </c:pt>
                <c:pt idx="4371">
                  <c:v>-1.211940086863319E-2</c:v>
                </c:pt>
                <c:pt idx="4372">
                  <c:v>-1.2119307410477573E-2</c:v>
                </c:pt>
                <c:pt idx="4373">
                  <c:v>-1.2126719244211919E-2</c:v>
                </c:pt>
                <c:pt idx="4374">
                  <c:v>-1.2127528142117112E-2</c:v>
                </c:pt>
                <c:pt idx="4375">
                  <c:v>-1.2125906050360343E-2</c:v>
                </c:pt>
                <c:pt idx="4376">
                  <c:v>-1.2122526290304391E-2</c:v>
                </c:pt>
                <c:pt idx="4377">
                  <c:v>-1.211010921922539E-2</c:v>
                </c:pt>
                <c:pt idx="4378">
                  <c:v>-1.2099898548442961E-2</c:v>
                </c:pt>
                <c:pt idx="4379">
                  <c:v>-1.2098182527180236E-2</c:v>
                </c:pt>
                <c:pt idx="4380">
                  <c:v>-1.2097819894964121E-2</c:v>
                </c:pt>
                <c:pt idx="4381">
                  <c:v>-1.2099802872654393E-2</c:v>
                </c:pt>
                <c:pt idx="4382">
                  <c:v>-1.2099076126269514E-2</c:v>
                </c:pt>
                <c:pt idx="4383">
                  <c:v>-1.2108307133691775E-2</c:v>
                </c:pt>
                <c:pt idx="4384">
                  <c:v>-1.2104681690300522E-2</c:v>
                </c:pt>
                <c:pt idx="4385">
                  <c:v>-1.2104534148540579E-2</c:v>
                </c:pt>
                <c:pt idx="4386">
                  <c:v>-1.2097668188683491E-2</c:v>
                </c:pt>
                <c:pt idx="4387">
                  <c:v>-1.2088268272748118E-2</c:v>
                </c:pt>
                <c:pt idx="4388">
                  <c:v>-1.2082736319810662E-2</c:v>
                </c:pt>
                <c:pt idx="4389">
                  <c:v>-1.2081480834378154E-2</c:v>
                </c:pt>
                <c:pt idx="4390">
                  <c:v>-1.2063354010970978E-2</c:v>
                </c:pt>
                <c:pt idx="4391">
                  <c:v>-1.2062729992637831E-2</c:v>
                </c:pt>
                <c:pt idx="4392">
                  <c:v>-1.2066770504578125E-2</c:v>
                </c:pt>
                <c:pt idx="4393">
                  <c:v>-1.2082519437388006E-2</c:v>
                </c:pt>
                <c:pt idx="4394">
                  <c:v>-1.2087319170670897E-2</c:v>
                </c:pt>
                <c:pt idx="4395">
                  <c:v>-1.2090894033527222E-2</c:v>
                </c:pt>
                <c:pt idx="4396">
                  <c:v>-1.2088779216839981E-2</c:v>
                </c:pt>
                <c:pt idx="4397">
                  <c:v>-1.2080907903195354E-2</c:v>
                </c:pt>
                <c:pt idx="4398">
                  <c:v>-1.207921776611773E-2</c:v>
                </c:pt>
                <c:pt idx="4399">
                  <c:v>-1.2077353689511646E-2</c:v>
                </c:pt>
                <c:pt idx="4400">
                  <c:v>-1.2075818708466296E-2</c:v>
                </c:pt>
                <c:pt idx="4401">
                  <c:v>-1.2069743896471049E-2</c:v>
                </c:pt>
                <c:pt idx="4402">
                  <c:v>-1.2067943076033781E-2</c:v>
                </c:pt>
                <c:pt idx="4403">
                  <c:v>-1.2067248159869683E-2</c:v>
                </c:pt>
                <c:pt idx="4404">
                  <c:v>-1.2065267163682976E-2</c:v>
                </c:pt>
                <c:pt idx="4405">
                  <c:v>-1.2036975632480408E-2</c:v>
                </c:pt>
                <c:pt idx="4406">
                  <c:v>-1.2032296003586044E-2</c:v>
                </c:pt>
                <c:pt idx="4407">
                  <c:v>-1.2033692417456322E-2</c:v>
                </c:pt>
                <c:pt idx="4408">
                  <c:v>-1.2049521141610994E-2</c:v>
                </c:pt>
                <c:pt idx="4409">
                  <c:v>-1.2045834942056773E-2</c:v>
                </c:pt>
                <c:pt idx="4410">
                  <c:v>-1.2051649994386611E-2</c:v>
                </c:pt>
                <c:pt idx="4411">
                  <c:v>-1.2042552685056848E-2</c:v>
                </c:pt>
                <c:pt idx="4412">
                  <c:v>-1.2031590774646104E-2</c:v>
                </c:pt>
                <c:pt idx="4413">
                  <c:v>-1.2030423069624296E-2</c:v>
                </c:pt>
                <c:pt idx="4414">
                  <c:v>-1.2038373471554476E-2</c:v>
                </c:pt>
                <c:pt idx="4415">
                  <c:v>-1.2037557067290211E-2</c:v>
                </c:pt>
                <c:pt idx="4416">
                  <c:v>-1.2036991402139961E-2</c:v>
                </c:pt>
                <c:pt idx="4417">
                  <c:v>-1.2063974687245712E-2</c:v>
                </c:pt>
                <c:pt idx="4418">
                  <c:v>-1.2063431810464065E-2</c:v>
                </c:pt>
                <c:pt idx="4419">
                  <c:v>-1.2063100659173379E-2</c:v>
                </c:pt>
                <c:pt idx="4420">
                  <c:v>-1.2033625733478858E-2</c:v>
                </c:pt>
                <c:pt idx="4421">
                  <c:v>-1.2033701461482421E-2</c:v>
                </c:pt>
                <c:pt idx="4422">
                  <c:v>-1.2029615964433244E-2</c:v>
                </c:pt>
                <c:pt idx="4423">
                  <c:v>-1.2030728891191059E-2</c:v>
                </c:pt>
                <c:pt idx="4424">
                  <c:v>-1.203466261083634E-2</c:v>
                </c:pt>
                <c:pt idx="4425">
                  <c:v>-1.2034216558586696E-2</c:v>
                </c:pt>
                <c:pt idx="4426">
                  <c:v>-1.2034006168376217E-2</c:v>
                </c:pt>
                <c:pt idx="4427">
                  <c:v>-1.2029756776589656E-2</c:v>
                </c:pt>
                <c:pt idx="4428">
                  <c:v>-1.2029621791575285E-2</c:v>
                </c:pt>
                <c:pt idx="4429">
                  <c:v>-1.2029468747410793E-2</c:v>
                </c:pt>
                <c:pt idx="4430">
                  <c:v>-1.2025004665906343E-2</c:v>
                </c:pt>
                <c:pt idx="4431">
                  <c:v>-1.2010791248122092E-2</c:v>
                </c:pt>
                <c:pt idx="4432">
                  <c:v>-1.1989573845590636E-2</c:v>
                </c:pt>
                <c:pt idx="4433">
                  <c:v>-1.1985404790727128E-2</c:v>
                </c:pt>
                <c:pt idx="4434">
                  <c:v>-1.1989875503694035E-2</c:v>
                </c:pt>
                <c:pt idx="4435">
                  <c:v>-1.200239024564643E-2</c:v>
                </c:pt>
                <c:pt idx="4436">
                  <c:v>-1.2002471444092309E-2</c:v>
                </c:pt>
                <c:pt idx="4437">
                  <c:v>-1.2001751743101464E-2</c:v>
                </c:pt>
                <c:pt idx="4438">
                  <c:v>-1.2001236429239346E-2</c:v>
                </c:pt>
                <c:pt idx="4439">
                  <c:v>-1.2005194464537851E-2</c:v>
                </c:pt>
                <c:pt idx="4440">
                  <c:v>-1.2004171006976733E-2</c:v>
                </c:pt>
                <c:pt idx="4441">
                  <c:v>-1.2018209407706419E-2</c:v>
                </c:pt>
                <c:pt idx="4442">
                  <c:v>-1.2017008415236619E-2</c:v>
                </c:pt>
                <c:pt idx="4443">
                  <c:v>-1.2010745050594148E-2</c:v>
                </c:pt>
                <c:pt idx="4444">
                  <c:v>-1.1997641173846149E-2</c:v>
                </c:pt>
                <c:pt idx="4445">
                  <c:v>-1.2003309244507775E-2</c:v>
                </c:pt>
                <c:pt idx="4446">
                  <c:v>-1.1996569917900619E-2</c:v>
                </c:pt>
                <c:pt idx="4447">
                  <c:v>-1.199357417644295E-2</c:v>
                </c:pt>
                <c:pt idx="4448">
                  <c:v>-1.1993370027473076E-2</c:v>
                </c:pt>
                <c:pt idx="4449">
                  <c:v>-1.199093397915108E-2</c:v>
                </c:pt>
                <c:pt idx="4450">
                  <c:v>-1.2010712685743798E-2</c:v>
                </c:pt>
                <c:pt idx="4451">
                  <c:v>-1.2004873213561695E-2</c:v>
                </c:pt>
                <c:pt idx="4452">
                  <c:v>-1.2000251618241135E-2</c:v>
                </c:pt>
                <c:pt idx="4453">
                  <c:v>-1.1998637482624169E-2</c:v>
                </c:pt>
                <c:pt idx="4454">
                  <c:v>-1.1998372183139591E-2</c:v>
                </c:pt>
                <c:pt idx="4455">
                  <c:v>-1.1998026162551063E-2</c:v>
                </c:pt>
                <c:pt idx="4456">
                  <c:v>-1.1997796422338657E-2</c:v>
                </c:pt>
                <c:pt idx="4457">
                  <c:v>-1.200528904678465E-2</c:v>
                </c:pt>
                <c:pt idx="4458">
                  <c:v>-1.2005154283777606E-2</c:v>
                </c:pt>
                <c:pt idx="4459">
                  <c:v>-1.2003471419228352E-2</c:v>
                </c:pt>
                <c:pt idx="4460">
                  <c:v>-1.2008895232184881E-2</c:v>
                </c:pt>
                <c:pt idx="4461">
                  <c:v>-1.201679013179573E-2</c:v>
                </c:pt>
                <c:pt idx="4462">
                  <c:v>-1.2059251345903087E-2</c:v>
                </c:pt>
                <c:pt idx="4463">
                  <c:v>-1.2051222263017703E-2</c:v>
                </c:pt>
                <c:pt idx="4464">
                  <c:v>-1.2048429132248012E-2</c:v>
                </c:pt>
                <c:pt idx="4465">
                  <c:v>-1.202618850763495E-2</c:v>
                </c:pt>
                <c:pt idx="4466">
                  <c:v>-1.2026631022795008E-2</c:v>
                </c:pt>
                <c:pt idx="4467">
                  <c:v>-1.2026813089912502E-2</c:v>
                </c:pt>
                <c:pt idx="4468">
                  <c:v>-1.2027231243895889E-2</c:v>
                </c:pt>
                <c:pt idx="4469">
                  <c:v>-1.2025717210515796E-2</c:v>
                </c:pt>
                <c:pt idx="4470">
                  <c:v>-1.2025957195954208E-2</c:v>
                </c:pt>
                <c:pt idx="4471">
                  <c:v>-1.2026144655700257E-2</c:v>
                </c:pt>
                <c:pt idx="4472">
                  <c:v>-1.2027878848110646E-2</c:v>
                </c:pt>
                <c:pt idx="4473">
                  <c:v>-1.203854184158489E-2</c:v>
                </c:pt>
                <c:pt idx="4474">
                  <c:v>-1.2038710402975073E-2</c:v>
                </c:pt>
                <c:pt idx="4475">
                  <c:v>-1.2035269943996897E-2</c:v>
                </c:pt>
                <c:pt idx="4476">
                  <c:v>-1.204871499443249E-2</c:v>
                </c:pt>
                <c:pt idx="4477">
                  <c:v>-1.2050483470740937E-2</c:v>
                </c:pt>
                <c:pt idx="4478">
                  <c:v>-1.2051086779431794E-2</c:v>
                </c:pt>
                <c:pt idx="4479">
                  <c:v>-1.2052991473727513E-2</c:v>
                </c:pt>
                <c:pt idx="4480">
                  <c:v>-1.2055081574596248E-2</c:v>
                </c:pt>
                <c:pt idx="4481">
                  <c:v>-1.2068088220178528E-2</c:v>
                </c:pt>
                <c:pt idx="4482">
                  <c:v>-1.2063746233917047E-2</c:v>
                </c:pt>
                <c:pt idx="4483">
                  <c:v>-1.2058858014101594E-2</c:v>
                </c:pt>
                <c:pt idx="4484">
                  <c:v>-1.2057868879190751E-2</c:v>
                </c:pt>
                <c:pt idx="4485">
                  <c:v>-1.2057055408056006E-2</c:v>
                </c:pt>
                <c:pt idx="4486">
                  <c:v>-1.2038835133370257E-2</c:v>
                </c:pt>
                <c:pt idx="4487">
                  <c:v>-1.2034878189447285E-2</c:v>
                </c:pt>
                <c:pt idx="4488">
                  <c:v>-1.2029058057167067E-2</c:v>
                </c:pt>
                <c:pt idx="4489">
                  <c:v>-1.2020076051262877E-2</c:v>
                </c:pt>
                <c:pt idx="4490">
                  <c:v>-1.202032100047957E-2</c:v>
                </c:pt>
                <c:pt idx="4491">
                  <c:v>-1.2020739100692722E-2</c:v>
                </c:pt>
                <c:pt idx="4492">
                  <c:v>-1.2006515637110013E-2</c:v>
                </c:pt>
                <c:pt idx="4493">
                  <c:v>-1.2011275666918661E-2</c:v>
                </c:pt>
                <c:pt idx="4494">
                  <c:v>-1.2002873812452406E-2</c:v>
                </c:pt>
                <c:pt idx="4495">
                  <c:v>-1.2011217053875896E-2</c:v>
                </c:pt>
                <c:pt idx="4496">
                  <c:v>-1.2015804686383677E-2</c:v>
                </c:pt>
                <c:pt idx="4497">
                  <c:v>-1.2010693199039989E-2</c:v>
                </c:pt>
                <c:pt idx="4498">
                  <c:v>-1.2010500647082169E-2</c:v>
                </c:pt>
                <c:pt idx="4499">
                  <c:v>-1.1997103290678712E-2</c:v>
                </c:pt>
                <c:pt idx="4500">
                  <c:v>-1.19967127079223E-2</c:v>
                </c:pt>
                <c:pt idx="4501">
                  <c:v>-1.1992547109318442E-2</c:v>
                </c:pt>
                <c:pt idx="4502">
                  <c:v>-1.1992731720835882E-2</c:v>
                </c:pt>
                <c:pt idx="4503">
                  <c:v>-1.1992185366173622E-2</c:v>
                </c:pt>
                <c:pt idx="4504">
                  <c:v>-1.1991505687992492E-2</c:v>
                </c:pt>
                <c:pt idx="4505">
                  <c:v>-1.199663794512202E-2</c:v>
                </c:pt>
                <c:pt idx="4506">
                  <c:v>-1.1996855753894134E-2</c:v>
                </c:pt>
                <c:pt idx="4507">
                  <c:v>-1.1997361215397568E-2</c:v>
                </c:pt>
                <c:pt idx="4508">
                  <c:v>-1.1998179405963092E-2</c:v>
                </c:pt>
                <c:pt idx="4509">
                  <c:v>-1.1997656831921872E-2</c:v>
                </c:pt>
                <c:pt idx="4510">
                  <c:v>-1.1998747601948108E-2</c:v>
                </c:pt>
                <c:pt idx="4511">
                  <c:v>-1.1998503481833131E-2</c:v>
                </c:pt>
                <c:pt idx="4512">
                  <c:v>-1.2017398690028314E-2</c:v>
                </c:pt>
                <c:pt idx="4513">
                  <c:v>-1.2015960454259527E-2</c:v>
                </c:pt>
                <c:pt idx="4514">
                  <c:v>-1.2014420246676493E-2</c:v>
                </c:pt>
                <c:pt idx="4515">
                  <c:v>-1.2013246937205428E-2</c:v>
                </c:pt>
                <c:pt idx="4516">
                  <c:v>-1.2014896242537531E-2</c:v>
                </c:pt>
                <c:pt idx="4517">
                  <c:v>-1.201176162747444E-2</c:v>
                </c:pt>
                <c:pt idx="4518">
                  <c:v>-1.2014018607691456E-2</c:v>
                </c:pt>
                <c:pt idx="4519">
                  <c:v>-1.2025785371546352E-2</c:v>
                </c:pt>
                <c:pt idx="4520">
                  <c:v>-1.2015241839996398E-2</c:v>
                </c:pt>
                <c:pt idx="4521">
                  <c:v>-1.2014859228125471E-2</c:v>
                </c:pt>
                <c:pt idx="4522">
                  <c:v>-1.2022715965007999E-2</c:v>
                </c:pt>
                <c:pt idx="4523">
                  <c:v>-1.2020205123388092E-2</c:v>
                </c:pt>
                <c:pt idx="4524">
                  <c:v>-1.2029263379443135E-2</c:v>
                </c:pt>
                <c:pt idx="4525">
                  <c:v>-1.2037703154480795E-2</c:v>
                </c:pt>
                <c:pt idx="4526">
                  <c:v>-1.2035864517492178E-2</c:v>
                </c:pt>
                <c:pt idx="4527">
                  <c:v>-1.2047738282099591E-2</c:v>
                </c:pt>
                <c:pt idx="4528">
                  <c:v>-1.2038155023857907E-2</c:v>
                </c:pt>
                <c:pt idx="4529">
                  <c:v>-1.205469666663792E-2</c:v>
                </c:pt>
                <c:pt idx="4530">
                  <c:v>-1.2046643476556354E-2</c:v>
                </c:pt>
                <c:pt idx="4531">
                  <c:v>-1.2040347089028356E-2</c:v>
                </c:pt>
                <c:pt idx="4532">
                  <c:v>-1.2038584762922943E-2</c:v>
                </c:pt>
                <c:pt idx="4533">
                  <c:v>-1.2037258816677868E-2</c:v>
                </c:pt>
                <c:pt idx="4534">
                  <c:v>-1.2041398475011997E-2</c:v>
                </c:pt>
                <c:pt idx="4535">
                  <c:v>-1.2043231851729315E-2</c:v>
                </c:pt>
                <c:pt idx="4536">
                  <c:v>-1.2045087120245511E-2</c:v>
                </c:pt>
                <c:pt idx="4537">
                  <c:v>-1.2047094397583448E-2</c:v>
                </c:pt>
                <c:pt idx="4538">
                  <c:v>-1.2049273341361334E-2</c:v>
                </c:pt>
                <c:pt idx="4539">
                  <c:v>-1.2033714442256064E-2</c:v>
                </c:pt>
                <c:pt idx="4540">
                  <c:v>-1.2033246392859572E-2</c:v>
                </c:pt>
                <c:pt idx="4541">
                  <c:v>-1.2036357255011624E-2</c:v>
                </c:pt>
                <c:pt idx="4542">
                  <c:v>-1.2040968753829966E-2</c:v>
                </c:pt>
                <c:pt idx="4543">
                  <c:v>-1.2035937069143915E-2</c:v>
                </c:pt>
                <c:pt idx="4544">
                  <c:v>-1.2036802307907634E-2</c:v>
                </c:pt>
                <c:pt idx="4545">
                  <c:v>-1.2036391360240204E-2</c:v>
                </c:pt>
                <c:pt idx="4546">
                  <c:v>-1.204897576165632E-2</c:v>
                </c:pt>
                <c:pt idx="4547">
                  <c:v>-1.20578599939176E-2</c:v>
                </c:pt>
                <c:pt idx="4548">
                  <c:v>-1.2059706229009405E-2</c:v>
                </c:pt>
                <c:pt idx="4549">
                  <c:v>-1.2061714364948741E-2</c:v>
                </c:pt>
                <c:pt idx="4550">
                  <c:v>-1.2073413647450654E-2</c:v>
                </c:pt>
                <c:pt idx="4551">
                  <c:v>-1.2072587602845684E-2</c:v>
                </c:pt>
                <c:pt idx="4552">
                  <c:v>-1.2072696361488429E-2</c:v>
                </c:pt>
                <c:pt idx="4553">
                  <c:v>-1.2074844541098429E-2</c:v>
                </c:pt>
                <c:pt idx="4554">
                  <c:v>-1.2077246719739702E-2</c:v>
                </c:pt>
                <c:pt idx="4555">
                  <c:v>-1.2077990922941182E-2</c:v>
                </c:pt>
                <c:pt idx="4556">
                  <c:v>-1.2076843821580745E-2</c:v>
                </c:pt>
                <c:pt idx="4557">
                  <c:v>-1.2075553351524814E-2</c:v>
                </c:pt>
                <c:pt idx="4558">
                  <c:v>-1.2089197431708106E-2</c:v>
                </c:pt>
                <c:pt idx="4559">
                  <c:v>-1.209717928570022E-2</c:v>
                </c:pt>
                <c:pt idx="4560">
                  <c:v>-1.2112576987063381E-2</c:v>
                </c:pt>
                <c:pt idx="4561">
                  <c:v>-1.2122996834537414E-2</c:v>
                </c:pt>
                <c:pt idx="4562">
                  <c:v>-1.2125182670486203E-2</c:v>
                </c:pt>
                <c:pt idx="4563">
                  <c:v>-1.2130896543554134E-2</c:v>
                </c:pt>
                <c:pt idx="4564">
                  <c:v>-1.2131847294712938E-2</c:v>
                </c:pt>
                <c:pt idx="4565">
                  <c:v>-1.2132628785733289E-2</c:v>
                </c:pt>
                <c:pt idx="4566">
                  <c:v>-1.2123872565456936E-2</c:v>
                </c:pt>
                <c:pt idx="4567">
                  <c:v>-1.2109096647342445E-2</c:v>
                </c:pt>
                <c:pt idx="4568">
                  <c:v>-1.2105479569001121E-2</c:v>
                </c:pt>
                <c:pt idx="4569">
                  <c:v>-1.210560641321551E-2</c:v>
                </c:pt>
                <c:pt idx="4570">
                  <c:v>-1.2109699247402128E-2</c:v>
                </c:pt>
                <c:pt idx="4571">
                  <c:v>-1.2105941950299733E-2</c:v>
                </c:pt>
                <c:pt idx="4572">
                  <c:v>-1.2106080315196249E-2</c:v>
                </c:pt>
                <c:pt idx="4573">
                  <c:v>-1.2115753415145394E-2</c:v>
                </c:pt>
                <c:pt idx="4574">
                  <c:v>-1.2113936666372938E-2</c:v>
                </c:pt>
                <c:pt idx="4575">
                  <c:v>-1.2114276097337647E-2</c:v>
                </c:pt>
                <c:pt idx="4576">
                  <c:v>-1.2105703296462621E-2</c:v>
                </c:pt>
                <c:pt idx="4577">
                  <c:v>-1.209322105672651E-2</c:v>
                </c:pt>
                <c:pt idx="4578">
                  <c:v>-1.2085625765409747E-2</c:v>
                </c:pt>
                <c:pt idx="4579">
                  <c:v>-1.2081355560807238E-2</c:v>
                </c:pt>
                <c:pt idx="4580">
                  <c:v>-1.2076947079149105E-2</c:v>
                </c:pt>
                <c:pt idx="4581">
                  <c:v>-1.2076833410648798E-2</c:v>
                </c:pt>
                <c:pt idx="4582">
                  <c:v>-1.2077269216407102E-2</c:v>
                </c:pt>
                <c:pt idx="4583">
                  <c:v>-1.2076254686816014E-2</c:v>
                </c:pt>
                <c:pt idx="4584">
                  <c:v>-1.2076796465245355E-2</c:v>
                </c:pt>
                <c:pt idx="4585">
                  <c:v>-1.2080343647036812E-2</c:v>
                </c:pt>
                <c:pt idx="4586">
                  <c:v>-1.2084780356281574E-2</c:v>
                </c:pt>
                <c:pt idx="4587">
                  <c:v>-1.2085493668799793E-2</c:v>
                </c:pt>
                <c:pt idx="4588">
                  <c:v>-1.2086413658727143E-2</c:v>
                </c:pt>
                <c:pt idx="4589">
                  <c:v>-1.2082737517236767E-2</c:v>
                </c:pt>
                <c:pt idx="4590">
                  <c:v>-1.2083156615448344E-2</c:v>
                </c:pt>
                <c:pt idx="4591">
                  <c:v>-1.2083784064975603E-2</c:v>
                </c:pt>
                <c:pt idx="4592">
                  <c:v>-1.2080324153116112E-2</c:v>
                </c:pt>
                <c:pt idx="4593">
                  <c:v>-1.2076333999612462E-2</c:v>
                </c:pt>
                <c:pt idx="4594">
                  <c:v>-1.2076287362761985E-2</c:v>
                </c:pt>
                <c:pt idx="4595">
                  <c:v>-1.2031724382375745E-2</c:v>
                </c:pt>
                <c:pt idx="4596">
                  <c:v>-1.2030821082053507E-2</c:v>
                </c:pt>
                <c:pt idx="4597">
                  <c:v>-1.2041646214447029E-2</c:v>
                </c:pt>
                <c:pt idx="4598">
                  <c:v>-1.2044856202899171E-2</c:v>
                </c:pt>
                <c:pt idx="4599">
                  <c:v>-1.20426608245309E-2</c:v>
                </c:pt>
                <c:pt idx="4600">
                  <c:v>-1.20361132020843E-2</c:v>
                </c:pt>
                <c:pt idx="4601">
                  <c:v>-1.2038424868949791E-2</c:v>
                </c:pt>
                <c:pt idx="4602">
                  <c:v>-1.20325493374982E-2</c:v>
                </c:pt>
                <c:pt idx="4603">
                  <c:v>-1.2016897779958947E-2</c:v>
                </c:pt>
                <c:pt idx="4604">
                  <c:v>-1.2010866772992962E-2</c:v>
                </c:pt>
                <c:pt idx="4605">
                  <c:v>-1.2004071700759882E-2</c:v>
                </c:pt>
                <c:pt idx="4606">
                  <c:v>-1.1994717509654359E-2</c:v>
                </c:pt>
                <c:pt idx="4607">
                  <c:v>-1.2004506583363602E-2</c:v>
                </c:pt>
                <c:pt idx="4608">
                  <c:v>-1.2004993918789465E-2</c:v>
                </c:pt>
                <c:pt idx="4609">
                  <c:v>-1.2011922067542612E-2</c:v>
                </c:pt>
                <c:pt idx="4610">
                  <c:v>-1.2011624384370752E-2</c:v>
                </c:pt>
                <c:pt idx="4611">
                  <c:v>-1.1995481095214165E-2</c:v>
                </c:pt>
                <c:pt idx="4612">
                  <c:v>-1.1985726510654351E-2</c:v>
                </c:pt>
                <c:pt idx="4613">
                  <c:v>-1.1970002097218968E-2</c:v>
                </c:pt>
                <c:pt idx="4614">
                  <c:v>-1.1960383849564217E-2</c:v>
                </c:pt>
                <c:pt idx="4615">
                  <c:v>-1.1953586486859858E-2</c:v>
                </c:pt>
                <c:pt idx="4616">
                  <c:v>-1.1947288675151546E-2</c:v>
                </c:pt>
                <c:pt idx="4617">
                  <c:v>-1.194407250295748E-2</c:v>
                </c:pt>
                <c:pt idx="4618">
                  <c:v>-1.1931679204284099E-2</c:v>
                </c:pt>
                <c:pt idx="4619">
                  <c:v>-1.1922163407078579E-2</c:v>
                </c:pt>
                <c:pt idx="4620">
                  <c:v>-1.1920410181663201E-2</c:v>
                </c:pt>
                <c:pt idx="4621">
                  <c:v>-1.1919608809837931E-2</c:v>
                </c:pt>
                <c:pt idx="4622">
                  <c:v>-1.1921962141676262E-2</c:v>
                </c:pt>
                <c:pt idx="4623">
                  <c:v>-1.1922057190916741E-2</c:v>
                </c:pt>
                <c:pt idx="4624">
                  <c:v>-1.1917478018662353E-2</c:v>
                </c:pt>
                <c:pt idx="4625">
                  <c:v>-1.1959399438515005E-2</c:v>
                </c:pt>
                <c:pt idx="4626">
                  <c:v>-1.1953047552019916E-2</c:v>
                </c:pt>
                <c:pt idx="4627">
                  <c:v>-1.1948813925267995E-2</c:v>
                </c:pt>
                <c:pt idx="4628">
                  <c:v>-1.1949835813329295E-2</c:v>
                </c:pt>
                <c:pt idx="4629">
                  <c:v>-1.1960205664835381E-2</c:v>
                </c:pt>
                <c:pt idx="4630">
                  <c:v>-1.1955157008658152E-2</c:v>
                </c:pt>
                <c:pt idx="4631">
                  <c:v>-1.1956556516065314E-2</c:v>
                </c:pt>
                <c:pt idx="4632">
                  <c:v>-1.1960260135737831E-2</c:v>
                </c:pt>
                <c:pt idx="4633">
                  <c:v>-1.197530055527875E-2</c:v>
                </c:pt>
                <c:pt idx="4634">
                  <c:v>-1.1978934671868563E-2</c:v>
                </c:pt>
                <c:pt idx="4635">
                  <c:v>-1.1979767460671965E-2</c:v>
                </c:pt>
                <c:pt idx="4636">
                  <c:v>-1.1990489500906641E-2</c:v>
                </c:pt>
                <c:pt idx="4637">
                  <c:v>-1.1992007193383799E-2</c:v>
                </c:pt>
                <c:pt idx="4638">
                  <c:v>-1.1993254179344257E-2</c:v>
                </c:pt>
                <c:pt idx="4639">
                  <c:v>-1.1973841232707635E-2</c:v>
                </c:pt>
                <c:pt idx="4640">
                  <c:v>-1.1971280169651656E-2</c:v>
                </c:pt>
                <c:pt idx="4641">
                  <c:v>-1.1979843414344068E-2</c:v>
                </c:pt>
                <c:pt idx="4642">
                  <c:v>-1.1985783387437042E-2</c:v>
                </c:pt>
                <c:pt idx="4643">
                  <c:v>-1.1994942589403734E-2</c:v>
                </c:pt>
                <c:pt idx="4644">
                  <c:v>-1.2002743584960687E-2</c:v>
                </c:pt>
                <c:pt idx="4645">
                  <c:v>-1.2003620743057022E-2</c:v>
                </c:pt>
                <c:pt idx="4646">
                  <c:v>-1.2002660001497571E-2</c:v>
                </c:pt>
                <c:pt idx="4647">
                  <c:v>-1.200076274428637E-2</c:v>
                </c:pt>
                <c:pt idx="4648">
                  <c:v>-1.1999233718723617E-2</c:v>
                </c:pt>
                <c:pt idx="4649">
                  <c:v>-1.2020374387110911E-2</c:v>
                </c:pt>
                <c:pt idx="4650">
                  <c:v>-1.201944121952578E-2</c:v>
                </c:pt>
                <c:pt idx="4651">
                  <c:v>-1.2018443061574534E-2</c:v>
                </c:pt>
                <c:pt idx="4652">
                  <c:v>-1.2008902396770733E-2</c:v>
                </c:pt>
                <c:pt idx="4653">
                  <c:v>-1.1999752199211944E-2</c:v>
                </c:pt>
                <c:pt idx="4654">
                  <c:v>-1.2009784117524069E-2</c:v>
                </c:pt>
                <c:pt idx="4655">
                  <c:v>-1.2006537142576256E-2</c:v>
                </c:pt>
                <c:pt idx="4656">
                  <c:v>-1.2015974433425867E-2</c:v>
                </c:pt>
                <c:pt idx="4657">
                  <c:v>-1.2027230446284566E-2</c:v>
                </c:pt>
                <c:pt idx="4658">
                  <c:v>-1.2024452265241648E-2</c:v>
                </c:pt>
                <c:pt idx="4659">
                  <c:v>-1.2027273113042414E-2</c:v>
                </c:pt>
                <c:pt idx="4660">
                  <c:v>-1.2025580777074631E-2</c:v>
                </c:pt>
                <c:pt idx="4661">
                  <c:v>-1.2024341652259062E-2</c:v>
                </c:pt>
                <c:pt idx="4662">
                  <c:v>-1.2022645601301023E-2</c:v>
                </c:pt>
                <c:pt idx="4663">
                  <c:v>-1.2013970655885674E-2</c:v>
                </c:pt>
                <c:pt idx="4664">
                  <c:v>-1.2004776905127242E-2</c:v>
                </c:pt>
                <c:pt idx="4665">
                  <c:v>-1.2011858014975651E-2</c:v>
                </c:pt>
                <c:pt idx="4666">
                  <c:v>-1.2012213295506922E-2</c:v>
                </c:pt>
                <c:pt idx="4667">
                  <c:v>-1.2012569827409846E-2</c:v>
                </c:pt>
                <c:pt idx="4668">
                  <c:v>-1.201317749876361E-2</c:v>
                </c:pt>
                <c:pt idx="4669">
                  <c:v>-1.2035492417453121E-2</c:v>
                </c:pt>
                <c:pt idx="4670">
                  <c:v>-1.2038213114068906E-2</c:v>
                </c:pt>
                <c:pt idx="4671">
                  <c:v>-1.2038963415146677E-2</c:v>
                </c:pt>
                <c:pt idx="4672">
                  <c:v>-1.2043254014463111E-2</c:v>
                </c:pt>
                <c:pt idx="4673">
                  <c:v>-1.2041782332660211E-2</c:v>
                </c:pt>
                <c:pt idx="4674">
                  <c:v>-1.2042485679110277E-2</c:v>
                </c:pt>
                <c:pt idx="4675">
                  <c:v>-1.2034099334978454E-2</c:v>
                </c:pt>
                <c:pt idx="4676">
                  <c:v>-1.202264357238369E-2</c:v>
                </c:pt>
                <c:pt idx="4677">
                  <c:v>-1.2020255735673972E-2</c:v>
                </c:pt>
                <c:pt idx="4678">
                  <c:v>-1.2027994369894249E-2</c:v>
                </c:pt>
                <c:pt idx="4679">
                  <c:v>-1.2027423409383682E-2</c:v>
                </c:pt>
                <c:pt idx="4680">
                  <c:v>-1.2025101953444335E-2</c:v>
                </c:pt>
                <c:pt idx="4681">
                  <c:v>-1.2024976276642542E-2</c:v>
                </c:pt>
                <c:pt idx="4682">
                  <c:v>-1.2031543253993252E-2</c:v>
                </c:pt>
                <c:pt idx="4683">
                  <c:v>-1.2043685077560247E-2</c:v>
                </c:pt>
                <c:pt idx="4684">
                  <c:v>-1.2042924047896045E-2</c:v>
                </c:pt>
                <c:pt idx="4685">
                  <c:v>-1.2043347658702923E-2</c:v>
                </c:pt>
                <c:pt idx="4686">
                  <c:v>-1.2037713165772197E-2</c:v>
                </c:pt>
                <c:pt idx="4687">
                  <c:v>-1.202813705239272E-2</c:v>
                </c:pt>
                <c:pt idx="4688">
                  <c:v>-1.203141488046717E-2</c:v>
                </c:pt>
                <c:pt idx="4689">
                  <c:v>-1.2038128191944041E-2</c:v>
                </c:pt>
                <c:pt idx="4690">
                  <c:v>-1.2051116814326128E-2</c:v>
                </c:pt>
                <c:pt idx="4691">
                  <c:v>-1.2051291631042882E-2</c:v>
                </c:pt>
                <c:pt idx="4692">
                  <c:v>-1.204970764165314E-2</c:v>
                </c:pt>
                <c:pt idx="4693">
                  <c:v>-1.2066019714939603E-2</c:v>
                </c:pt>
                <c:pt idx="4694">
                  <c:v>-1.2068207694170077E-2</c:v>
                </c:pt>
                <c:pt idx="4695">
                  <c:v>-1.2072440326320953E-2</c:v>
                </c:pt>
                <c:pt idx="4696">
                  <c:v>-1.2071089833243943E-2</c:v>
                </c:pt>
                <c:pt idx="4697">
                  <c:v>-1.2070142751735517E-2</c:v>
                </c:pt>
                <c:pt idx="4698">
                  <c:v>-1.2068443532058696E-2</c:v>
                </c:pt>
                <c:pt idx="4699">
                  <c:v>-1.2069285086618649E-2</c:v>
                </c:pt>
                <c:pt idx="4700">
                  <c:v>-1.2067346957284999E-2</c:v>
                </c:pt>
                <c:pt idx="4701">
                  <c:v>-1.2065717434058348E-2</c:v>
                </c:pt>
                <c:pt idx="4702">
                  <c:v>-1.2064671410608789E-2</c:v>
                </c:pt>
                <c:pt idx="4703">
                  <c:v>-1.2065530250720657E-2</c:v>
                </c:pt>
                <c:pt idx="4704">
                  <c:v>-1.2064719844367945E-2</c:v>
                </c:pt>
                <c:pt idx="4705">
                  <c:v>-1.2074398292346271E-2</c:v>
                </c:pt>
                <c:pt idx="4706">
                  <c:v>-1.2097375104963084E-2</c:v>
                </c:pt>
                <c:pt idx="4707">
                  <c:v>-1.2097665405750071E-2</c:v>
                </c:pt>
                <c:pt idx="4708">
                  <c:v>-1.2097103191405011E-2</c:v>
                </c:pt>
                <c:pt idx="4709">
                  <c:v>-1.2097080030814406E-2</c:v>
                </c:pt>
                <c:pt idx="4710">
                  <c:v>-1.2097553372895689E-2</c:v>
                </c:pt>
                <c:pt idx="4711">
                  <c:v>-1.2090116766986169E-2</c:v>
                </c:pt>
                <c:pt idx="4712">
                  <c:v>-1.2090249864315599E-2</c:v>
                </c:pt>
                <c:pt idx="4713">
                  <c:v>-1.2083793875386644E-2</c:v>
                </c:pt>
                <c:pt idx="4714">
                  <c:v>-1.2085528301484467E-2</c:v>
                </c:pt>
                <c:pt idx="4715">
                  <c:v>-1.2084414117273495E-2</c:v>
                </c:pt>
                <c:pt idx="4716">
                  <c:v>-1.2095095089809408E-2</c:v>
                </c:pt>
                <c:pt idx="4717">
                  <c:v>-1.2075864705217954E-2</c:v>
                </c:pt>
                <c:pt idx="4718">
                  <c:v>-1.2070131497697353E-2</c:v>
                </c:pt>
                <c:pt idx="4719">
                  <c:v>-1.2062590435253153E-2</c:v>
                </c:pt>
                <c:pt idx="4720">
                  <c:v>-1.206170334446483E-2</c:v>
                </c:pt>
                <c:pt idx="4721">
                  <c:v>-9.1212451785043416E-3</c:v>
                </c:pt>
                <c:pt idx="4722">
                  <c:v>-7.8354366156321367E-3</c:v>
                </c:pt>
                <c:pt idx="4723">
                  <c:v>-5.3970670155419221E-3</c:v>
                </c:pt>
                <c:pt idx="4724">
                  <c:v>-3.3970868933079872E-3</c:v>
                </c:pt>
                <c:pt idx="4725">
                  <c:v>-1.8243356217839419E-3</c:v>
                </c:pt>
                <c:pt idx="4726">
                  <c:v>-5.2325708015433722E-4</c:v>
                </c:pt>
                <c:pt idx="4727">
                  <c:v>7.4681091892929777E-4</c:v>
                </c:pt>
                <c:pt idx="4728">
                  <c:v>1.9494899823716098E-3</c:v>
                </c:pt>
                <c:pt idx="4729">
                  <c:v>4.320174009546195E-3</c:v>
                </c:pt>
                <c:pt idx="4730">
                  <c:v>6.3070278635384471E-3</c:v>
                </c:pt>
                <c:pt idx="4731">
                  <c:v>8.8577159074339201E-3</c:v>
                </c:pt>
                <c:pt idx="4732">
                  <c:v>1.1243898283552446E-2</c:v>
                </c:pt>
                <c:pt idx="4733">
                  <c:v>1.4017666202623331E-2</c:v>
                </c:pt>
                <c:pt idx="4734">
                  <c:v>1.6277650748055518E-2</c:v>
                </c:pt>
                <c:pt idx="4735">
                  <c:v>1.9154879920921707E-2</c:v>
                </c:pt>
                <c:pt idx="4736">
                  <c:v>2.1914729366624329E-2</c:v>
                </c:pt>
                <c:pt idx="4737">
                  <c:v>2.499148039181108E-2</c:v>
                </c:pt>
                <c:pt idx="4738">
                  <c:v>2.7660555689297137E-2</c:v>
                </c:pt>
                <c:pt idx="4739">
                  <c:v>3.0407062215197407E-2</c:v>
                </c:pt>
                <c:pt idx="4740">
                  <c:v>3.2680906856457942E-2</c:v>
                </c:pt>
                <c:pt idx="4741">
                  <c:v>3.4643822628514363E-2</c:v>
                </c:pt>
                <c:pt idx="4742">
                  <c:v>3.63899337182257E-2</c:v>
                </c:pt>
                <c:pt idx="4743">
                  <c:v>3.7781015414477259E-2</c:v>
                </c:pt>
                <c:pt idx="4744">
                  <c:v>4.0044573593934263E-2</c:v>
                </c:pt>
                <c:pt idx="4745">
                  <c:v>4.3239782790063477E-2</c:v>
                </c:pt>
                <c:pt idx="4746">
                  <c:v>4.5767066947615592E-2</c:v>
                </c:pt>
                <c:pt idx="4747">
                  <c:v>4.8574660523930592E-2</c:v>
                </c:pt>
                <c:pt idx="4748">
                  <c:v>5.0866667717247113E-2</c:v>
                </c:pt>
                <c:pt idx="4749">
                  <c:v>5.227262175796886E-2</c:v>
                </c:pt>
                <c:pt idx="4750">
                  <c:v>5.4344084814979474E-2</c:v>
                </c:pt>
                <c:pt idx="4751">
                  <c:v>5.7075990718660652E-2</c:v>
                </c:pt>
                <c:pt idx="4752">
                  <c:v>5.9187686683077528E-2</c:v>
                </c:pt>
                <c:pt idx="4753">
                  <c:v>6.0975669623958048E-2</c:v>
                </c:pt>
                <c:pt idx="4754">
                  <c:v>6.2329824784162755E-2</c:v>
                </c:pt>
                <c:pt idx="4755">
                  <c:v>6.2907744948989472E-2</c:v>
                </c:pt>
                <c:pt idx="4756">
                  <c:v>6.2780666185189543E-2</c:v>
                </c:pt>
                <c:pt idx="4757">
                  <c:v>6.3136630714399233E-2</c:v>
                </c:pt>
                <c:pt idx="4758">
                  <c:v>6.2714276094345392E-2</c:v>
                </c:pt>
                <c:pt idx="4759">
                  <c:v>6.2459613882300147E-2</c:v>
                </c:pt>
                <c:pt idx="4760">
                  <c:v>6.1480251747004847E-2</c:v>
                </c:pt>
                <c:pt idx="4761">
                  <c:v>6.0495639424906877E-2</c:v>
                </c:pt>
                <c:pt idx="4762">
                  <c:v>5.9598550971701469E-2</c:v>
                </c:pt>
                <c:pt idx="4763">
                  <c:v>5.8724019752888504E-2</c:v>
                </c:pt>
                <c:pt idx="4764">
                  <c:v>5.7131475621590849E-2</c:v>
                </c:pt>
                <c:pt idx="4765">
                  <c:v>5.5947492263323809E-2</c:v>
                </c:pt>
                <c:pt idx="4766">
                  <c:v>5.4444390971962756E-2</c:v>
                </c:pt>
                <c:pt idx="4767">
                  <c:v>5.3023897437671497E-2</c:v>
                </c:pt>
                <c:pt idx="4768">
                  <c:v>5.1148460018915362E-2</c:v>
                </c:pt>
                <c:pt idx="4769">
                  <c:v>4.92479495740634E-2</c:v>
                </c:pt>
                <c:pt idx="4770">
                  <c:v>4.6744537567049715E-2</c:v>
                </c:pt>
                <c:pt idx="4771">
                  <c:v>4.3958214456339344E-2</c:v>
                </c:pt>
                <c:pt idx="4772">
                  <c:v>4.0598683943278667E-2</c:v>
                </c:pt>
                <c:pt idx="4773">
                  <c:v>3.667282220306127E-2</c:v>
                </c:pt>
                <c:pt idx="4774">
                  <c:v>3.3843314252095781E-2</c:v>
                </c:pt>
                <c:pt idx="4775">
                  <c:v>3.270809782774043E-2</c:v>
                </c:pt>
                <c:pt idx="4776">
                  <c:v>3.1149629262413263E-2</c:v>
                </c:pt>
                <c:pt idx="4777">
                  <c:v>3.1160322224635009E-2</c:v>
                </c:pt>
                <c:pt idx="4778">
                  <c:v>3.1667511926764418E-2</c:v>
                </c:pt>
                <c:pt idx="4779">
                  <c:v>3.1367906129950836E-2</c:v>
                </c:pt>
                <c:pt idx="4780">
                  <c:v>3.1999192288764952E-2</c:v>
                </c:pt>
                <c:pt idx="4781">
                  <c:v>3.3927432325617193E-2</c:v>
                </c:pt>
                <c:pt idx="4782">
                  <c:v>3.6371231736848163E-2</c:v>
                </c:pt>
                <c:pt idx="4783">
                  <c:v>3.8764003718207034E-2</c:v>
                </c:pt>
                <c:pt idx="4784">
                  <c:v>4.0650158117521366E-2</c:v>
                </c:pt>
                <c:pt idx="4785">
                  <c:v>4.1804321855804238E-2</c:v>
                </c:pt>
                <c:pt idx="4786">
                  <c:v>4.2463376444393748E-2</c:v>
                </c:pt>
                <c:pt idx="4787">
                  <c:v>4.5087461855227919E-2</c:v>
                </c:pt>
                <c:pt idx="4788">
                  <c:v>4.7129937313021002E-2</c:v>
                </c:pt>
                <c:pt idx="4789">
                  <c:v>5.0338594896922551E-2</c:v>
                </c:pt>
                <c:pt idx="4790">
                  <c:v>5.4484653147252898E-2</c:v>
                </c:pt>
                <c:pt idx="4791">
                  <c:v>5.9535805679295825E-2</c:v>
                </c:pt>
                <c:pt idx="4792">
                  <c:v>6.4030503330150215E-2</c:v>
                </c:pt>
                <c:pt idx="4793">
                  <c:v>6.8088130645198655E-2</c:v>
                </c:pt>
                <c:pt idx="4794">
                  <c:v>7.1436619251786682E-2</c:v>
                </c:pt>
                <c:pt idx="4795">
                  <c:v>7.4521490267874718E-2</c:v>
                </c:pt>
                <c:pt idx="4796">
                  <c:v>7.8188928003051925E-2</c:v>
                </c:pt>
                <c:pt idx="4797">
                  <c:v>8.1140203845431219E-2</c:v>
                </c:pt>
                <c:pt idx="4798">
                  <c:v>8.3144864086645842E-2</c:v>
                </c:pt>
                <c:pt idx="4799">
                  <c:v>8.5118838850175571E-2</c:v>
                </c:pt>
                <c:pt idx="4800">
                  <c:v>8.6278250579721757E-2</c:v>
                </c:pt>
                <c:pt idx="4801">
                  <c:v>8.6850701216005813E-2</c:v>
                </c:pt>
                <c:pt idx="4802">
                  <c:v>8.689702252145344E-2</c:v>
                </c:pt>
                <c:pt idx="4803">
                  <c:v>8.6564325871805278E-2</c:v>
                </c:pt>
                <c:pt idx="4804">
                  <c:v>8.5510419823221134E-2</c:v>
                </c:pt>
                <c:pt idx="4805">
                  <c:v>8.4219655356536499E-2</c:v>
                </c:pt>
                <c:pt idx="4806">
                  <c:v>8.2373443931788401E-2</c:v>
                </c:pt>
                <c:pt idx="4807">
                  <c:v>8.1145064206765066E-2</c:v>
                </c:pt>
                <c:pt idx="4808">
                  <c:v>8.0403607533546306E-2</c:v>
                </c:pt>
                <c:pt idx="4809">
                  <c:v>7.9458530546466968E-2</c:v>
                </c:pt>
                <c:pt idx="4810">
                  <c:v>7.7612224685150971E-2</c:v>
                </c:pt>
                <c:pt idx="4811">
                  <c:v>7.7064481840744548E-2</c:v>
                </c:pt>
                <c:pt idx="4812">
                  <c:v>7.6400657366038446E-2</c:v>
                </c:pt>
                <c:pt idx="4813">
                  <c:v>7.5633577236342051E-2</c:v>
                </c:pt>
                <c:pt idx="4814">
                  <c:v>7.4320188509470114E-2</c:v>
                </c:pt>
                <c:pt idx="4815">
                  <c:v>7.1945835522292945E-2</c:v>
                </c:pt>
                <c:pt idx="4816">
                  <c:v>6.8948027435901157E-2</c:v>
                </c:pt>
                <c:pt idx="4817">
                  <c:v>6.6603804058168764E-2</c:v>
                </c:pt>
                <c:pt idx="4818">
                  <c:v>6.4023232680366596E-2</c:v>
                </c:pt>
                <c:pt idx="4819">
                  <c:v>6.2261959394991961E-2</c:v>
                </c:pt>
                <c:pt idx="4820">
                  <c:v>6.1179381187628556E-2</c:v>
                </c:pt>
                <c:pt idx="4821">
                  <c:v>6.1849439019112329E-2</c:v>
                </c:pt>
                <c:pt idx="4822">
                  <c:v>6.1874262684596157E-2</c:v>
                </c:pt>
                <c:pt idx="4823">
                  <c:v>6.2022890691677976E-2</c:v>
                </c:pt>
                <c:pt idx="4824">
                  <c:v>6.1567392539849414E-2</c:v>
                </c:pt>
                <c:pt idx="4825">
                  <c:v>6.1332830569912872E-2</c:v>
                </c:pt>
                <c:pt idx="4826">
                  <c:v>6.1708673879751916E-2</c:v>
                </c:pt>
                <c:pt idx="4827">
                  <c:v>6.1560852195077717E-2</c:v>
                </c:pt>
                <c:pt idx="4828">
                  <c:v>6.0728158166701185E-2</c:v>
                </c:pt>
                <c:pt idx="4829">
                  <c:v>5.9974032969378047E-2</c:v>
                </c:pt>
                <c:pt idx="4830">
                  <c:v>5.8737768638797011E-2</c:v>
                </c:pt>
                <c:pt idx="4831">
                  <c:v>5.690327326789156E-2</c:v>
                </c:pt>
                <c:pt idx="4832">
                  <c:v>5.5693449025752004E-2</c:v>
                </c:pt>
                <c:pt idx="4833">
                  <c:v>5.4317693045851753E-2</c:v>
                </c:pt>
                <c:pt idx="4834">
                  <c:v>5.272061902698244E-2</c:v>
                </c:pt>
                <c:pt idx="4835">
                  <c:v>5.0377095483950904E-2</c:v>
                </c:pt>
                <c:pt idx="4836">
                  <c:v>4.7774712710936668E-2</c:v>
                </c:pt>
                <c:pt idx="4837">
                  <c:v>4.5102041609484993E-2</c:v>
                </c:pt>
                <c:pt idx="4838">
                  <c:v>4.3156040878989547E-2</c:v>
                </c:pt>
                <c:pt idx="4839">
                  <c:v>4.2321882122776835E-2</c:v>
                </c:pt>
                <c:pt idx="4840">
                  <c:v>4.1663858461200971E-2</c:v>
                </c:pt>
                <c:pt idx="4841">
                  <c:v>4.1774750540608065E-2</c:v>
                </c:pt>
                <c:pt idx="4842">
                  <c:v>4.1320392734843871E-2</c:v>
                </c:pt>
                <c:pt idx="4843">
                  <c:v>4.2777360626133583E-2</c:v>
                </c:pt>
                <c:pt idx="4844">
                  <c:v>4.3898277695250294E-2</c:v>
                </c:pt>
                <c:pt idx="4845">
                  <c:v>4.4326110220133989E-2</c:v>
                </c:pt>
                <c:pt idx="4846">
                  <c:v>4.57300450413013E-2</c:v>
                </c:pt>
                <c:pt idx="4847">
                  <c:v>4.8194528966274387E-2</c:v>
                </c:pt>
                <c:pt idx="4848">
                  <c:v>5.0542051826833884E-2</c:v>
                </c:pt>
                <c:pt idx="4849">
                  <c:v>5.2733919762031789E-2</c:v>
                </c:pt>
                <c:pt idx="4850">
                  <c:v>5.4022335237017993E-2</c:v>
                </c:pt>
                <c:pt idx="4851">
                  <c:v>5.5874885392796197E-2</c:v>
                </c:pt>
                <c:pt idx="4852">
                  <c:v>5.72249526489646E-2</c:v>
                </c:pt>
                <c:pt idx="4853">
                  <c:v>5.8396469275515187E-2</c:v>
                </c:pt>
                <c:pt idx="4854">
                  <c:v>6.0267311437129711E-2</c:v>
                </c:pt>
                <c:pt idx="4855">
                  <c:v>6.1937696535848796E-2</c:v>
                </c:pt>
                <c:pt idx="4856">
                  <c:v>6.2966216514763584E-2</c:v>
                </c:pt>
                <c:pt idx="4857">
                  <c:v>6.3454790416809931E-2</c:v>
                </c:pt>
                <c:pt idx="4858">
                  <c:v>6.3437167015033269E-2</c:v>
                </c:pt>
                <c:pt idx="4859">
                  <c:v>6.2704816151069612E-2</c:v>
                </c:pt>
                <c:pt idx="4860">
                  <c:v>6.12980809473294E-2</c:v>
                </c:pt>
                <c:pt idx="4861">
                  <c:v>5.9635183900750691E-2</c:v>
                </c:pt>
                <c:pt idx="4862">
                  <c:v>5.910710838838229E-2</c:v>
                </c:pt>
                <c:pt idx="4863">
                  <c:v>5.8116492841284395E-2</c:v>
                </c:pt>
                <c:pt idx="4864">
                  <c:v>5.6993277282406524E-2</c:v>
                </c:pt>
                <c:pt idx="4865">
                  <c:v>5.5602090475913177E-2</c:v>
                </c:pt>
                <c:pt idx="4866">
                  <c:v>5.3764264005916523E-2</c:v>
                </c:pt>
                <c:pt idx="4867">
                  <c:v>5.1827467485235132E-2</c:v>
                </c:pt>
                <c:pt idx="4868">
                  <c:v>4.9889168944175888E-2</c:v>
                </c:pt>
                <c:pt idx="4869">
                  <c:v>4.8028396426600929E-2</c:v>
                </c:pt>
                <c:pt idx="4870">
                  <c:v>4.6408824596618339E-2</c:v>
                </c:pt>
                <c:pt idx="4871">
                  <c:v>4.4137943780449454E-2</c:v>
                </c:pt>
                <c:pt idx="4872">
                  <c:v>4.1159892528817778E-2</c:v>
                </c:pt>
                <c:pt idx="4873">
                  <c:v>4.0035457088250993E-2</c:v>
                </c:pt>
                <c:pt idx="4874">
                  <c:v>3.8815115426331946E-2</c:v>
                </c:pt>
                <c:pt idx="4875">
                  <c:v>3.7282258108674804E-2</c:v>
                </c:pt>
                <c:pt idx="4876">
                  <c:v>3.6806003468126056E-2</c:v>
                </c:pt>
                <c:pt idx="4877">
                  <c:v>3.7803222573163417E-2</c:v>
                </c:pt>
                <c:pt idx="4878">
                  <c:v>3.8169204646902502E-2</c:v>
                </c:pt>
                <c:pt idx="4879">
                  <c:v>3.8791207700736033E-2</c:v>
                </c:pt>
                <c:pt idx="4880">
                  <c:v>3.9190528582342267E-2</c:v>
                </c:pt>
                <c:pt idx="4881">
                  <c:v>4.041897951247804E-2</c:v>
                </c:pt>
                <c:pt idx="4882">
                  <c:v>4.1118961861744602E-2</c:v>
                </c:pt>
                <c:pt idx="4883">
                  <c:v>4.1590485034258717E-2</c:v>
                </c:pt>
                <c:pt idx="4884">
                  <c:v>4.3076129932226377E-2</c:v>
                </c:pt>
                <c:pt idx="4885">
                  <c:v>4.4253826742944431E-2</c:v>
                </c:pt>
                <c:pt idx="4886">
                  <c:v>4.4921663173673923E-2</c:v>
                </c:pt>
                <c:pt idx="4887">
                  <c:v>4.5676895647312796E-2</c:v>
                </c:pt>
                <c:pt idx="4888">
                  <c:v>4.7874919745681283E-2</c:v>
                </c:pt>
                <c:pt idx="4889">
                  <c:v>4.9235967897029158E-2</c:v>
                </c:pt>
                <c:pt idx="4890">
                  <c:v>4.9881353524993559E-2</c:v>
                </c:pt>
                <c:pt idx="4891">
                  <c:v>5.0379134863901512E-2</c:v>
                </c:pt>
                <c:pt idx="4892">
                  <c:v>5.1554416259446498E-2</c:v>
                </c:pt>
                <c:pt idx="4893">
                  <c:v>5.2227026597222503E-2</c:v>
                </c:pt>
                <c:pt idx="4894">
                  <c:v>5.3138735314742225E-2</c:v>
                </c:pt>
                <c:pt idx="4895">
                  <c:v>5.4629701521852245E-2</c:v>
                </c:pt>
                <c:pt idx="4896">
                  <c:v>5.6357834704441445E-2</c:v>
                </c:pt>
                <c:pt idx="4897">
                  <c:v>5.7993100370099582E-2</c:v>
                </c:pt>
                <c:pt idx="4898">
                  <c:v>5.9478492879760966E-2</c:v>
                </c:pt>
                <c:pt idx="4899">
                  <c:v>6.0513503937471333E-2</c:v>
                </c:pt>
                <c:pt idx="4900">
                  <c:v>6.1989047269440697E-2</c:v>
                </c:pt>
                <c:pt idx="4901">
                  <c:v>6.2810347624665225E-2</c:v>
                </c:pt>
                <c:pt idx="4902">
                  <c:v>6.3439895784088957E-2</c:v>
                </c:pt>
                <c:pt idx="4903">
                  <c:v>6.3586149293022601E-2</c:v>
                </c:pt>
                <c:pt idx="4904">
                  <c:v>6.4119654515160968E-2</c:v>
                </c:pt>
                <c:pt idx="4905">
                  <c:v>6.4393691046927784E-2</c:v>
                </c:pt>
                <c:pt idx="4906">
                  <c:v>6.4622346264513436E-2</c:v>
                </c:pt>
                <c:pt idx="4907">
                  <c:v>6.4639443543897029E-2</c:v>
                </c:pt>
                <c:pt idx="4908">
                  <c:v>6.385245505855211E-2</c:v>
                </c:pt>
                <c:pt idx="4909">
                  <c:v>6.3044252640896539E-2</c:v>
                </c:pt>
                <c:pt idx="4910">
                  <c:v>6.2010085536646761E-2</c:v>
                </c:pt>
                <c:pt idx="4911">
                  <c:v>6.150722543060537E-2</c:v>
                </c:pt>
                <c:pt idx="4912">
                  <c:v>6.0312917819096271E-2</c:v>
                </c:pt>
                <c:pt idx="4913">
                  <c:v>5.8927214434373626E-2</c:v>
                </c:pt>
                <c:pt idx="4914">
                  <c:v>5.8320981183664369E-2</c:v>
                </c:pt>
                <c:pt idx="4915">
                  <c:v>5.8042184855652296E-2</c:v>
                </c:pt>
                <c:pt idx="4916">
                  <c:v>5.7029698707271884E-2</c:v>
                </c:pt>
                <c:pt idx="4917">
                  <c:v>5.6382492825514802E-2</c:v>
                </c:pt>
                <c:pt idx="4918">
                  <c:v>5.6794706090603872E-2</c:v>
                </c:pt>
                <c:pt idx="4919">
                  <c:v>5.7374906160791064E-2</c:v>
                </c:pt>
                <c:pt idx="4920">
                  <c:v>5.7090817456101908E-2</c:v>
                </c:pt>
                <c:pt idx="4921">
                  <c:v>5.5986995823102209E-2</c:v>
                </c:pt>
                <c:pt idx="4922">
                  <c:v>5.4961858198561211E-2</c:v>
                </c:pt>
                <c:pt idx="4923">
                  <c:v>5.4166097877601058E-2</c:v>
                </c:pt>
                <c:pt idx="4924">
                  <c:v>5.346847200526815E-2</c:v>
                </c:pt>
                <c:pt idx="4925">
                  <c:v>5.3430694578279592E-2</c:v>
                </c:pt>
                <c:pt idx="4926">
                  <c:v>5.3605284697043815E-2</c:v>
                </c:pt>
                <c:pt idx="4927">
                  <c:v>5.2990926718384693E-2</c:v>
                </c:pt>
                <c:pt idx="4928">
                  <c:v>5.2629143002823425E-2</c:v>
                </c:pt>
                <c:pt idx="4929">
                  <c:v>5.1885185446787066E-2</c:v>
                </c:pt>
                <c:pt idx="4930">
                  <c:v>5.2770030637192364E-2</c:v>
                </c:pt>
                <c:pt idx="4931">
                  <c:v>5.3912229196440453E-2</c:v>
                </c:pt>
                <c:pt idx="4932">
                  <c:v>5.48568950049063E-2</c:v>
                </c:pt>
                <c:pt idx="4933">
                  <c:v>5.540186379950926E-2</c:v>
                </c:pt>
                <c:pt idx="4934">
                  <c:v>5.6904223778978885E-2</c:v>
                </c:pt>
                <c:pt idx="4935">
                  <c:v>5.8171298469871721E-2</c:v>
                </c:pt>
                <c:pt idx="4936">
                  <c:v>5.9223980640431301E-2</c:v>
                </c:pt>
                <c:pt idx="4937">
                  <c:v>6.1141089483056202E-2</c:v>
                </c:pt>
                <c:pt idx="4938">
                  <c:v>6.2128021566001584E-2</c:v>
                </c:pt>
                <c:pt idx="4939">
                  <c:v>6.2629684311684128E-2</c:v>
                </c:pt>
                <c:pt idx="4940">
                  <c:v>6.3002372059753758E-2</c:v>
                </c:pt>
                <c:pt idx="4941">
                  <c:v>6.2864401014993479E-2</c:v>
                </c:pt>
                <c:pt idx="4942">
                  <c:v>6.2151716459047379E-2</c:v>
                </c:pt>
                <c:pt idx="4943">
                  <c:v>6.0995409223497624E-2</c:v>
                </c:pt>
                <c:pt idx="4944">
                  <c:v>6.0380357905374063E-2</c:v>
                </c:pt>
                <c:pt idx="4945">
                  <c:v>5.9898907665743892E-2</c:v>
                </c:pt>
                <c:pt idx="4946">
                  <c:v>5.8798717405342565E-2</c:v>
                </c:pt>
                <c:pt idx="4947">
                  <c:v>5.7722771020038727E-2</c:v>
                </c:pt>
                <c:pt idx="4948">
                  <c:v>5.6045912440895046E-2</c:v>
                </c:pt>
                <c:pt idx="4949">
                  <c:v>5.4627882039761599E-2</c:v>
                </c:pt>
                <c:pt idx="4950">
                  <c:v>5.2622772117492791E-2</c:v>
                </c:pt>
                <c:pt idx="4951">
                  <c:v>5.0074946245639865E-2</c:v>
                </c:pt>
                <c:pt idx="4952">
                  <c:v>4.733534450757524E-2</c:v>
                </c:pt>
                <c:pt idx="4953">
                  <c:v>4.5048065979997116E-2</c:v>
                </c:pt>
                <c:pt idx="4954">
                  <c:v>4.222889472391593E-2</c:v>
                </c:pt>
                <c:pt idx="4955">
                  <c:v>3.9393228913069248E-2</c:v>
                </c:pt>
                <c:pt idx="4956">
                  <c:v>3.5978692903612622E-2</c:v>
                </c:pt>
                <c:pt idx="4957">
                  <c:v>3.1829967249390329E-2</c:v>
                </c:pt>
                <c:pt idx="4958">
                  <c:v>2.761389897058894E-2</c:v>
                </c:pt>
                <c:pt idx="4959">
                  <c:v>2.2397415738729921E-2</c:v>
                </c:pt>
                <c:pt idx="4960">
                  <c:v>1.833767997411672E-2</c:v>
                </c:pt>
                <c:pt idx="4961">
                  <c:v>1.4993231896672636E-2</c:v>
                </c:pt>
                <c:pt idx="4962">
                  <c:v>1.1116726971221865E-2</c:v>
                </c:pt>
                <c:pt idx="4963">
                  <c:v>6.4938833280332436E-3</c:v>
                </c:pt>
                <c:pt idx="4964">
                  <c:v>3.0631597068701676E-3</c:v>
                </c:pt>
                <c:pt idx="4965">
                  <c:v>-4.2001146275217824E-4</c:v>
                </c:pt>
                <c:pt idx="4966">
                  <c:v>-4.5178351262774707E-3</c:v>
                </c:pt>
                <c:pt idx="4967">
                  <c:v>-5.6869156960904776E-3</c:v>
                </c:pt>
                <c:pt idx="4968">
                  <c:v>-6.9870262345674058E-3</c:v>
                </c:pt>
                <c:pt idx="4969">
                  <c:v>-8.88366033727803E-3</c:v>
                </c:pt>
                <c:pt idx="4970">
                  <c:v>-9.8268217175227282E-3</c:v>
                </c:pt>
                <c:pt idx="4971">
                  <c:v>-1.1199294392227124E-2</c:v>
                </c:pt>
                <c:pt idx="4972">
                  <c:v>-1.1730072675653085E-2</c:v>
                </c:pt>
                <c:pt idx="4973">
                  <c:v>-1.1777298716222018E-2</c:v>
                </c:pt>
                <c:pt idx="4974">
                  <c:v>-1.183777502270887E-2</c:v>
                </c:pt>
                <c:pt idx="4975">
                  <c:v>-1.1907022856760112E-2</c:v>
                </c:pt>
                <c:pt idx="4976">
                  <c:v>-1.194225333941174E-2</c:v>
                </c:pt>
                <c:pt idx="4977">
                  <c:v>-1.1975233947758138E-2</c:v>
                </c:pt>
                <c:pt idx="4978">
                  <c:v>-1.1975028973799824E-2</c:v>
                </c:pt>
                <c:pt idx="4979">
                  <c:v>-1.1972337993250292E-2</c:v>
                </c:pt>
                <c:pt idx="4980">
                  <c:v>-1.1974793140494355E-2</c:v>
                </c:pt>
                <c:pt idx="4981">
                  <c:v>-1.1971601134285022E-2</c:v>
                </c:pt>
                <c:pt idx="4982">
                  <c:v>-1.1981521102748659E-2</c:v>
                </c:pt>
                <c:pt idx="4983">
                  <c:v>-1.1982000270517547E-2</c:v>
                </c:pt>
                <c:pt idx="4984">
                  <c:v>-1.1994800950704718E-2</c:v>
                </c:pt>
                <c:pt idx="4985">
                  <c:v>-1.1996104601098073E-2</c:v>
                </c:pt>
                <c:pt idx="4986">
                  <c:v>-1.1985336757411029E-2</c:v>
                </c:pt>
                <c:pt idx="4987">
                  <c:v>-1.1976811600045068E-2</c:v>
                </c:pt>
                <c:pt idx="4988">
                  <c:v>-1.1975322706017923E-2</c:v>
                </c:pt>
                <c:pt idx="4989">
                  <c:v>-1.1974158998880543E-2</c:v>
                </c:pt>
                <c:pt idx="4990">
                  <c:v>-1.1983527799503565E-2</c:v>
                </c:pt>
                <c:pt idx="4991">
                  <c:v>-1.1995171529956113E-2</c:v>
                </c:pt>
                <c:pt idx="4992">
                  <c:v>-1.1996454427419329E-2</c:v>
                </c:pt>
                <c:pt idx="4993">
                  <c:v>-1.1980739498917512E-2</c:v>
                </c:pt>
                <c:pt idx="4994">
                  <c:v>-1.1974262750604075E-2</c:v>
                </c:pt>
                <c:pt idx="4995">
                  <c:v>-1.1978009836679536E-2</c:v>
                </c:pt>
                <c:pt idx="4996">
                  <c:v>-1.1973928012083607E-2</c:v>
                </c:pt>
                <c:pt idx="4997">
                  <c:v>-1.1981630419953366E-2</c:v>
                </c:pt>
                <c:pt idx="4998">
                  <c:v>-1.1971221068550567E-2</c:v>
                </c:pt>
                <c:pt idx="4999">
                  <c:v>-1.1965087517425798E-2</c:v>
                </c:pt>
                <c:pt idx="5000">
                  <c:v>-1.195990887462212E-2</c:v>
                </c:pt>
                <c:pt idx="5001">
                  <c:v>-1.1951413139255839E-2</c:v>
                </c:pt>
                <c:pt idx="5002">
                  <c:v>-1.1960545884834736E-2</c:v>
                </c:pt>
                <c:pt idx="5003">
                  <c:v>-1.1956739935512696E-2</c:v>
                </c:pt>
                <c:pt idx="5004">
                  <c:v>-1.1953822351057601E-2</c:v>
                </c:pt>
                <c:pt idx="5005">
                  <c:v>-1.1948858946706021E-2</c:v>
                </c:pt>
                <c:pt idx="5006">
                  <c:v>-1.1944644707765434E-2</c:v>
                </c:pt>
                <c:pt idx="5007">
                  <c:v>-1.1939769477438319E-2</c:v>
                </c:pt>
                <c:pt idx="5008">
                  <c:v>-1.1936347571360837E-2</c:v>
                </c:pt>
                <c:pt idx="5009">
                  <c:v>-1.1934367260224177E-2</c:v>
                </c:pt>
                <c:pt idx="5010">
                  <c:v>-1.1930900933462298E-2</c:v>
                </c:pt>
                <c:pt idx="5011">
                  <c:v>-1.1923554778438487E-2</c:v>
                </c:pt>
                <c:pt idx="5012">
                  <c:v>-1.1916999211555691E-2</c:v>
                </c:pt>
                <c:pt idx="5013">
                  <c:v>-1.1912103291323325E-2</c:v>
                </c:pt>
                <c:pt idx="5014">
                  <c:v>-1.191240631590525E-2</c:v>
                </c:pt>
                <c:pt idx="5015">
                  <c:v>-1.1912739009079165E-2</c:v>
                </c:pt>
                <c:pt idx="5016">
                  <c:v>-1.1919204721138008E-2</c:v>
                </c:pt>
                <c:pt idx="5017">
                  <c:v>-1.1938543948255786E-2</c:v>
                </c:pt>
                <c:pt idx="5018">
                  <c:v>-1.1944948576726611E-2</c:v>
                </c:pt>
                <c:pt idx="5019">
                  <c:v>-1.1944461893436479E-2</c:v>
                </c:pt>
                <c:pt idx="5020">
                  <c:v>-1.1948510380609253E-2</c:v>
                </c:pt>
                <c:pt idx="5021">
                  <c:v>-1.1955580413502434E-2</c:v>
                </c:pt>
                <c:pt idx="5022">
                  <c:v>-1.1964847208185952E-2</c:v>
                </c:pt>
                <c:pt idx="5023">
                  <c:v>-1.1967904678970222E-2</c:v>
                </c:pt>
                <c:pt idx="5024">
                  <c:v>-1.1971032310880774E-2</c:v>
                </c:pt>
                <c:pt idx="5025">
                  <c:v>-1.1969950590693683E-2</c:v>
                </c:pt>
                <c:pt idx="5026">
                  <c:v>-1.1979722021524655E-2</c:v>
                </c:pt>
                <c:pt idx="5027">
                  <c:v>-1.1982867163567173E-2</c:v>
                </c:pt>
                <c:pt idx="5028">
                  <c:v>-1.1991078390170107E-2</c:v>
                </c:pt>
                <c:pt idx="5029">
                  <c:v>-1.1995910132387055E-2</c:v>
                </c:pt>
                <c:pt idx="5030">
                  <c:v>-1.2000591560917376E-2</c:v>
                </c:pt>
                <c:pt idx="5031">
                  <c:v>-1.1999622999032669E-2</c:v>
                </c:pt>
                <c:pt idx="5032">
                  <c:v>-1.2024403324464396E-2</c:v>
                </c:pt>
                <c:pt idx="5033">
                  <c:v>-1.2023892221066234E-2</c:v>
                </c:pt>
                <c:pt idx="5034">
                  <c:v>-1.2024659582020845E-2</c:v>
                </c:pt>
                <c:pt idx="5035">
                  <c:v>-1.2023287603482138E-2</c:v>
                </c:pt>
                <c:pt idx="5036">
                  <c:v>-1.2020090211609324E-2</c:v>
                </c:pt>
                <c:pt idx="5037">
                  <c:v>-1.2014257345827827E-2</c:v>
                </c:pt>
                <c:pt idx="5038">
                  <c:v>-1.2011643400480118E-2</c:v>
                </c:pt>
                <c:pt idx="5039">
                  <c:v>-1.2000749999886833E-2</c:v>
                </c:pt>
                <c:pt idx="5040">
                  <c:v>-1.1984503714476616E-2</c:v>
                </c:pt>
                <c:pt idx="5041">
                  <c:v>-1.1979390570686518E-2</c:v>
                </c:pt>
                <c:pt idx="5042">
                  <c:v>-1.1983408423436957E-2</c:v>
                </c:pt>
                <c:pt idx="5043">
                  <c:v>-1.1973101574687384E-2</c:v>
                </c:pt>
                <c:pt idx="5044">
                  <c:v>-1.1967383450943912E-2</c:v>
                </c:pt>
                <c:pt idx="5045">
                  <c:v>-1.1969045350492476E-2</c:v>
                </c:pt>
                <c:pt idx="5046">
                  <c:v>-1.1975118834943989E-2</c:v>
                </c:pt>
                <c:pt idx="5047">
                  <c:v>-1.1973539979579707E-2</c:v>
                </c:pt>
                <c:pt idx="5048">
                  <c:v>-1.1974006512352984E-2</c:v>
                </c:pt>
                <c:pt idx="5049">
                  <c:v>-1.1976365484945647E-2</c:v>
                </c:pt>
                <c:pt idx="5050">
                  <c:v>-1.1980669457326983E-2</c:v>
                </c:pt>
                <c:pt idx="5051">
                  <c:v>-1.1981409181563828E-2</c:v>
                </c:pt>
                <c:pt idx="5052">
                  <c:v>-1.1973741310094051E-2</c:v>
                </c:pt>
                <c:pt idx="5053">
                  <c:v>-1.1961086805599956E-2</c:v>
                </c:pt>
                <c:pt idx="5054">
                  <c:v>-1.1960309820196541E-2</c:v>
                </c:pt>
                <c:pt idx="5055">
                  <c:v>-1.1963603527109311E-2</c:v>
                </c:pt>
                <c:pt idx="5056">
                  <c:v>-1.1946512993576323E-2</c:v>
                </c:pt>
                <c:pt idx="5057">
                  <c:v>-1.1947283334972636E-2</c:v>
                </c:pt>
                <c:pt idx="5058">
                  <c:v>-1.1948438888350902E-2</c:v>
                </c:pt>
                <c:pt idx="5059">
                  <c:v>-1.1944345207423818E-2</c:v>
                </c:pt>
                <c:pt idx="5060">
                  <c:v>-1.1938797773625951E-2</c:v>
                </c:pt>
                <c:pt idx="5061">
                  <c:v>-1.1932242189595085E-2</c:v>
                </c:pt>
                <c:pt idx="5062">
                  <c:v>-1.1916975757043756E-2</c:v>
                </c:pt>
                <c:pt idx="5063">
                  <c:v>-1.1891452800744894E-2</c:v>
                </c:pt>
                <c:pt idx="5064">
                  <c:v>-1.1874548917529646E-2</c:v>
                </c:pt>
                <c:pt idx="5065">
                  <c:v>-1.1865972175637049E-2</c:v>
                </c:pt>
                <c:pt idx="5066">
                  <c:v>-1.1846322239187215E-2</c:v>
                </c:pt>
                <c:pt idx="5067">
                  <c:v>-1.1833819358555998E-2</c:v>
                </c:pt>
                <c:pt idx="5068">
                  <c:v>-1.1822196082975248E-2</c:v>
                </c:pt>
                <c:pt idx="5069">
                  <c:v>-1.1809784584724807E-2</c:v>
                </c:pt>
                <c:pt idx="5070">
                  <c:v>-1.1790612717072449E-2</c:v>
                </c:pt>
                <c:pt idx="5071">
                  <c:v>-1.1764738473971179E-2</c:v>
                </c:pt>
                <c:pt idx="5072">
                  <c:v>-1.1742228402509646E-2</c:v>
                </c:pt>
                <c:pt idx="5073">
                  <c:v>-1.1739367432430509E-2</c:v>
                </c:pt>
                <c:pt idx="5074">
                  <c:v>-1.1094599420985517E-2</c:v>
                </c:pt>
                <c:pt idx="5075">
                  <c:v>-1.0020161086628976E-2</c:v>
                </c:pt>
                <c:pt idx="5076">
                  <c:v>-4.8621426417734719E-3</c:v>
                </c:pt>
                <c:pt idx="5077">
                  <c:v>1.5848538313127762E-3</c:v>
                </c:pt>
                <c:pt idx="5078">
                  <c:v>5.6716290157846783E-3</c:v>
                </c:pt>
                <c:pt idx="5079">
                  <c:v>9.5800154792137441E-3</c:v>
                </c:pt>
                <c:pt idx="5080">
                  <c:v>1.4341747819993594E-2</c:v>
                </c:pt>
                <c:pt idx="5081">
                  <c:v>1.9549660161074324E-2</c:v>
                </c:pt>
                <c:pt idx="5082">
                  <c:v>2.3862864773387983E-2</c:v>
                </c:pt>
                <c:pt idx="5083">
                  <c:v>2.9989349326887016E-2</c:v>
                </c:pt>
                <c:pt idx="5084">
                  <c:v>3.4892219277815509E-2</c:v>
                </c:pt>
                <c:pt idx="5085">
                  <c:v>4.0287332747752459E-2</c:v>
                </c:pt>
                <c:pt idx="5086">
                  <c:v>4.6649928857756956E-2</c:v>
                </c:pt>
                <c:pt idx="5087">
                  <c:v>5.2718827774395849E-2</c:v>
                </c:pt>
                <c:pt idx="5088">
                  <c:v>5.9122693806452797E-2</c:v>
                </c:pt>
                <c:pt idx="5089">
                  <c:v>6.5412826690192299E-2</c:v>
                </c:pt>
                <c:pt idx="5090">
                  <c:v>7.059197548202896E-2</c:v>
                </c:pt>
                <c:pt idx="5091">
                  <c:v>7.5650934623732499E-2</c:v>
                </c:pt>
                <c:pt idx="5092">
                  <c:v>8.1548217973921894E-2</c:v>
                </c:pt>
                <c:pt idx="5093">
                  <c:v>8.6632403932758312E-2</c:v>
                </c:pt>
                <c:pt idx="5094">
                  <c:v>9.0878764045828259E-2</c:v>
                </c:pt>
                <c:pt idx="5095">
                  <c:v>9.4979504824300232E-2</c:v>
                </c:pt>
                <c:pt idx="5096">
                  <c:v>9.9478166459816122E-2</c:v>
                </c:pt>
                <c:pt idx="5097">
                  <c:v>0.10365310054378064</c:v>
                </c:pt>
                <c:pt idx="5098">
                  <c:v>0.10678088549523261</c:v>
                </c:pt>
                <c:pt idx="5099">
                  <c:v>0.10894864987333436</c:v>
                </c:pt>
                <c:pt idx="5100">
                  <c:v>0.109935914196722</c:v>
                </c:pt>
                <c:pt idx="5101">
                  <c:v>0.11033325811006708</c:v>
                </c:pt>
                <c:pt idx="5102">
                  <c:v>0.10976300143162257</c:v>
                </c:pt>
                <c:pt idx="5103">
                  <c:v>0.10796757672782206</c:v>
                </c:pt>
                <c:pt idx="5104">
                  <c:v>0.10532213169349952</c:v>
                </c:pt>
                <c:pt idx="5105">
                  <c:v>0.10224966397366052</c:v>
                </c:pt>
                <c:pt idx="5106">
                  <c:v>9.9710617149277314E-2</c:v>
                </c:pt>
                <c:pt idx="5107">
                  <c:v>9.7541646005163643E-2</c:v>
                </c:pt>
                <c:pt idx="5108">
                  <c:v>9.4609817186473405E-2</c:v>
                </c:pt>
                <c:pt idx="5109">
                  <c:v>9.1622629089423105E-2</c:v>
                </c:pt>
                <c:pt idx="5110">
                  <c:v>8.9187843787305515E-2</c:v>
                </c:pt>
                <c:pt idx="5111">
                  <c:v>8.6568018829285484E-2</c:v>
                </c:pt>
                <c:pt idx="5112">
                  <c:v>8.2777824914784096E-2</c:v>
                </c:pt>
                <c:pt idx="5113">
                  <c:v>8.2079413397969356E-2</c:v>
                </c:pt>
                <c:pt idx="5114">
                  <c:v>8.0367794512131357E-2</c:v>
                </c:pt>
                <c:pt idx="5115">
                  <c:v>7.8526151746614051E-2</c:v>
                </c:pt>
                <c:pt idx="5116">
                  <c:v>7.7639331415335494E-2</c:v>
                </c:pt>
                <c:pt idx="5117">
                  <c:v>7.6214020244486869E-2</c:v>
                </c:pt>
                <c:pt idx="5118">
                  <c:v>7.6837988529604759E-2</c:v>
                </c:pt>
                <c:pt idx="5119">
                  <c:v>7.7934747470248325E-2</c:v>
                </c:pt>
                <c:pt idx="5120">
                  <c:v>7.9109741303992037E-2</c:v>
                </c:pt>
                <c:pt idx="5121">
                  <c:v>8.0527031719762707E-2</c:v>
                </c:pt>
                <c:pt idx="5122">
                  <c:v>8.4135516022637885E-2</c:v>
                </c:pt>
                <c:pt idx="5123">
                  <c:v>8.6872556747655372E-2</c:v>
                </c:pt>
                <c:pt idx="5124">
                  <c:v>8.912766142356969E-2</c:v>
                </c:pt>
                <c:pt idx="5125">
                  <c:v>9.1780352585240546E-2</c:v>
                </c:pt>
                <c:pt idx="5126">
                  <c:v>9.4843365956087472E-2</c:v>
                </c:pt>
                <c:pt idx="5127">
                  <c:v>9.7464550235629388E-2</c:v>
                </c:pt>
                <c:pt idx="5128">
                  <c:v>0.10129281772414911</c:v>
                </c:pt>
                <c:pt idx="5129">
                  <c:v>0.10464935063578094</c:v>
                </c:pt>
                <c:pt idx="5130">
                  <c:v>0.10842805772743405</c:v>
                </c:pt>
                <c:pt idx="5131">
                  <c:v>0.11371239267489552</c:v>
                </c:pt>
                <c:pt idx="5132">
                  <c:v>0.11823241063033271</c:v>
                </c:pt>
                <c:pt idx="5133">
                  <c:v>0.12164319090607037</c:v>
                </c:pt>
                <c:pt idx="5134">
                  <c:v>0.12419666258331838</c:v>
                </c:pt>
                <c:pt idx="5135">
                  <c:v>0.12706123515502971</c:v>
                </c:pt>
                <c:pt idx="5136">
                  <c:v>0.12882269360095758</c:v>
                </c:pt>
                <c:pt idx="5137">
                  <c:v>0.12992269584180421</c:v>
                </c:pt>
                <c:pt idx="5138">
                  <c:v>0.13002700463670452</c:v>
                </c:pt>
                <c:pt idx="5139">
                  <c:v>0.13295865835419712</c:v>
                </c:pt>
                <c:pt idx="5140">
                  <c:v>0.13768956507882821</c:v>
                </c:pt>
                <c:pt idx="5141">
                  <c:v>0.14182915753495681</c:v>
                </c:pt>
                <c:pt idx="5142">
                  <c:v>0.14002495676439813</c:v>
                </c:pt>
                <c:pt idx="5143">
                  <c:v>0.13757700357461072</c:v>
                </c:pt>
                <c:pt idx="5144">
                  <c:v>0.13445649801946044</c:v>
                </c:pt>
                <c:pt idx="5145">
                  <c:v>0.13025838807917611</c:v>
                </c:pt>
                <c:pt idx="5146">
                  <c:v>0.1255823816099228</c:v>
                </c:pt>
                <c:pt idx="5147">
                  <c:v>0.11946876702188011</c:v>
                </c:pt>
                <c:pt idx="5148">
                  <c:v>0.11444469286260806</c:v>
                </c:pt>
                <c:pt idx="5149">
                  <c:v>0.10929446512264381</c:v>
                </c:pt>
                <c:pt idx="5150">
                  <c:v>0.10421342398240847</c:v>
                </c:pt>
                <c:pt idx="5151">
                  <c:v>9.8966093157271368E-2</c:v>
                </c:pt>
                <c:pt idx="5152">
                  <c:v>9.4585987027895974E-2</c:v>
                </c:pt>
                <c:pt idx="5153">
                  <c:v>8.954485947653161E-2</c:v>
                </c:pt>
                <c:pt idx="5154">
                  <c:v>8.4118209476863298E-2</c:v>
                </c:pt>
                <c:pt idx="5155">
                  <c:v>7.8563027798465607E-2</c:v>
                </c:pt>
                <c:pt idx="5156">
                  <c:v>7.2257848168159527E-2</c:v>
                </c:pt>
                <c:pt idx="5157">
                  <c:v>6.4325952473696046E-2</c:v>
                </c:pt>
                <c:pt idx="5158">
                  <c:v>5.8056324562769546E-2</c:v>
                </c:pt>
                <c:pt idx="5159">
                  <c:v>5.1301483246246019E-2</c:v>
                </c:pt>
                <c:pt idx="5160">
                  <c:v>4.5964097459917155E-2</c:v>
                </c:pt>
                <c:pt idx="5161">
                  <c:v>4.3071768405193979E-2</c:v>
                </c:pt>
                <c:pt idx="5162">
                  <c:v>4.053279429728554E-2</c:v>
                </c:pt>
                <c:pt idx="5163">
                  <c:v>3.8122417446732976E-2</c:v>
                </c:pt>
                <c:pt idx="5164">
                  <c:v>3.5819597555856474E-2</c:v>
                </c:pt>
                <c:pt idx="5165">
                  <c:v>3.4557999653016459E-2</c:v>
                </c:pt>
                <c:pt idx="5166">
                  <c:v>3.3518683730840812E-2</c:v>
                </c:pt>
                <c:pt idx="5167">
                  <c:v>3.3257950595018987E-2</c:v>
                </c:pt>
                <c:pt idx="5168">
                  <c:v>3.299660124694654E-2</c:v>
                </c:pt>
                <c:pt idx="5169">
                  <c:v>3.2757416321780752E-2</c:v>
                </c:pt>
                <c:pt idx="5170">
                  <c:v>3.1065045362985308E-2</c:v>
                </c:pt>
                <c:pt idx="5171">
                  <c:v>2.5035537287892221E-2</c:v>
                </c:pt>
                <c:pt idx="5172">
                  <c:v>1.89353060063219E-2</c:v>
                </c:pt>
                <c:pt idx="5173">
                  <c:v>2.3693111658346616E-2</c:v>
                </c:pt>
                <c:pt idx="5174">
                  <c:v>2.9432116450628598E-2</c:v>
                </c:pt>
                <c:pt idx="5175">
                  <c:v>3.4492232879564502E-2</c:v>
                </c:pt>
                <c:pt idx="5176">
                  <c:v>3.7700551038370299E-2</c:v>
                </c:pt>
                <c:pt idx="5177">
                  <c:v>3.9822029934238702E-2</c:v>
                </c:pt>
                <c:pt idx="5178">
                  <c:v>4.1373874315714064E-2</c:v>
                </c:pt>
                <c:pt idx="5179">
                  <c:v>4.2620959622676216E-2</c:v>
                </c:pt>
                <c:pt idx="5180">
                  <c:v>4.3713452360479202E-2</c:v>
                </c:pt>
                <c:pt idx="5181">
                  <c:v>4.4425162911888215E-2</c:v>
                </c:pt>
                <c:pt idx="5182">
                  <c:v>4.5110314829264149E-2</c:v>
                </c:pt>
                <c:pt idx="5183">
                  <c:v>4.5894605358564891E-2</c:v>
                </c:pt>
                <c:pt idx="5184">
                  <c:v>4.5986399490524618E-2</c:v>
                </c:pt>
                <c:pt idx="5185">
                  <c:v>4.6084594445516006E-2</c:v>
                </c:pt>
                <c:pt idx="5186">
                  <c:v>4.5654300870466923E-2</c:v>
                </c:pt>
                <c:pt idx="5187">
                  <c:v>4.5186355213161632E-2</c:v>
                </c:pt>
                <c:pt idx="5188">
                  <c:v>4.4855240700414994E-2</c:v>
                </c:pt>
                <c:pt idx="5189">
                  <c:v>4.4282850761980186E-2</c:v>
                </c:pt>
                <c:pt idx="5190">
                  <c:v>4.3648885434212713E-2</c:v>
                </c:pt>
                <c:pt idx="5191">
                  <c:v>4.3430118046333441E-2</c:v>
                </c:pt>
                <c:pt idx="5192">
                  <c:v>4.36631858024491E-2</c:v>
                </c:pt>
                <c:pt idx="5193">
                  <c:v>4.3101031037216873E-2</c:v>
                </c:pt>
                <c:pt idx="5194">
                  <c:v>4.230154341759762E-2</c:v>
                </c:pt>
                <c:pt idx="5195">
                  <c:v>4.0701856275134937E-2</c:v>
                </c:pt>
                <c:pt idx="5196">
                  <c:v>3.8810097907383191E-2</c:v>
                </c:pt>
                <c:pt idx="5197">
                  <c:v>3.7230006026441345E-2</c:v>
                </c:pt>
                <c:pt idx="5198">
                  <c:v>3.5555616517892914E-2</c:v>
                </c:pt>
                <c:pt idx="5199">
                  <c:v>3.4692142705467569E-2</c:v>
                </c:pt>
                <c:pt idx="5200">
                  <c:v>3.3654126481426842E-2</c:v>
                </c:pt>
                <c:pt idx="5201">
                  <c:v>3.2458165398405819E-2</c:v>
                </c:pt>
                <c:pt idx="5202">
                  <c:v>3.1196453272714413E-2</c:v>
                </c:pt>
                <c:pt idx="5203">
                  <c:v>3.1920462522901302E-2</c:v>
                </c:pt>
                <c:pt idx="5204">
                  <c:v>3.414818054948985E-2</c:v>
                </c:pt>
                <c:pt idx="5205">
                  <c:v>3.7168136883596062E-2</c:v>
                </c:pt>
                <c:pt idx="5206">
                  <c:v>4.2089794152575799E-2</c:v>
                </c:pt>
                <c:pt idx="5207">
                  <c:v>4.7344605026146798E-2</c:v>
                </c:pt>
                <c:pt idx="5208">
                  <c:v>5.2371938281307817E-2</c:v>
                </c:pt>
                <c:pt idx="5209">
                  <c:v>5.6792063479087163E-2</c:v>
                </c:pt>
                <c:pt idx="5210">
                  <c:v>6.0663333246052262E-2</c:v>
                </c:pt>
                <c:pt idx="5211">
                  <c:v>6.3624882898645985E-2</c:v>
                </c:pt>
                <c:pt idx="5212">
                  <c:v>6.7611597274878282E-2</c:v>
                </c:pt>
                <c:pt idx="5213">
                  <c:v>7.095493025560165E-2</c:v>
                </c:pt>
                <c:pt idx="5214">
                  <c:v>7.3313074330731712E-2</c:v>
                </c:pt>
                <c:pt idx="5215">
                  <c:v>7.5323178484726749E-2</c:v>
                </c:pt>
                <c:pt idx="5216">
                  <c:v>7.8386100731532835E-2</c:v>
                </c:pt>
                <c:pt idx="5217">
                  <c:v>8.3670412197172861E-2</c:v>
                </c:pt>
                <c:pt idx="5218">
                  <c:v>8.9894699372451287E-2</c:v>
                </c:pt>
                <c:pt idx="5219">
                  <c:v>9.5179608497563101E-2</c:v>
                </c:pt>
                <c:pt idx="5220">
                  <c:v>0.1006131199548458</c:v>
                </c:pt>
                <c:pt idx="5221">
                  <c:v>0.11137209155508931</c:v>
                </c:pt>
                <c:pt idx="5222">
                  <c:v>0.12088925972456102</c:v>
                </c:pt>
                <c:pt idx="5223">
                  <c:v>0.1315869831197376</c:v>
                </c:pt>
                <c:pt idx="5224">
                  <c:v>0.14012971477321143</c:v>
                </c:pt>
                <c:pt idx="5225">
                  <c:v>0.1470395906177458</c:v>
                </c:pt>
                <c:pt idx="5226">
                  <c:v>0.15213649319994421</c:v>
                </c:pt>
                <c:pt idx="5227">
                  <c:v>0.15658328362965712</c:v>
                </c:pt>
                <c:pt idx="5228">
                  <c:v>0.1593998147086414</c:v>
                </c:pt>
                <c:pt idx="5229">
                  <c:v>0.16171314299599657</c:v>
                </c:pt>
                <c:pt idx="5230">
                  <c:v>0.16389597888498217</c:v>
                </c:pt>
                <c:pt idx="5231">
                  <c:v>0.16619594821408556</c:v>
                </c:pt>
                <c:pt idx="5232">
                  <c:v>0.16868515636937512</c:v>
                </c:pt>
                <c:pt idx="5233">
                  <c:v>0.16984859858801959</c:v>
                </c:pt>
                <c:pt idx="5234">
                  <c:v>0.16952871560731494</c:v>
                </c:pt>
                <c:pt idx="5235">
                  <c:v>0.168253933530012</c:v>
                </c:pt>
                <c:pt idx="5236">
                  <c:v>0.16505432691111474</c:v>
                </c:pt>
                <c:pt idx="5237">
                  <c:v>0.16430552798214115</c:v>
                </c:pt>
                <c:pt idx="5238">
                  <c:v>0.16327948105945175</c:v>
                </c:pt>
                <c:pt idx="5239">
                  <c:v>0.16190758771575925</c:v>
                </c:pt>
                <c:pt idx="5240">
                  <c:v>0.16062908297929498</c:v>
                </c:pt>
                <c:pt idx="5241">
                  <c:v>0.16032804981775053</c:v>
                </c:pt>
                <c:pt idx="5242">
                  <c:v>0.15926854424096015</c:v>
                </c:pt>
                <c:pt idx="5243">
                  <c:v>0.15768748748368122</c:v>
                </c:pt>
                <c:pt idx="5244">
                  <c:v>0.15563808828208897</c:v>
                </c:pt>
                <c:pt idx="5245">
                  <c:v>0.15724905923778107</c:v>
                </c:pt>
                <c:pt idx="5246">
                  <c:v>0.15870448598320014</c:v>
                </c:pt>
                <c:pt idx="5247">
                  <c:v>0.17008526743100597</c:v>
                </c:pt>
                <c:pt idx="5248">
                  <c:v>0.17656571795267836</c:v>
                </c:pt>
                <c:pt idx="5249">
                  <c:v>0.18167460725369283</c:v>
                </c:pt>
                <c:pt idx="5250">
                  <c:v>0.19201324135479869</c:v>
                </c:pt>
                <c:pt idx="5251">
                  <c:v>0.20996123657717292</c:v>
                </c:pt>
                <c:pt idx="5252">
                  <c:v>0.22734406177606989</c:v>
                </c:pt>
                <c:pt idx="5253">
                  <c:v>0.24993284747141445</c:v>
                </c:pt>
                <c:pt idx="5254">
                  <c:v>0.26970773540444448</c:v>
                </c:pt>
                <c:pt idx="5255">
                  <c:v>0.28557520213851056</c:v>
                </c:pt>
                <c:pt idx="5256">
                  <c:v>0.2977730660572675</c:v>
                </c:pt>
                <c:pt idx="5257">
                  <c:v>0.30682413472836301</c:v>
                </c:pt>
                <c:pt idx="5258">
                  <c:v>0.31298446789585349</c:v>
                </c:pt>
                <c:pt idx="5259">
                  <c:v>0.31658149922558837</c:v>
                </c:pt>
                <c:pt idx="5260">
                  <c:v>0.31875469831316738</c:v>
                </c:pt>
                <c:pt idx="5261">
                  <c:v>0.31932507696357199</c:v>
                </c:pt>
                <c:pt idx="5262">
                  <c:v>0.31889334086452709</c:v>
                </c:pt>
                <c:pt idx="5263">
                  <c:v>0.31610490505940614</c:v>
                </c:pt>
                <c:pt idx="5264">
                  <c:v>0.31136887993500434</c:v>
                </c:pt>
                <c:pt idx="5265">
                  <c:v>0.30489440640113091</c:v>
                </c:pt>
                <c:pt idx="5266">
                  <c:v>0.29582480505283337</c:v>
                </c:pt>
                <c:pt idx="5267">
                  <c:v>0.28463128101110696</c:v>
                </c:pt>
                <c:pt idx="5268">
                  <c:v>0.27148035493421446</c:v>
                </c:pt>
                <c:pt idx="5269">
                  <c:v>0.25649389296224678</c:v>
                </c:pt>
                <c:pt idx="5270">
                  <c:v>0.24094048028327683</c:v>
                </c:pt>
                <c:pt idx="5271">
                  <c:v>0.22565680030267773</c:v>
                </c:pt>
                <c:pt idx="5272">
                  <c:v>0.20719444321218208</c:v>
                </c:pt>
                <c:pt idx="5273">
                  <c:v>0.18737381525340521</c:v>
                </c:pt>
                <c:pt idx="5274">
                  <c:v>0.16560996390270888</c:v>
                </c:pt>
                <c:pt idx="5275">
                  <c:v>0.14659968274047588</c:v>
                </c:pt>
                <c:pt idx="5276">
                  <c:v>0.12457043068069221</c:v>
                </c:pt>
                <c:pt idx="5277">
                  <c:v>0.10428726695996587</c:v>
                </c:pt>
                <c:pt idx="5278">
                  <c:v>7.9296742913483251E-2</c:v>
                </c:pt>
                <c:pt idx="5279">
                  <c:v>4.7139281381096458E-2</c:v>
                </c:pt>
                <c:pt idx="5280">
                  <c:v>1.9974950366247558E-2</c:v>
                </c:pt>
                <c:pt idx="5281">
                  <c:v>-2.3008075299544278E-3</c:v>
                </c:pt>
                <c:pt idx="5282">
                  <c:v>-2.5641901716643323E-2</c:v>
                </c:pt>
                <c:pt idx="5283">
                  <c:v>-3.4205540117206362E-2</c:v>
                </c:pt>
                <c:pt idx="5284">
                  <c:v>-3.8391940427599462E-2</c:v>
                </c:pt>
                <c:pt idx="5285">
                  <c:v>-4.2399772539198848E-2</c:v>
                </c:pt>
                <c:pt idx="5286">
                  <c:v>-4.5739529255600153E-2</c:v>
                </c:pt>
                <c:pt idx="5287">
                  <c:v>-4.8968026928494481E-2</c:v>
                </c:pt>
                <c:pt idx="5288">
                  <c:v>-5.2857485939224486E-2</c:v>
                </c:pt>
                <c:pt idx="5289">
                  <c:v>-5.6870448601062461E-2</c:v>
                </c:pt>
                <c:pt idx="5290">
                  <c:v>-6.1915857010964935E-2</c:v>
                </c:pt>
                <c:pt idx="5291">
                  <c:v>-6.739124689885205E-2</c:v>
                </c:pt>
                <c:pt idx="5292">
                  <c:v>-7.1421376525179867E-2</c:v>
                </c:pt>
                <c:pt idx="5293">
                  <c:v>-7.5048137834670972E-2</c:v>
                </c:pt>
                <c:pt idx="5294">
                  <c:v>-7.7895006945076645E-2</c:v>
                </c:pt>
                <c:pt idx="5295">
                  <c:v>-8.0090197896827059E-2</c:v>
                </c:pt>
                <c:pt idx="5296">
                  <c:v>-8.1980324484742823E-2</c:v>
                </c:pt>
                <c:pt idx="5297">
                  <c:v>-8.3218660640558523E-2</c:v>
                </c:pt>
                <c:pt idx="5298">
                  <c:v>-8.3935856202216969E-2</c:v>
                </c:pt>
                <c:pt idx="5299">
                  <c:v>-8.4233658148934479E-2</c:v>
                </c:pt>
                <c:pt idx="5300">
                  <c:v>-8.400739169440781E-2</c:v>
                </c:pt>
                <c:pt idx="5301">
                  <c:v>-8.3193627768970782E-2</c:v>
                </c:pt>
                <c:pt idx="5302">
                  <c:v>-8.2055933447597221E-2</c:v>
                </c:pt>
                <c:pt idx="5303">
                  <c:v>-7.9729435664714396E-2</c:v>
                </c:pt>
                <c:pt idx="5304">
                  <c:v>-7.6564385681785196E-2</c:v>
                </c:pt>
                <c:pt idx="5305">
                  <c:v>-7.2530730968940096E-2</c:v>
                </c:pt>
                <c:pt idx="5306">
                  <c:v>-6.0639001431885622E-2</c:v>
                </c:pt>
                <c:pt idx="5307">
                  <c:v>-5.1026362553089066E-2</c:v>
                </c:pt>
                <c:pt idx="5308">
                  <c:v>-4.268787030281275E-2</c:v>
                </c:pt>
                <c:pt idx="5309">
                  <c:v>-3.403216099409382E-2</c:v>
                </c:pt>
                <c:pt idx="5310">
                  <c:v>-2.5253227941720302E-2</c:v>
                </c:pt>
                <c:pt idx="5311">
                  <c:v>-6.0697540530872856E-3</c:v>
                </c:pt>
                <c:pt idx="5312">
                  <c:v>8.7250927486003851E-3</c:v>
                </c:pt>
                <c:pt idx="5313">
                  <c:v>2.0729316873359105E-2</c:v>
                </c:pt>
                <c:pt idx="5314">
                  <c:v>3.1579379507834258E-2</c:v>
                </c:pt>
                <c:pt idx="5315">
                  <c:v>4.1667202029509839E-2</c:v>
                </c:pt>
                <c:pt idx="5316">
                  <c:v>5.152869384977124E-2</c:v>
                </c:pt>
                <c:pt idx="5317">
                  <c:v>6.1039213706097939E-2</c:v>
                </c:pt>
                <c:pt idx="5318">
                  <c:v>6.806891657081611E-2</c:v>
                </c:pt>
                <c:pt idx="5319">
                  <c:v>7.458889732906987E-2</c:v>
                </c:pt>
                <c:pt idx="5320">
                  <c:v>7.8646751021821962E-2</c:v>
                </c:pt>
                <c:pt idx="5321">
                  <c:v>8.0965745965077579E-2</c:v>
                </c:pt>
                <c:pt idx="5322">
                  <c:v>8.3242554794104029E-2</c:v>
                </c:pt>
                <c:pt idx="5323">
                  <c:v>8.4567509293109716E-2</c:v>
                </c:pt>
                <c:pt idx="5324">
                  <c:v>8.5645821470113626E-2</c:v>
                </c:pt>
                <c:pt idx="5325">
                  <c:v>8.6352076034039382E-2</c:v>
                </c:pt>
                <c:pt idx="5326">
                  <c:v>8.6715070940571251E-2</c:v>
                </c:pt>
                <c:pt idx="5327">
                  <c:v>8.6860643513764921E-2</c:v>
                </c:pt>
                <c:pt idx="5328">
                  <c:v>8.6276752609744378E-2</c:v>
                </c:pt>
                <c:pt idx="5329">
                  <c:v>8.5285155259841344E-2</c:v>
                </c:pt>
                <c:pt idx="5330">
                  <c:v>8.3449220209822497E-2</c:v>
                </c:pt>
                <c:pt idx="5331">
                  <c:v>8.1291203169736814E-2</c:v>
                </c:pt>
                <c:pt idx="5332">
                  <c:v>7.8073008313824702E-2</c:v>
                </c:pt>
                <c:pt idx="5333">
                  <c:v>7.3671383062790793E-2</c:v>
                </c:pt>
                <c:pt idx="5334">
                  <c:v>6.7959846693524048E-2</c:v>
                </c:pt>
                <c:pt idx="5335">
                  <c:v>6.036130894538401E-2</c:v>
                </c:pt>
                <c:pt idx="5336">
                  <c:v>5.5692515435993087E-2</c:v>
                </c:pt>
                <c:pt idx="5337">
                  <c:v>5.0752723731269919E-2</c:v>
                </c:pt>
                <c:pt idx="5338">
                  <c:v>4.5539791327609123E-2</c:v>
                </c:pt>
                <c:pt idx="5339">
                  <c:v>4.0013694698588495E-2</c:v>
                </c:pt>
                <c:pt idx="5340">
                  <c:v>3.4494446180339658E-2</c:v>
                </c:pt>
                <c:pt idx="5341">
                  <c:v>3.6101387721722403E-2</c:v>
                </c:pt>
                <c:pt idx="5342">
                  <c:v>3.8032670604861436E-2</c:v>
                </c:pt>
                <c:pt idx="5343">
                  <c:v>4.0040460885186813E-2</c:v>
                </c:pt>
                <c:pt idx="5344">
                  <c:v>4.2314324152284422E-2</c:v>
                </c:pt>
                <c:pt idx="5345">
                  <c:v>4.4691706569066583E-2</c:v>
                </c:pt>
                <c:pt idx="5346">
                  <c:v>4.7151890071625457E-2</c:v>
                </c:pt>
                <c:pt idx="5347">
                  <c:v>4.9507491646523342E-2</c:v>
                </c:pt>
                <c:pt idx="5348">
                  <c:v>5.1535704842303423E-2</c:v>
                </c:pt>
                <c:pt idx="5349">
                  <c:v>5.3672277488418157E-2</c:v>
                </c:pt>
                <c:pt idx="5350">
                  <c:v>5.5929727850344987E-2</c:v>
                </c:pt>
                <c:pt idx="5351">
                  <c:v>5.7837611631768829E-2</c:v>
                </c:pt>
                <c:pt idx="5352">
                  <c:v>6.0122275740912154E-2</c:v>
                </c:pt>
                <c:pt idx="5353">
                  <c:v>6.2123158767590725E-2</c:v>
                </c:pt>
                <c:pt idx="5354">
                  <c:v>6.433229382790262E-2</c:v>
                </c:pt>
                <c:pt idx="5355">
                  <c:v>6.5661792965705568E-2</c:v>
                </c:pt>
                <c:pt idx="5356">
                  <c:v>6.6518413456090261E-2</c:v>
                </c:pt>
                <c:pt idx="5357">
                  <c:v>6.6973226632851809E-2</c:v>
                </c:pt>
                <c:pt idx="5358">
                  <c:v>6.7056612129314283E-2</c:v>
                </c:pt>
                <c:pt idx="5359">
                  <c:v>6.6979210438673303E-2</c:v>
                </c:pt>
                <c:pt idx="5360">
                  <c:v>6.6336039092182622E-2</c:v>
                </c:pt>
                <c:pt idx="5361">
                  <c:v>6.5906777928587387E-2</c:v>
                </c:pt>
                <c:pt idx="5362">
                  <c:v>6.4846847143986808E-2</c:v>
                </c:pt>
                <c:pt idx="5363">
                  <c:v>6.3756767382602456E-2</c:v>
                </c:pt>
                <c:pt idx="5364">
                  <c:v>6.223369778936963E-2</c:v>
                </c:pt>
                <c:pt idx="5365">
                  <c:v>6.0242750567597383E-2</c:v>
                </c:pt>
                <c:pt idx="5366">
                  <c:v>5.8292404170629808E-2</c:v>
                </c:pt>
                <c:pt idx="5367">
                  <c:v>5.6207710132212069E-2</c:v>
                </c:pt>
                <c:pt idx="5368">
                  <c:v>5.3914733331302894E-2</c:v>
                </c:pt>
                <c:pt idx="5369">
                  <c:v>5.0840222971810123E-2</c:v>
                </c:pt>
                <c:pt idx="5370">
                  <c:v>4.7274111009054626E-2</c:v>
                </c:pt>
                <c:pt idx="5371">
                  <c:v>4.9738488600668464E-2</c:v>
                </c:pt>
                <c:pt idx="5372">
                  <c:v>6.3457243930561028E-2</c:v>
                </c:pt>
                <c:pt idx="5373">
                  <c:v>8.9088511181601743E-2</c:v>
                </c:pt>
                <c:pt idx="5374">
                  <c:v>0.11916047088668635</c:v>
                </c:pt>
                <c:pt idx="5375">
                  <c:v>0.15368731825664275</c:v>
                </c:pt>
                <c:pt idx="5376">
                  <c:v>0.19161872793065116</c:v>
                </c:pt>
                <c:pt idx="5377">
                  <c:v>0.2324367725204699</c:v>
                </c:pt>
                <c:pt idx="5378">
                  <c:v>0.27486643406208555</c:v>
                </c:pt>
                <c:pt idx="5379">
                  <c:v>0.31849956996065981</c:v>
                </c:pt>
                <c:pt idx="5380">
                  <c:v>0.36332724731816329</c:v>
                </c:pt>
                <c:pt idx="5381">
                  <c:v>0.40943763095897434</c:v>
                </c:pt>
                <c:pt idx="5382">
                  <c:v>0.45595647841499548</c:v>
                </c:pt>
                <c:pt idx="5383">
                  <c:v>0.5024761313225683</c:v>
                </c:pt>
                <c:pt idx="5384">
                  <c:v>0.56702862133574228</c:v>
                </c:pt>
                <c:pt idx="5385">
                  <c:v>0.63275632319374864</c:v>
                </c:pt>
                <c:pt idx="5386">
                  <c:v>0.67618563760356987</c:v>
                </c:pt>
                <c:pt idx="5387">
                  <c:v>0.73346242921056226</c:v>
                </c:pt>
                <c:pt idx="5388">
                  <c:v>0.76209279178867551</c:v>
                </c:pt>
                <c:pt idx="5389">
                  <c:v>0.79126899845423015</c:v>
                </c:pt>
                <c:pt idx="5390">
                  <c:v>0.82057675920713102</c:v>
                </c:pt>
                <c:pt idx="5391">
                  <c:v>0.83764021390818022</c:v>
                </c:pt>
                <c:pt idx="5392">
                  <c:v>0.8651710859532078</c:v>
                </c:pt>
                <c:pt idx="5393">
                  <c:v>0.87335888500316827</c:v>
                </c:pt>
                <c:pt idx="5394">
                  <c:v>0.88095680177618574</c:v>
                </c:pt>
                <c:pt idx="5395">
                  <c:v>0.88171676181574643</c:v>
                </c:pt>
                <c:pt idx="5396">
                  <c:v>0.88103730761120735</c:v>
                </c:pt>
                <c:pt idx="5397">
                  <c:v>0.87238753691815685</c:v>
                </c:pt>
                <c:pt idx="5398">
                  <c:v>0.86353525678908194</c:v>
                </c:pt>
                <c:pt idx="5399">
                  <c:v>0.83917239800890742</c:v>
                </c:pt>
                <c:pt idx="5400">
                  <c:v>0.80959725963346429</c:v>
                </c:pt>
                <c:pt idx="5401">
                  <c:v>0.78135914345803514</c:v>
                </c:pt>
                <c:pt idx="5402">
                  <c:v>0.76187384895802546</c:v>
                </c:pt>
                <c:pt idx="5403">
                  <c:v>0.73733100865465817</c:v>
                </c:pt>
                <c:pt idx="5404">
                  <c:v>0.70440994720940786</c:v>
                </c:pt>
                <c:pt idx="5405">
                  <c:v>0.67213443061826161</c:v>
                </c:pt>
                <c:pt idx="5406">
                  <c:v>0.64439213508144544</c:v>
                </c:pt>
                <c:pt idx="5407">
                  <c:v>0.6215855642448751</c:v>
                </c:pt>
                <c:pt idx="5408">
                  <c:v>0.59801637774843452</c:v>
                </c:pt>
                <c:pt idx="5409">
                  <c:v>0.58667802028807337</c:v>
                </c:pt>
                <c:pt idx="5410">
                  <c:v>0.56506351137396371</c:v>
                </c:pt>
                <c:pt idx="5411">
                  <c:v>0.54796769885402541</c:v>
                </c:pt>
                <c:pt idx="5412">
                  <c:v>0.53335710713782147</c:v>
                </c:pt>
                <c:pt idx="5413">
                  <c:v>0.52586247878682968</c:v>
                </c:pt>
                <c:pt idx="5414">
                  <c:v>0.52206291255589032</c:v>
                </c:pt>
                <c:pt idx="5415">
                  <c:v>0.52310451255210955</c:v>
                </c:pt>
                <c:pt idx="5416">
                  <c:v>0.52269866431225798</c:v>
                </c:pt>
                <c:pt idx="5417">
                  <c:v>0.51698882719965555</c:v>
                </c:pt>
                <c:pt idx="5418">
                  <c:v>0.52179547495980694</c:v>
                </c:pt>
                <c:pt idx="5419">
                  <c:v>0.52383769463388108</c:v>
                </c:pt>
                <c:pt idx="5420">
                  <c:v>0.53287423287228997</c:v>
                </c:pt>
                <c:pt idx="5421">
                  <c:v>0.5347342070204737</c:v>
                </c:pt>
                <c:pt idx="5422">
                  <c:v>0.52961863069448945</c:v>
                </c:pt>
                <c:pt idx="5423">
                  <c:v>0.53491669265308273</c:v>
                </c:pt>
                <c:pt idx="5424">
                  <c:v>0.5399386950268118</c:v>
                </c:pt>
                <c:pt idx="5425">
                  <c:v>0.54051989078616391</c:v>
                </c:pt>
                <c:pt idx="5426">
                  <c:v>0.54961908362587186</c:v>
                </c:pt>
                <c:pt idx="5427">
                  <c:v>0.54877913744864881</c:v>
                </c:pt>
                <c:pt idx="5428">
                  <c:v>0.54496745241270694</c:v>
                </c:pt>
                <c:pt idx="5429">
                  <c:v>0.54974378761348563</c:v>
                </c:pt>
                <c:pt idx="5430">
                  <c:v>0.55657843098860027</c:v>
                </c:pt>
                <c:pt idx="5431">
                  <c:v>0.55935845499587067</c:v>
                </c:pt>
                <c:pt idx="5432">
                  <c:v>0.55005540921932061</c:v>
                </c:pt>
                <c:pt idx="5433">
                  <c:v>0.55742121327838745</c:v>
                </c:pt>
                <c:pt idx="5434">
                  <c:v>0.5564072019817905</c:v>
                </c:pt>
                <c:pt idx="5435">
                  <c:v>0.55850292372533916</c:v>
                </c:pt>
                <c:pt idx="5436">
                  <c:v>0.5616225379451143</c:v>
                </c:pt>
                <c:pt idx="5437">
                  <c:v>0.5660972550966078</c:v>
                </c:pt>
                <c:pt idx="5438">
                  <c:v>0.57126290353630571</c:v>
                </c:pt>
                <c:pt idx="5439">
                  <c:v>0.56046579770502969</c:v>
                </c:pt>
                <c:pt idx="5440">
                  <c:v>0.56588591911611952</c:v>
                </c:pt>
                <c:pt idx="5441">
                  <c:v>0.57130107300443345</c:v>
                </c:pt>
                <c:pt idx="5442">
                  <c:v>0.58856770815063231</c:v>
                </c:pt>
                <c:pt idx="5443">
                  <c:v>0.60104232233109822</c:v>
                </c:pt>
                <c:pt idx="5444">
                  <c:v>0.60110472883762289</c:v>
                </c:pt>
                <c:pt idx="5445">
                  <c:v>0.59701724306644233</c:v>
                </c:pt>
                <c:pt idx="5446">
                  <c:v>0.59915817477378241</c:v>
                </c:pt>
                <c:pt idx="5447">
                  <c:v>0.6039355709398152</c:v>
                </c:pt>
                <c:pt idx="5448">
                  <c:v>0.61128567552473434</c:v>
                </c:pt>
                <c:pt idx="5449">
                  <c:v>0.61919796446278741</c:v>
                </c:pt>
                <c:pt idx="5450">
                  <c:v>0.61842886147619225</c:v>
                </c:pt>
                <c:pt idx="5451">
                  <c:v>0.63064128584579626</c:v>
                </c:pt>
                <c:pt idx="5452">
                  <c:v>0.64678678229035291</c:v>
                </c:pt>
                <c:pt idx="5453">
                  <c:v>0.67622947300929126</c:v>
                </c:pt>
                <c:pt idx="5454">
                  <c:v>0.69766892615523379</c:v>
                </c:pt>
                <c:pt idx="5455">
                  <c:v>0.71139597298607937</c:v>
                </c:pt>
                <c:pt idx="5456">
                  <c:v>0.70958760745989935</c:v>
                </c:pt>
                <c:pt idx="5457">
                  <c:v>0.72278081853394482</c:v>
                </c:pt>
                <c:pt idx="5458">
                  <c:v>0.73399455511136613</c:v>
                </c:pt>
                <c:pt idx="5459">
                  <c:v>0.74103466728065615</c:v>
                </c:pt>
                <c:pt idx="5460">
                  <c:v>0.74449773192468771</c:v>
                </c:pt>
                <c:pt idx="5461">
                  <c:v>0.74147362613745516</c:v>
                </c:pt>
                <c:pt idx="5462">
                  <c:v>0.7355981626528576</c:v>
                </c:pt>
                <c:pt idx="5463">
                  <c:v>0.69745279702723439</c:v>
                </c:pt>
                <c:pt idx="5464">
                  <c:v>0.67854562459212908</c:v>
                </c:pt>
                <c:pt idx="5465">
                  <c:v>0.66192589177437555</c:v>
                </c:pt>
                <c:pt idx="5466">
                  <c:v>0.64462293716562946</c:v>
                </c:pt>
                <c:pt idx="5467">
                  <c:v>0.62577112165360427</c:v>
                </c:pt>
                <c:pt idx="5468">
                  <c:v>0.60605143120092531</c:v>
                </c:pt>
                <c:pt idx="5469">
                  <c:v>0.58301612395825264</c:v>
                </c:pt>
                <c:pt idx="5470">
                  <c:v>0.55855259549599179</c:v>
                </c:pt>
                <c:pt idx="5471">
                  <c:v>0.52813247284205589</c:v>
                </c:pt>
                <c:pt idx="5472">
                  <c:v>0.46875749198087113</c:v>
                </c:pt>
                <c:pt idx="5473">
                  <c:v>0.38163277870892626</c:v>
                </c:pt>
                <c:pt idx="5474">
                  <c:v>0.33479696167509082</c:v>
                </c:pt>
                <c:pt idx="5475">
                  <c:v>0.27458718452422454</c:v>
                </c:pt>
                <c:pt idx="5476">
                  <c:v>0.25446674238345779</c:v>
                </c:pt>
                <c:pt idx="5477">
                  <c:v>0.23641334522071339</c:v>
                </c:pt>
                <c:pt idx="5478">
                  <c:v>0.21720582803513305</c:v>
                </c:pt>
                <c:pt idx="5479">
                  <c:v>0.19549211988760615</c:v>
                </c:pt>
                <c:pt idx="5480">
                  <c:v>0.17106944702135807</c:v>
                </c:pt>
                <c:pt idx="5481">
                  <c:v>0.14298015038317155</c:v>
                </c:pt>
                <c:pt idx="5482">
                  <c:v>0.11791150788922591</c:v>
                </c:pt>
                <c:pt idx="5483">
                  <c:v>0.10689170507156003</c:v>
                </c:pt>
                <c:pt idx="5484">
                  <c:v>0.10032566620377065</c:v>
                </c:pt>
                <c:pt idx="5485">
                  <c:v>8.655811805164812E-2</c:v>
                </c:pt>
                <c:pt idx="5486">
                  <c:v>7.7306716202780776E-2</c:v>
                </c:pt>
                <c:pt idx="5487">
                  <c:v>9.5071098128833395E-2</c:v>
                </c:pt>
                <c:pt idx="5488">
                  <c:v>0.10525728442262167</c:v>
                </c:pt>
                <c:pt idx="5489">
                  <c:v>0.1123029668119204</c:v>
                </c:pt>
                <c:pt idx="5490">
                  <c:v>0.11973618211106019</c:v>
                </c:pt>
                <c:pt idx="5491">
                  <c:v>0.12511216357551044</c:v>
                </c:pt>
                <c:pt idx="5492">
                  <c:v>0.12882213922141023</c:v>
                </c:pt>
                <c:pt idx="5493">
                  <c:v>0.12954153331284687</c:v>
                </c:pt>
                <c:pt idx="5494">
                  <c:v>0.12833327931999025</c:v>
                </c:pt>
                <c:pt idx="5495">
                  <c:v>0.12638567494620409</c:v>
                </c:pt>
                <c:pt idx="5496">
                  <c:v>0.12352109728031282</c:v>
                </c:pt>
                <c:pt idx="5497">
                  <c:v>0.11998156923625261</c:v>
                </c:pt>
                <c:pt idx="5498">
                  <c:v>0.11518736954562089</c:v>
                </c:pt>
                <c:pt idx="5499">
                  <c:v>0.10967655614448137</c:v>
                </c:pt>
                <c:pt idx="5500">
                  <c:v>0.10196629321699756</c:v>
                </c:pt>
                <c:pt idx="5501">
                  <c:v>9.2610795837923754E-2</c:v>
                </c:pt>
                <c:pt idx="5502">
                  <c:v>7.9639515949924952E-2</c:v>
                </c:pt>
                <c:pt idx="5503">
                  <c:v>6.125783666234999E-2</c:v>
                </c:pt>
                <c:pt idx="5504">
                  <c:v>2.8936220720045695E-2</c:v>
                </c:pt>
                <c:pt idx="5505">
                  <c:v>1.6323033867781996E-3</c:v>
                </c:pt>
                <c:pt idx="5506">
                  <c:v>4.3107264711625178E-3</c:v>
                </c:pt>
                <c:pt idx="5507">
                  <c:v>7.2752272733718048E-3</c:v>
                </c:pt>
                <c:pt idx="5508">
                  <c:v>1.0669884234086551E-2</c:v>
                </c:pt>
                <c:pt idx="5509">
                  <c:v>1.3108268683204487E-2</c:v>
                </c:pt>
                <c:pt idx="5510">
                  <c:v>1.5379651940093999E-2</c:v>
                </c:pt>
                <c:pt idx="5511">
                  <c:v>1.8133398829827438E-2</c:v>
                </c:pt>
                <c:pt idx="5512">
                  <c:v>1.9129241116724052E-2</c:v>
                </c:pt>
                <c:pt idx="5513">
                  <c:v>1.9411325447859458E-2</c:v>
                </c:pt>
                <c:pt idx="5514">
                  <c:v>1.9487191569890365E-2</c:v>
                </c:pt>
                <c:pt idx="5515">
                  <c:v>1.9165144575009119E-2</c:v>
                </c:pt>
                <c:pt idx="5516">
                  <c:v>1.9384443262505893E-2</c:v>
                </c:pt>
                <c:pt idx="5517">
                  <c:v>1.6433816253063976E-2</c:v>
                </c:pt>
                <c:pt idx="5518">
                  <c:v>1.3082281201302589E-2</c:v>
                </c:pt>
                <c:pt idx="5519">
                  <c:v>1.0403914113996314E-2</c:v>
                </c:pt>
                <c:pt idx="5520">
                  <c:v>5.8101700783866669E-3</c:v>
                </c:pt>
                <c:pt idx="5521">
                  <c:v>6.0963903279947183E-4</c:v>
                </c:pt>
                <c:pt idx="5522">
                  <c:v>-2.7857844423382315E-3</c:v>
                </c:pt>
                <c:pt idx="5523">
                  <c:v>-4.1582216833370902E-3</c:v>
                </c:pt>
                <c:pt idx="5524">
                  <c:v>-4.7098910377757442E-3</c:v>
                </c:pt>
                <c:pt idx="5525">
                  <c:v>-7.3038134660574879E-3</c:v>
                </c:pt>
                <c:pt idx="5526">
                  <c:v>-7.2085144449435664E-3</c:v>
                </c:pt>
                <c:pt idx="5527">
                  <c:v>-7.1747635458146086E-3</c:v>
                </c:pt>
                <c:pt idx="5528">
                  <c:v>-6.9815649916719963E-3</c:v>
                </c:pt>
                <c:pt idx="5529">
                  <c:v>-6.7567674008900949E-3</c:v>
                </c:pt>
                <c:pt idx="5530">
                  <c:v>-6.4842258876100373E-3</c:v>
                </c:pt>
                <c:pt idx="5531">
                  <c:v>-6.4479847568617004E-3</c:v>
                </c:pt>
                <c:pt idx="5532">
                  <c:v>-6.4545759059855528E-3</c:v>
                </c:pt>
                <c:pt idx="5533">
                  <c:v>-6.8704815494841061E-3</c:v>
                </c:pt>
                <c:pt idx="5534">
                  <c:v>-7.2053901850605189E-3</c:v>
                </c:pt>
                <c:pt idx="5535">
                  <c:v>-7.4034307743002037E-3</c:v>
                </c:pt>
                <c:pt idx="5536">
                  <c:v>-7.5108961395721815E-3</c:v>
                </c:pt>
                <c:pt idx="5537">
                  <c:v>-7.6913022114433998E-3</c:v>
                </c:pt>
                <c:pt idx="5538">
                  <c:v>-7.7580310969904611E-3</c:v>
                </c:pt>
                <c:pt idx="5539">
                  <c:v>-7.6794957472263716E-3</c:v>
                </c:pt>
                <c:pt idx="5540">
                  <c:v>-7.6243766829426777E-3</c:v>
                </c:pt>
                <c:pt idx="5541">
                  <c:v>-7.6358930306193746E-3</c:v>
                </c:pt>
                <c:pt idx="5542">
                  <c:v>-7.7205243826789158E-3</c:v>
                </c:pt>
                <c:pt idx="5543">
                  <c:v>-7.7876283444525875E-3</c:v>
                </c:pt>
                <c:pt idx="5544">
                  <c:v>-8.0297640270157768E-3</c:v>
                </c:pt>
                <c:pt idx="5545">
                  <c:v>-8.1753899679930415E-3</c:v>
                </c:pt>
                <c:pt idx="5546">
                  <c:v>-8.1771865076775696E-3</c:v>
                </c:pt>
                <c:pt idx="5547">
                  <c:v>-8.0834829773868168E-3</c:v>
                </c:pt>
                <c:pt idx="5548">
                  <c:v>-8.0031467842426856E-3</c:v>
                </c:pt>
                <c:pt idx="5549">
                  <c:v>-7.9516415799144122E-3</c:v>
                </c:pt>
                <c:pt idx="5550">
                  <c:v>-7.9227109141795336E-3</c:v>
                </c:pt>
                <c:pt idx="5551">
                  <c:v>-7.9003918979456619E-3</c:v>
                </c:pt>
                <c:pt idx="5552">
                  <c:v>-8.4993172094788537E-3</c:v>
                </c:pt>
                <c:pt idx="5553">
                  <c:v>-8.8493704427983627E-3</c:v>
                </c:pt>
                <c:pt idx="5554">
                  <c:v>-8.7758566732672755E-3</c:v>
                </c:pt>
                <c:pt idx="5555">
                  <c:v>-8.6828009849107372E-3</c:v>
                </c:pt>
                <c:pt idx="5556">
                  <c:v>-8.5030171913538476E-3</c:v>
                </c:pt>
                <c:pt idx="5557">
                  <c:v>-8.3124472008761774E-3</c:v>
                </c:pt>
                <c:pt idx="5558">
                  <c:v>-8.1106077436910937E-3</c:v>
                </c:pt>
                <c:pt idx="5559">
                  <c:v>-7.9198080935453039E-3</c:v>
                </c:pt>
                <c:pt idx="5560">
                  <c:v>-7.8895038864810751E-3</c:v>
                </c:pt>
                <c:pt idx="5561">
                  <c:v>-7.2107296286924834E-3</c:v>
                </c:pt>
                <c:pt idx="5562">
                  <c:v>-7.1986332820211489E-3</c:v>
                </c:pt>
                <c:pt idx="5563">
                  <c:v>-7.1700480138870842E-3</c:v>
                </c:pt>
                <c:pt idx="5564">
                  <c:v>-7.1536054927527244E-3</c:v>
                </c:pt>
                <c:pt idx="5565">
                  <c:v>-7.1464490044440554E-3</c:v>
                </c:pt>
                <c:pt idx="5566">
                  <c:v>-7.1395696087867902E-3</c:v>
                </c:pt>
                <c:pt idx="5567">
                  <c:v>-7.142479647034205E-3</c:v>
                </c:pt>
                <c:pt idx="5568">
                  <c:v>-7.166743574022378E-3</c:v>
                </c:pt>
                <c:pt idx="5569">
                  <c:v>-7.2142286178823413E-3</c:v>
                </c:pt>
                <c:pt idx="5570">
                  <c:v>-7.2581656729224387E-3</c:v>
                </c:pt>
                <c:pt idx="5571">
                  <c:v>-7.2503082333722942E-3</c:v>
                </c:pt>
                <c:pt idx="5572">
                  <c:v>-7.0877203790011009E-3</c:v>
                </c:pt>
                <c:pt idx="5573">
                  <c:v>-7.1891342905443245E-3</c:v>
                </c:pt>
                <c:pt idx="5574">
                  <c:v>-7.2362472216200811E-3</c:v>
                </c:pt>
                <c:pt idx="5575">
                  <c:v>-7.1675243486393559E-3</c:v>
                </c:pt>
                <c:pt idx="5576">
                  <c:v>-7.1596661278584325E-3</c:v>
                </c:pt>
                <c:pt idx="5577">
                  <c:v>-7.1718336401266833E-3</c:v>
                </c:pt>
                <c:pt idx="5578">
                  <c:v>-7.1877917365548195E-3</c:v>
                </c:pt>
                <c:pt idx="5579">
                  <c:v>-7.19493294670151E-3</c:v>
                </c:pt>
                <c:pt idx="5580">
                  <c:v>-7.1919390263604308E-3</c:v>
                </c:pt>
                <c:pt idx="5581">
                  <c:v>-7.1868545360961149E-3</c:v>
                </c:pt>
                <c:pt idx="5582">
                  <c:v>-7.1744657335264268E-3</c:v>
                </c:pt>
                <c:pt idx="5583">
                  <c:v>-7.1708810746687343E-3</c:v>
                </c:pt>
                <c:pt idx="5584">
                  <c:v>-7.1534539519956704E-3</c:v>
                </c:pt>
                <c:pt idx="5585">
                  <c:v>-7.1473823745598249E-3</c:v>
                </c:pt>
                <c:pt idx="5586">
                  <c:v>-7.1801525212140498E-3</c:v>
                </c:pt>
                <c:pt idx="5587">
                  <c:v>-7.2426668577897178E-3</c:v>
                </c:pt>
                <c:pt idx="5588">
                  <c:v>-7.3614200903937069E-3</c:v>
                </c:pt>
                <c:pt idx="5589">
                  <c:v>-7.5107907642255022E-3</c:v>
                </c:pt>
                <c:pt idx="5590">
                  <c:v>-7.5199088358346104E-3</c:v>
                </c:pt>
                <c:pt idx="5591">
                  <c:v>-8.5154531833325706E-3</c:v>
                </c:pt>
                <c:pt idx="5592">
                  <c:v>-8.5357529737662384E-3</c:v>
                </c:pt>
                <c:pt idx="5593">
                  <c:v>-8.5670347816681758E-3</c:v>
                </c:pt>
                <c:pt idx="5594">
                  <c:v>-8.5760542747085611E-3</c:v>
                </c:pt>
                <c:pt idx="5595">
                  <c:v>-8.5557447798347841E-3</c:v>
                </c:pt>
                <c:pt idx="5596">
                  <c:v>-8.5034751212310165E-3</c:v>
                </c:pt>
                <c:pt idx="5597">
                  <c:v>-8.4438962026555445E-3</c:v>
                </c:pt>
                <c:pt idx="5598">
                  <c:v>-8.3806788397383352E-3</c:v>
                </c:pt>
                <c:pt idx="5599">
                  <c:v>-8.3341928579096485E-3</c:v>
                </c:pt>
                <c:pt idx="5600">
                  <c:v>-8.3054459386811205E-3</c:v>
                </c:pt>
                <c:pt idx="5601">
                  <c:v>-7.5936675622164974E-3</c:v>
                </c:pt>
                <c:pt idx="5602">
                  <c:v>-7.7780746404358843E-3</c:v>
                </c:pt>
                <c:pt idx="5603">
                  <c:v>-7.7854486319322083E-3</c:v>
                </c:pt>
                <c:pt idx="5604">
                  <c:v>-7.5742699081289694E-3</c:v>
                </c:pt>
                <c:pt idx="5605">
                  <c:v>-7.3311995103257539E-3</c:v>
                </c:pt>
                <c:pt idx="5606">
                  <c:v>-7.1978298005255046E-3</c:v>
                </c:pt>
                <c:pt idx="5607">
                  <c:v>-7.0845759985905003E-3</c:v>
                </c:pt>
                <c:pt idx="5608">
                  <c:v>-6.9686317408060687E-3</c:v>
                </c:pt>
                <c:pt idx="5609">
                  <c:v>-6.8648822989095257E-3</c:v>
                </c:pt>
                <c:pt idx="5610">
                  <c:v>-6.5923020942569646E-3</c:v>
                </c:pt>
                <c:pt idx="5611">
                  <c:v>-6.2295028697374761E-3</c:v>
                </c:pt>
                <c:pt idx="5612">
                  <c:v>-5.9722105919105019E-3</c:v>
                </c:pt>
                <c:pt idx="5613">
                  <c:v>-5.7279666483133641E-3</c:v>
                </c:pt>
                <c:pt idx="5614">
                  <c:v>-5.5027923619744585E-3</c:v>
                </c:pt>
                <c:pt idx="5615">
                  <c:v>-4.9483937736223456E-3</c:v>
                </c:pt>
                <c:pt idx="5616">
                  <c:v>-4.8616306919797622E-3</c:v>
                </c:pt>
                <c:pt idx="5617">
                  <c:v>-4.8199340277691287E-3</c:v>
                </c:pt>
                <c:pt idx="5618">
                  <c:v>-4.4256176061956403E-3</c:v>
                </c:pt>
                <c:pt idx="5619">
                  <c:v>-3.861450604675961E-3</c:v>
                </c:pt>
                <c:pt idx="5620">
                  <c:v>-3.8254953463358037E-3</c:v>
                </c:pt>
                <c:pt idx="5621">
                  <c:v>-3.8242191761880227E-3</c:v>
                </c:pt>
                <c:pt idx="5622">
                  <c:v>-3.4163016661935917E-3</c:v>
                </c:pt>
                <c:pt idx="5623">
                  <c:v>-3.2552478840427723E-3</c:v>
                </c:pt>
                <c:pt idx="5624">
                  <c:v>-3.2844525002380855E-3</c:v>
                </c:pt>
                <c:pt idx="5625">
                  <c:v>-3.3284143936596639E-3</c:v>
                </c:pt>
                <c:pt idx="5626">
                  <c:v>-3.4143535387035837E-3</c:v>
                </c:pt>
                <c:pt idx="5627">
                  <c:v>-3.5239635840563551E-3</c:v>
                </c:pt>
                <c:pt idx="5628">
                  <c:v>-3.6228379266031487E-3</c:v>
                </c:pt>
                <c:pt idx="5629">
                  <c:v>-3.7434273347006271E-3</c:v>
                </c:pt>
                <c:pt idx="5630">
                  <c:v>-3.8931756373833202E-3</c:v>
                </c:pt>
                <c:pt idx="5631">
                  <c:v>-4.6210280111836713E-3</c:v>
                </c:pt>
                <c:pt idx="5632">
                  <c:v>-5.0312445202053699E-3</c:v>
                </c:pt>
                <c:pt idx="5633">
                  <c:v>-5.05486549294102E-3</c:v>
                </c:pt>
                <c:pt idx="5634">
                  <c:v>-5.0657168237136542E-3</c:v>
                </c:pt>
                <c:pt idx="5635">
                  <c:v>-5.1385903405548649E-3</c:v>
                </c:pt>
                <c:pt idx="5636">
                  <c:v>-5.2671789621732334E-3</c:v>
                </c:pt>
                <c:pt idx="5637">
                  <c:v>-5.3755175109752662E-3</c:v>
                </c:pt>
                <c:pt idx="5638">
                  <c:v>-5.5047053261425951E-3</c:v>
                </c:pt>
                <c:pt idx="5639">
                  <c:v>-5.578703631500005E-3</c:v>
                </c:pt>
                <c:pt idx="5640">
                  <c:v>-5.5880288263831018E-3</c:v>
                </c:pt>
                <c:pt idx="5641">
                  <c:v>-5.6308037232044158E-3</c:v>
                </c:pt>
                <c:pt idx="5642">
                  <c:v>-5.596820895321309E-3</c:v>
                </c:pt>
                <c:pt idx="5643">
                  <c:v>-5.5580470832959509E-3</c:v>
                </c:pt>
                <c:pt idx="5644">
                  <c:v>-5.5132856506875253E-3</c:v>
                </c:pt>
                <c:pt idx="5645">
                  <c:v>-5.7668908905643673E-3</c:v>
                </c:pt>
                <c:pt idx="5646">
                  <c:v>-5.5957947734720228E-3</c:v>
                </c:pt>
                <c:pt idx="5647">
                  <c:v>-5.4578734386964371E-3</c:v>
                </c:pt>
                <c:pt idx="5648">
                  <c:v>-5.8778948401783347E-3</c:v>
                </c:pt>
                <c:pt idx="5649">
                  <c:v>-6.8795300242077626E-3</c:v>
                </c:pt>
                <c:pt idx="5650">
                  <c:v>-7.0669953784302719E-3</c:v>
                </c:pt>
                <c:pt idx="5651">
                  <c:v>-7.0391652161724654E-3</c:v>
                </c:pt>
                <c:pt idx="5652">
                  <c:v>-7.5409221719889528E-3</c:v>
                </c:pt>
                <c:pt idx="5653">
                  <c:v>-8.2332373954547376E-3</c:v>
                </c:pt>
                <c:pt idx="5654">
                  <c:v>-8.1531870520795777E-3</c:v>
                </c:pt>
                <c:pt idx="5655">
                  <c:v>-8.1319239001365184E-3</c:v>
                </c:pt>
                <c:pt idx="5656">
                  <c:v>-8.1196058203309024E-3</c:v>
                </c:pt>
                <c:pt idx="5657">
                  <c:v>-8.1200191613740678E-3</c:v>
                </c:pt>
                <c:pt idx="5658">
                  <c:v>-7.9702215577684022E-3</c:v>
                </c:pt>
                <c:pt idx="5659">
                  <c:v>-7.8304539830992923E-3</c:v>
                </c:pt>
                <c:pt idx="5660">
                  <c:v>-7.6928406816102676E-3</c:v>
                </c:pt>
                <c:pt idx="5661">
                  <c:v>-7.5900858890194725E-3</c:v>
                </c:pt>
                <c:pt idx="5662">
                  <c:v>-7.5270844657581073E-3</c:v>
                </c:pt>
                <c:pt idx="5663">
                  <c:v>-6.0430164909191335E-3</c:v>
                </c:pt>
                <c:pt idx="5664">
                  <c:v>-6.0268164957592513E-3</c:v>
                </c:pt>
                <c:pt idx="5665">
                  <c:v>-5.9924213005762483E-3</c:v>
                </c:pt>
                <c:pt idx="5666">
                  <c:v>-5.4250467510750027E-3</c:v>
                </c:pt>
                <c:pt idx="5667">
                  <c:v>-5.4258293146240933E-3</c:v>
                </c:pt>
                <c:pt idx="5668">
                  <c:v>-5.4190453652629856E-3</c:v>
                </c:pt>
                <c:pt idx="5669">
                  <c:v>-5.4283097022118209E-3</c:v>
                </c:pt>
                <c:pt idx="5670">
                  <c:v>-5.4706354957986449E-3</c:v>
                </c:pt>
                <c:pt idx="5671">
                  <c:v>-5.368452634028369E-3</c:v>
                </c:pt>
                <c:pt idx="5672">
                  <c:v>-5.1313137819120128E-3</c:v>
                </c:pt>
                <c:pt idx="5673">
                  <c:v>-5.0857636087889872E-3</c:v>
                </c:pt>
                <c:pt idx="5674">
                  <c:v>-5.1652846146178323E-3</c:v>
                </c:pt>
                <c:pt idx="5675">
                  <c:v>-5.3783495930221897E-3</c:v>
                </c:pt>
                <c:pt idx="5676">
                  <c:v>-5.5976207170318039E-3</c:v>
                </c:pt>
                <c:pt idx="5677">
                  <c:v>-5.836536079598601E-3</c:v>
                </c:pt>
                <c:pt idx="5678">
                  <c:v>-6.007656867259608E-3</c:v>
                </c:pt>
                <c:pt idx="5679">
                  <c:v>-6.0622099886947067E-3</c:v>
                </c:pt>
                <c:pt idx="5680">
                  <c:v>-6.0271437863458482E-3</c:v>
                </c:pt>
                <c:pt idx="5681">
                  <c:v>-5.902915146422924E-3</c:v>
                </c:pt>
                <c:pt idx="5682">
                  <c:v>-5.7272294519576314E-3</c:v>
                </c:pt>
                <c:pt idx="5683">
                  <c:v>-5.4873878326850856E-3</c:v>
                </c:pt>
                <c:pt idx="5684">
                  <c:v>-5.3892850728443449E-3</c:v>
                </c:pt>
                <c:pt idx="5685">
                  <c:v>-5.4009392532133249E-3</c:v>
                </c:pt>
                <c:pt idx="5686">
                  <c:v>-5.4165105229197806E-3</c:v>
                </c:pt>
                <c:pt idx="5687">
                  <c:v>-5.4378193534953215E-3</c:v>
                </c:pt>
                <c:pt idx="5688">
                  <c:v>-5.46465227839009E-3</c:v>
                </c:pt>
                <c:pt idx="5689">
                  <c:v>-5.4857873903021671E-3</c:v>
                </c:pt>
                <c:pt idx="5690">
                  <c:v>-5.5176826487049737E-3</c:v>
                </c:pt>
                <c:pt idx="5691">
                  <c:v>-5.5550012930107289E-3</c:v>
                </c:pt>
                <c:pt idx="5692">
                  <c:v>-5.5890876385673435E-3</c:v>
                </c:pt>
                <c:pt idx="5693">
                  <c:v>-6.7263267591574014E-3</c:v>
                </c:pt>
                <c:pt idx="5694">
                  <c:v>-6.7693302651758991E-3</c:v>
                </c:pt>
                <c:pt idx="5695">
                  <c:v>-6.8563646855272393E-3</c:v>
                </c:pt>
                <c:pt idx="5696">
                  <c:v>-7.7404183282959067E-3</c:v>
                </c:pt>
                <c:pt idx="5697">
                  <c:v>-7.7933536797527942E-3</c:v>
                </c:pt>
                <c:pt idx="5698">
                  <c:v>-7.8376458679148362E-3</c:v>
                </c:pt>
                <c:pt idx="5699">
                  <c:v>-7.8899305977660015E-3</c:v>
                </c:pt>
                <c:pt idx="5700">
                  <c:v>-7.9098604858902286E-3</c:v>
                </c:pt>
                <c:pt idx="5701">
                  <c:v>-8.3220294613586959E-3</c:v>
                </c:pt>
                <c:pt idx="5702">
                  <c:v>-8.7301168422141921E-3</c:v>
                </c:pt>
                <c:pt idx="5703">
                  <c:v>-8.8718915401050751E-3</c:v>
                </c:pt>
                <c:pt idx="5704">
                  <c:v>-8.8054727410381544E-3</c:v>
                </c:pt>
                <c:pt idx="5705">
                  <c:v>-8.7147008206003886E-3</c:v>
                </c:pt>
                <c:pt idx="5706">
                  <c:v>-8.7714320703262023E-3</c:v>
                </c:pt>
                <c:pt idx="5707">
                  <c:v>-4.7730204243491498E-3</c:v>
                </c:pt>
                <c:pt idx="5708">
                  <c:v>-3.1005432747092023E-3</c:v>
                </c:pt>
                <c:pt idx="5709">
                  <c:v>-2.1254261148479763E-3</c:v>
                </c:pt>
                <c:pt idx="5710">
                  <c:v>-2.1004638870185388E-3</c:v>
                </c:pt>
                <c:pt idx="5711">
                  <c:v>-2.1585218035893132E-3</c:v>
                </c:pt>
                <c:pt idx="5712">
                  <c:v>-2.1537348837030092E-3</c:v>
                </c:pt>
                <c:pt idx="5713">
                  <c:v>-2.3369080208431731E-3</c:v>
                </c:pt>
                <c:pt idx="5714">
                  <c:v>-2.3995217482185999E-3</c:v>
                </c:pt>
                <c:pt idx="5715">
                  <c:v>-2.3478479898513521E-3</c:v>
                </c:pt>
                <c:pt idx="5716">
                  <c:v>-2.250014569386059E-3</c:v>
                </c:pt>
                <c:pt idx="5717">
                  <c:v>-2.1691487262457364E-3</c:v>
                </c:pt>
                <c:pt idx="5718">
                  <c:v>-2.1067547876156625E-3</c:v>
                </c:pt>
                <c:pt idx="5719">
                  <c:v>-2.0589764483632932E-3</c:v>
                </c:pt>
                <c:pt idx="5720">
                  <c:v>-2.0006575184512224E-3</c:v>
                </c:pt>
                <c:pt idx="5721">
                  <c:v>-1.9253729864361635E-3</c:v>
                </c:pt>
                <c:pt idx="5722">
                  <c:v>-1.8799574206626E-3</c:v>
                </c:pt>
                <c:pt idx="5723">
                  <c:v>-1.8298855730558092E-3</c:v>
                </c:pt>
                <c:pt idx="5724">
                  <c:v>-1.7995524755776496E-3</c:v>
                </c:pt>
                <c:pt idx="5725">
                  <c:v>-1.7734541080632413E-3</c:v>
                </c:pt>
                <c:pt idx="5726">
                  <c:v>-1.7521014992994584E-3</c:v>
                </c:pt>
                <c:pt idx="5727">
                  <c:v>-1.7456380453529236E-3</c:v>
                </c:pt>
                <c:pt idx="5728">
                  <c:v>-1.7342735444137568E-3</c:v>
                </c:pt>
                <c:pt idx="5729">
                  <c:v>-1.7238790278938532E-3</c:v>
                </c:pt>
                <c:pt idx="5730">
                  <c:v>-1.6303568784475069E-3</c:v>
                </c:pt>
                <c:pt idx="5731">
                  <c:v>-1.3814090176755868E-3</c:v>
                </c:pt>
                <c:pt idx="5732">
                  <c:v>-1.2055260535644621E-3</c:v>
                </c:pt>
                <c:pt idx="5733">
                  <c:v>-1.1390386974004033E-3</c:v>
                </c:pt>
                <c:pt idx="5734">
                  <c:v>-1.1639384081951719E-3</c:v>
                </c:pt>
                <c:pt idx="5735">
                  <c:v>-1.2174692774610963E-3</c:v>
                </c:pt>
                <c:pt idx="5736">
                  <c:v>-1.2725783064015603E-3</c:v>
                </c:pt>
                <c:pt idx="5737">
                  <c:v>-2.9660993806278606E-3</c:v>
                </c:pt>
                <c:pt idx="5738">
                  <c:v>-4.6167128374149172E-3</c:v>
                </c:pt>
                <c:pt idx="5739">
                  <c:v>-6.4442584175964639E-3</c:v>
                </c:pt>
                <c:pt idx="5740">
                  <c:v>-6.8155724776307412E-3</c:v>
                </c:pt>
                <c:pt idx="5741">
                  <c:v>-6.9075378777514948E-3</c:v>
                </c:pt>
                <c:pt idx="5742">
                  <c:v>-7.6173411742478676E-3</c:v>
                </c:pt>
                <c:pt idx="5743">
                  <c:v>-7.7991791887097716E-3</c:v>
                </c:pt>
                <c:pt idx="5744">
                  <c:v>-7.9137183356268979E-3</c:v>
                </c:pt>
                <c:pt idx="5745">
                  <c:v>-8.0120436512822191E-3</c:v>
                </c:pt>
                <c:pt idx="5746">
                  <c:v>-8.1539159668274387E-3</c:v>
                </c:pt>
                <c:pt idx="5747">
                  <c:v>-8.2520420477885294E-3</c:v>
                </c:pt>
                <c:pt idx="5748">
                  <c:v>-8.2780329160587127E-3</c:v>
                </c:pt>
                <c:pt idx="5749">
                  <c:v>-8.2896904124755109E-3</c:v>
                </c:pt>
                <c:pt idx="5750">
                  <c:v>-8.2496868387531876E-3</c:v>
                </c:pt>
                <c:pt idx="5751">
                  <c:v>-8.2000933166383252E-3</c:v>
                </c:pt>
                <c:pt idx="5752">
                  <c:v>-8.0848159671003048E-3</c:v>
                </c:pt>
                <c:pt idx="5753">
                  <c:v>-7.9436209089716638E-3</c:v>
                </c:pt>
                <c:pt idx="5754">
                  <c:v>-7.8426662353828312E-3</c:v>
                </c:pt>
                <c:pt idx="5755">
                  <c:v>-7.7756493673034775E-3</c:v>
                </c:pt>
                <c:pt idx="5756">
                  <c:v>-7.7618916049534518E-3</c:v>
                </c:pt>
                <c:pt idx="5757">
                  <c:v>-7.6966994492104358E-3</c:v>
                </c:pt>
                <c:pt idx="5758">
                  <c:v>-7.5542583229355736E-3</c:v>
                </c:pt>
                <c:pt idx="5759">
                  <c:v>-7.5171240803777939E-3</c:v>
                </c:pt>
                <c:pt idx="5760">
                  <c:v>-7.6343402185044896E-3</c:v>
                </c:pt>
                <c:pt idx="5761">
                  <c:v>-8.2104542908900471E-3</c:v>
                </c:pt>
                <c:pt idx="5762">
                  <c:v>-7.8032802646774424E-3</c:v>
                </c:pt>
                <c:pt idx="5763">
                  <c:v>-7.9810550099812458E-3</c:v>
                </c:pt>
                <c:pt idx="5764">
                  <c:v>-8.0183644354610839E-3</c:v>
                </c:pt>
                <c:pt idx="5765">
                  <c:v>-8.0477629444534685E-3</c:v>
                </c:pt>
                <c:pt idx="5766">
                  <c:v>-8.1092666515548053E-3</c:v>
                </c:pt>
                <c:pt idx="5767">
                  <c:v>-7.9438238098714607E-3</c:v>
                </c:pt>
                <c:pt idx="5768">
                  <c:v>-8.0529531133753697E-3</c:v>
                </c:pt>
                <c:pt idx="5769">
                  <c:v>-7.5310656492631493E-3</c:v>
                </c:pt>
                <c:pt idx="5770">
                  <c:v>-7.2712716050813472E-3</c:v>
                </c:pt>
                <c:pt idx="5771">
                  <c:v>-7.0804695518109657E-3</c:v>
                </c:pt>
                <c:pt idx="5772">
                  <c:v>-6.9327664053890469E-3</c:v>
                </c:pt>
                <c:pt idx="5773">
                  <c:v>-6.7734631752389097E-3</c:v>
                </c:pt>
                <c:pt idx="5774">
                  <c:v>-6.5959573392407244E-3</c:v>
                </c:pt>
                <c:pt idx="5775">
                  <c:v>-6.4267685065054394E-3</c:v>
                </c:pt>
                <c:pt idx="5776">
                  <c:v>-6.2284422903262724E-3</c:v>
                </c:pt>
                <c:pt idx="5777">
                  <c:v>-6.0914631491541856E-3</c:v>
                </c:pt>
                <c:pt idx="5778">
                  <c:v>-5.9867818418058985E-3</c:v>
                </c:pt>
                <c:pt idx="5779">
                  <c:v>-5.8929137448932474E-3</c:v>
                </c:pt>
                <c:pt idx="5780">
                  <c:v>-5.8187898208514185E-3</c:v>
                </c:pt>
                <c:pt idx="5781">
                  <c:v>-5.7709353078255372E-3</c:v>
                </c:pt>
                <c:pt idx="5782">
                  <c:v>-5.7438973769757956E-3</c:v>
                </c:pt>
                <c:pt idx="5783">
                  <c:v>-5.7155529757385928E-3</c:v>
                </c:pt>
                <c:pt idx="5784">
                  <c:v>-5.7146526751731689E-3</c:v>
                </c:pt>
                <c:pt idx="5785">
                  <c:v>-5.7115648516503081E-3</c:v>
                </c:pt>
                <c:pt idx="5786">
                  <c:v>-5.6738288659472884E-3</c:v>
                </c:pt>
                <c:pt idx="5787">
                  <c:v>-5.6900058822381954E-3</c:v>
                </c:pt>
                <c:pt idx="5788">
                  <c:v>-5.8136140534519789E-3</c:v>
                </c:pt>
                <c:pt idx="5789">
                  <c:v>-5.8183232224382712E-3</c:v>
                </c:pt>
                <c:pt idx="5790">
                  <c:v>-5.8430262345089959E-3</c:v>
                </c:pt>
                <c:pt idx="5791">
                  <c:v>-5.8651411484531221E-3</c:v>
                </c:pt>
                <c:pt idx="5792">
                  <c:v>-6.8596775717998434E-3</c:v>
                </c:pt>
                <c:pt idx="5793">
                  <c:v>-6.8027661660504312E-3</c:v>
                </c:pt>
                <c:pt idx="5794">
                  <c:v>-6.8165395002616081E-3</c:v>
                </c:pt>
                <c:pt idx="5795">
                  <c:v>-6.9771812543679215E-3</c:v>
                </c:pt>
                <c:pt idx="5796">
                  <c:v>-7.0233985084376524E-3</c:v>
                </c:pt>
                <c:pt idx="5797">
                  <c:v>-7.089828918188509E-3</c:v>
                </c:pt>
                <c:pt idx="5798">
                  <c:v>-7.0823971516177425E-3</c:v>
                </c:pt>
                <c:pt idx="5799">
                  <c:v>-7.3871208149273553E-3</c:v>
                </c:pt>
                <c:pt idx="5800">
                  <c:v>-7.3056298935416956E-3</c:v>
                </c:pt>
                <c:pt idx="5801">
                  <c:v>-7.4859770757867462E-3</c:v>
                </c:pt>
                <c:pt idx="5802">
                  <c:v>-7.6124277555088705E-3</c:v>
                </c:pt>
                <c:pt idx="5803">
                  <c:v>-7.675030559558026E-3</c:v>
                </c:pt>
                <c:pt idx="5804">
                  <c:v>-7.7155494747463537E-3</c:v>
                </c:pt>
                <c:pt idx="5805">
                  <c:v>-7.7304178246678061E-3</c:v>
                </c:pt>
                <c:pt idx="5806">
                  <c:v>-7.7318185719671348E-3</c:v>
                </c:pt>
                <c:pt idx="5807">
                  <c:v>-7.6899138887185341E-3</c:v>
                </c:pt>
                <c:pt idx="5808">
                  <c:v>-7.6735610286409427E-3</c:v>
                </c:pt>
                <c:pt idx="5809">
                  <c:v>-7.6773225418204673E-3</c:v>
                </c:pt>
                <c:pt idx="5810">
                  <c:v>-7.6683490709675266E-3</c:v>
                </c:pt>
                <c:pt idx="5811">
                  <c:v>-7.6497265327699297E-3</c:v>
                </c:pt>
                <c:pt idx="5812">
                  <c:v>-7.6279649500035022E-3</c:v>
                </c:pt>
                <c:pt idx="5813">
                  <c:v>-7.6436027999794171E-3</c:v>
                </c:pt>
                <c:pt idx="5814">
                  <c:v>-7.6367620484578532E-3</c:v>
                </c:pt>
                <c:pt idx="5815">
                  <c:v>-7.6240367871776415E-3</c:v>
                </c:pt>
                <c:pt idx="5816">
                  <c:v>-7.6321791521876837E-3</c:v>
                </c:pt>
                <c:pt idx="5817">
                  <c:v>-7.5684229313168084E-3</c:v>
                </c:pt>
                <c:pt idx="5818">
                  <c:v>-7.5011788167855383E-3</c:v>
                </c:pt>
                <c:pt idx="5819">
                  <c:v>-7.1457108393705657E-3</c:v>
                </c:pt>
                <c:pt idx="5820">
                  <c:v>-6.8464515844468147E-3</c:v>
                </c:pt>
                <c:pt idx="5821">
                  <c:v>-6.5963565199552918E-3</c:v>
                </c:pt>
                <c:pt idx="5822">
                  <c:v>-6.4425768946468863E-3</c:v>
                </c:pt>
                <c:pt idx="5823">
                  <c:v>-6.3344207842171915E-3</c:v>
                </c:pt>
                <c:pt idx="5824">
                  <c:v>-6.1801744904549129E-3</c:v>
                </c:pt>
                <c:pt idx="5825">
                  <c:v>-6.1352353416102212E-3</c:v>
                </c:pt>
                <c:pt idx="5826">
                  <c:v>-6.1303747921673856E-3</c:v>
                </c:pt>
                <c:pt idx="5827">
                  <c:v>-6.1381800870356478E-3</c:v>
                </c:pt>
                <c:pt idx="5828">
                  <c:v>-6.1745290928933569E-3</c:v>
                </c:pt>
                <c:pt idx="5829">
                  <c:v>-6.2759786493148785E-3</c:v>
                </c:pt>
                <c:pt idx="5830">
                  <c:v>-6.4873470981967694E-3</c:v>
                </c:pt>
                <c:pt idx="5831">
                  <c:v>-6.5379682403229628E-3</c:v>
                </c:pt>
                <c:pt idx="5832">
                  <c:v>-6.5618933885082248E-3</c:v>
                </c:pt>
                <c:pt idx="5833">
                  <c:v>-6.5319267779216962E-3</c:v>
                </c:pt>
                <c:pt idx="5834">
                  <c:v>-6.4551499196827721E-3</c:v>
                </c:pt>
                <c:pt idx="5835">
                  <c:v>-6.3436810236882756E-3</c:v>
                </c:pt>
                <c:pt idx="5836">
                  <c:v>-6.226553520553014E-3</c:v>
                </c:pt>
                <c:pt idx="5837">
                  <c:v>-6.1907987333911837E-3</c:v>
                </c:pt>
                <c:pt idx="5838">
                  <c:v>-6.1303168849628237E-3</c:v>
                </c:pt>
                <c:pt idx="5839">
                  <c:v>-6.110397337421203E-3</c:v>
                </c:pt>
                <c:pt idx="5840">
                  <c:v>-6.1166490191972411E-3</c:v>
                </c:pt>
                <c:pt idx="5841">
                  <c:v>-6.147746712344743E-3</c:v>
                </c:pt>
                <c:pt idx="5842">
                  <c:v>-6.1837906691322823E-3</c:v>
                </c:pt>
                <c:pt idx="5843">
                  <c:v>-6.2006982978012846E-3</c:v>
                </c:pt>
                <c:pt idx="5844">
                  <c:v>-6.2295774247545319E-3</c:v>
                </c:pt>
                <c:pt idx="5845">
                  <c:v>-6.2750254750442366E-3</c:v>
                </c:pt>
                <c:pt idx="5846">
                  <c:v>-6.3579327656141382E-3</c:v>
                </c:pt>
                <c:pt idx="5847">
                  <c:v>-6.5147071633147192E-3</c:v>
                </c:pt>
                <c:pt idx="5848">
                  <c:v>-6.7061503948317967E-3</c:v>
                </c:pt>
                <c:pt idx="5849">
                  <c:v>-6.8106516347937159E-3</c:v>
                </c:pt>
                <c:pt idx="5850">
                  <c:v>-6.9378200598934807E-3</c:v>
                </c:pt>
                <c:pt idx="5851">
                  <c:v>-7.0516852624442914E-3</c:v>
                </c:pt>
                <c:pt idx="5852">
                  <c:v>-7.1194925103616157E-3</c:v>
                </c:pt>
                <c:pt idx="5853">
                  <c:v>-7.2042524892749508E-3</c:v>
                </c:pt>
                <c:pt idx="5854">
                  <c:v>-7.3204608300584976E-3</c:v>
                </c:pt>
                <c:pt idx="5855">
                  <c:v>-7.363282041589387E-3</c:v>
                </c:pt>
                <c:pt idx="5856">
                  <c:v>-7.3962901861191373E-3</c:v>
                </c:pt>
                <c:pt idx="5857">
                  <c:v>-7.4259628478851956E-3</c:v>
                </c:pt>
                <c:pt idx="5858">
                  <c:v>-7.4931584245636644E-3</c:v>
                </c:pt>
                <c:pt idx="5859">
                  <c:v>-7.5669998025925216E-3</c:v>
                </c:pt>
                <c:pt idx="5860">
                  <c:v>-7.6858674695588977E-3</c:v>
                </c:pt>
                <c:pt idx="5861">
                  <c:v>-7.7381567565075271E-3</c:v>
                </c:pt>
                <c:pt idx="5862">
                  <c:v>-7.7626009398842812E-3</c:v>
                </c:pt>
                <c:pt idx="5863">
                  <c:v>-7.8165089238019982E-3</c:v>
                </c:pt>
                <c:pt idx="5864">
                  <c:v>-7.932461457787636E-3</c:v>
                </c:pt>
                <c:pt idx="5865">
                  <c:v>-8.128211802306308E-3</c:v>
                </c:pt>
                <c:pt idx="5866">
                  <c:v>-8.4334510441278956E-3</c:v>
                </c:pt>
                <c:pt idx="5867">
                  <c:v>-8.8022632245325898E-3</c:v>
                </c:pt>
                <c:pt idx="5868">
                  <c:v>-9.1880092516803333E-3</c:v>
                </c:pt>
                <c:pt idx="5869">
                  <c:v>-9.4595812750587465E-3</c:v>
                </c:pt>
                <c:pt idx="5870">
                  <c:v>-9.4414300611519609E-3</c:v>
                </c:pt>
                <c:pt idx="5871">
                  <c:v>-9.4882348669071189E-3</c:v>
                </c:pt>
                <c:pt idx="5872">
                  <c:v>-9.4937172648061098E-3</c:v>
                </c:pt>
                <c:pt idx="5873">
                  <c:v>-9.4014226616683308E-3</c:v>
                </c:pt>
                <c:pt idx="5874">
                  <c:v>-9.1559786070977769E-3</c:v>
                </c:pt>
                <c:pt idx="5875">
                  <c:v>-8.9619457132031344E-3</c:v>
                </c:pt>
                <c:pt idx="5876">
                  <c:v>-8.7424148942505352E-3</c:v>
                </c:pt>
                <c:pt idx="5877">
                  <c:v>-8.5084627603954875E-3</c:v>
                </c:pt>
                <c:pt idx="5878">
                  <c:v>-8.292849747352761E-3</c:v>
                </c:pt>
                <c:pt idx="5879">
                  <c:v>-8.1435995635674996E-3</c:v>
                </c:pt>
                <c:pt idx="5880">
                  <c:v>-8.0106671362569423E-3</c:v>
                </c:pt>
                <c:pt idx="5881">
                  <c:v>-7.8944169635505081E-3</c:v>
                </c:pt>
                <c:pt idx="5882">
                  <c:v>-7.7881086376145551E-3</c:v>
                </c:pt>
                <c:pt idx="5883">
                  <c:v>-7.6935971703184156E-3</c:v>
                </c:pt>
                <c:pt idx="5884">
                  <c:v>-7.6092790514252738E-3</c:v>
                </c:pt>
                <c:pt idx="5885">
                  <c:v>-7.4280304460231841E-3</c:v>
                </c:pt>
                <c:pt idx="5886">
                  <c:v>-7.2785053347424605E-3</c:v>
                </c:pt>
                <c:pt idx="5887">
                  <c:v>-7.1733362182863879E-3</c:v>
                </c:pt>
                <c:pt idx="5888">
                  <c:v>-7.0782626669998114E-3</c:v>
                </c:pt>
                <c:pt idx="5889">
                  <c:v>-6.9962900471205311E-3</c:v>
                </c:pt>
                <c:pt idx="5890">
                  <c:v>-6.9122869897966822E-3</c:v>
                </c:pt>
                <c:pt idx="5891">
                  <c:v>-6.836465665061452E-3</c:v>
                </c:pt>
                <c:pt idx="5892">
                  <c:v>-6.7674039165614977E-3</c:v>
                </c:pt>
                <c:pt idx="5893">
                  <c:v>-6.7928914556673638E-3</c:v>
                </c:pt>
                <c:pt idx="5894">
                  <c:v>-6.7600038312156073E-3</c:v>
                </c:pt>
                <c:pt idx="5895">
                  <c:v>-6.5538196660342935E-3</c:v>
                </c:pt>
                <c:pt idx="5896">
                  <c:v>-6.4176041051278174E-3</c:v>
                </c:pt>
                <c:pt idx="5897">
                  <c:v>-6.3622940388803175E-3</c:v>
                </c:pt>
                <c:pt idx="5898">
                  <c:v>-6.358701149571374E-3</c:v>
                </c:pt>
                <c:pt idx="5899">
                  <c:v>-6.5112159922347708E-3</c:v>
                </c:pt>
                <c:pt idx="5900">
                  <c:v>-6.5974177463705604E-3</c:v>
                </c:pt>
                <c:pt idx="5901">
                  <c:v>-6.6993182046353609E-3</c:v>
                </c:pt>
                <c:pt idx="5902">
                  <c:v>-6.7691852198222945E-3</c:v>
                </c:pt>
                <c:pt idx="5903">
                  <c:v>-6.7978090706721662E-3</c:v>
                </c:pt>
                <c:pt idx="5904">
                  <c:v>-6.7691714813140624E-3</c:v>
                </c:pt>
                <c:pt idx="5905">
                  <c:v>-6.7836751892649625E-3</c:v>
                </c:pt>
                <c:pt idx="5906">
                  <c:v>-6.7968879364010935E-3</c:v>
                </c:pt>
                <c:pt idx="5907">
                  <c:v>-6.7746017083717223E-3</c:v>
                </c:pt>
                <c:pt idx="5908">
                  <c:v>-6.7168911058369408E-3</c:v>
                </c:pt>
                <c:pt idx="5909">
                  <c:v>-6.7203025257489991E-3</c:v>
                </c:pt>
                <c:pt idx="5910">
                  <c:v>-6.7161550515191333E-3</c:v>
                </c:pt>
                <c:pt idx="5911">
                  <c:v>-6.7094032030054129E-3</c:v>
                </c:pt>
                <c:pt idx="5912">
                  <c:v>-6.7052085289369765E-3</c:v>
                </c:pt>
                <c:pt idx="5913">
                  <c:v>-6.6092913768999824E-3</c:v>
                </c:pt>
                <c:pt idx="5914">
                  <c:v>-6.614117823945543E-3</c:v>
                </c:pt>
                <c:pt idx="5915">
                  <c:v>-6.7000159776562573E-3</c:v>
                </c:pt>
                <c:pt idx="5916">
                  <c:v>-6.801259056131095E-3</c:v>
                </c:pt>
                <c:pt idx="5917">
                  <c:v>-6.7667591376569603E-3</c:v>
                </c:pt>
                <c:pt idx="5918">
                  <c:v>-6.8707612503403452E-3</c:v>
                </c:pt>
                <c:pt idx="5919">
                  <c:v>-6.9664039101999106E-3</c:v>
                </c:pt>
                <c:pt idx="5920">
                  <c:v>-7.038977743012112E-3</c:v>
                </c:pt>
                <c:pt idx="5921">
                  <c:v>-7.1896601490226454E-3</c:v>
                </c:pt>
                <c:pt idx="5922">
                  <c:v>-7.3657738319441845E-3</c:v>
                </c:pt>
                <c:pt idx="5923">
                  <c:v>-7.4220034101507657E-3</c:v>
                </c:pt>
                <c:pt idx="5924">
                  <c:v>-7.48891180448907E-3</c:v>
                </c:pt>
                <c:pt idx="5925">
                  <c:v>-7.6999064814285284E-3</c:v>
                </c:pt>
                <c:pt idx="5926">
                  <c:v>-7.8962686123401748E-3</c:v>
                </c:pt>
                <c:pt idx="5927">
                  <c:v>-7.9917033143441576E-3</c:v>
                </c:pt>
                <c:pt idx="5928">
                  <c:v>-7.9884298069803281E-3</c:v>
                </c:pt>
                <c:pt idx="5929">
                  <c:v>-7.9053924738682162E-3</c:v>
                </c:pt>
                <c:pt idx="5930">
                  <c:v>-7.7972551852981999E-3</c:v>
                </c:pt>
                <c:pt idx="5931">
                  <c:v>-7.710454333053663E-3</c:v>
                </c:pt>
                <c:pt idx="5932">
                  <c:v>-7.6538187015356019E-3</c:v>
                </c:pt>
                <c:pt idx="5933">
                  <c:v>-7.5118055341200293E-3</c:v>
                </c:pt>
                <c:pt idx="5934">
                  <c:v>-7.4185820159843319E-3</c:v>
                </c:pt>
                <c:pt idx="5935">
                  <c:v>-7.2663335867986052E-3</c:v>
                </c:pt>
                <c:pt idx="5936">
                  <c:v>-7.1692470410324137E-3</c:v>
                </c:pt>
                <c:pt idx="5937">
                  <c:v>-7.1797791684840885E-3</c:v>
                </c:pt>
                <c:pt idx="5938">
                  <c:v>-5.2203916809943083E-3</c:v>
                </c:pt>
                <c:pt idx="5939">
                  <c:v>-5.0613836358782928E-3</c:v>
                </c:pt>
                <c:pt idx="5940">
                  <c:v>-5.0358389244236079E-3</c:v>
                </c:pt>
                <c:pt idx="5941">
                  <c:v>-5.0903581163605615E-3</c:v>
                </c:pt>
                <c:pt idx="5942">
                  <c:v>-4.5659614309108924E-3</c:v>
                </c:pt>
                <c:pt idx="5943">
                  <c:v>-4.7852373751716398E-3</c:v>
                </c:pt>
                <c:pt idx="5944">
                  <c:v>-4.8669291541808581E-3</c:v>
                </c:pt>
                <c:pt idx="5945">
                  <c:v>-4.948510550599786E-3</c:v>
                </c:pt>
                <c:pt idx="5946">
                  <c:v>-5.0810558717114176E-3</c:v>
                </c:pt>
                <c:pt idx="5947">
                  <c:v>-5.1653459206537407E-3</c:v>
                </c:pt>
                <c:pt idx="5948">
                  <c:v>-5.269584024138063E-3</c:v>
                </c:pt>
                <c:pt idx="5949">
                  <c:v>-5.4456264839064274E-3</c:v>
                </c:pt>
                <c:pt idx="5950">
                  <c:v>-5.3888173816117862E-3</c:v>
                </c:pt>
                <c:pt idx="5951">
                  <c:v>-5.3841163036459257E-3</c:v>
                </c:pt>
                <c:pt idx="5952">
                  <c:v>-5.3488571216286068E-3</c:v>
                </c:pt>
                <c:pt idx="5953">
                  <c:v>-5.319029984798971E-3</c:v>
                </c:pt>
                <c:pt idx="5954">
                  <c:v>-5.2836849084390881E-3</c:v>
                </c:pt>
                <c:pt idx="5955">
                  <c:v>-5.2729217750941667E-3</c:v>
                </c:pt>
                <c:pt idx="5956">
                  <c:v>-5.263550590525262E-3</c:v>
                </c:pt>
                <c:pt idx="5957">
                  <c:v>-5.2560920724101234E-3</c:v>
                </c:pt>
                <c:pt idx="5958">
                  <c:v>-5.2477232615293183E-3</c:v>
                </c:pt>
                <c:pt idx="5959">
                  <c:v>-5.2486968443758424E-3</c:v>
                </c:pt>
                <c:pt idx="5960">
                  <c:v>-5.2609287771807258E-3</c:v>
                </c:pt>
                <c:pt idx="5961">
                  <c:v>-5.2846321925927309E-3</c:v>
                </c:pt>
                <c:pt idx="5962">
                  <c:v>-5.2993211334132805E-3</c:v>
                </c:pt>
                <c:pt idx="5963">
                  <c:v>-5.3197767424504085E-3</c:v>
                </c:pt>
                <c:pt idx="5964">
                  <c:v>-5.3440500566645606E-3</c:v>
                </c:pt>
                <c:pt idx="5965">
                  <c:v>-5.4319692748478338E-3</c:v>
                </c:pt>
                <c:pt idx="5966">
                  <c:v>-5.4713564201001597E-3</c:v>
                </c:pt>
                <c:pt idx="5967">
                  <c:v>-5.5246262927363139E-3</c:v>
                </c:pt>
                <c:pt idx="5968">
                  <c:v>-7.5613386865459112E-3</c:v>
                </c:pt>
                <c:pt idx="5969">
                  <c:v>-7.983145364055021E-3</c:v>
                </c:pt>
                <c:pt idx="5970">
                  <c:v>-8.0888394564426688E-3</c:v>
                </c:pt>
                <c:pt idx="5971">
                  <c:v>-7.9354777813996809E-3</c:v>
                </c:pt>
                <c:pt idx="5972">
                  <c:v>-8.4368389210436254E-3</c:v>
                </c:pt>
                <c:pt idx="5973">
                  <c:v>-7.9518974413921722E-3</c:v>
                </c:pt>
                <c:pt idx="5974">
                  <c:v>-7.954363728364609E-3</c:v>
                </c:pt>
                <c:pt idx="5975">
                  <c:v>-7.636437723533427E-3</c:v>
                </c:pt>
                <c:pt idx="5976">
                  <c:v>-7.6113472468159055E-3</c:v>
                </c:pt>
                <c:pt idx="5977">
                  <c:v>-7.5566625899252914E-3</c:v>
                </c:pt>
                <c:pt idx="5978">
                  <c:v>-6.9242360589743292E-3</c:v>
                </c:pt>
                <c:pt idx="5979">
                  <c:v>-6.9426507518610984E-3</c:v>
                </c:pt>
                <c:pt idx="5980">
                  <c:v>-7.253671141144777E-3</c:v>
                </c:pt>
                <c:pt idx="5981">
                  <c:v>-7.2348705702021824E-3</c:v>
                </c:pt>
                <c:pt idx="5982">
                  <c:v>-7.2285017283561055E-3</c:v>
                </c:pt>
                <c:pt idx="5983">
                  <c:v>-7.235082740330594E-3</c:v>
                </c:pt>
                <c:pt idx="5984">
                  <c:v>-7.2397831816136855E-3</c:v>
                </c:pt>
                <c:pt idx="5985">
                  <c:v>-7.2252817005750286E-3</c:v>
                </c:pt>
                <c:pt idx="5986">
                  <c:v>-7.2111233907798718E-3</c:v>
                </c:pt>
                <c:pt idx="5987">
                  <c:v>-7.2026012887787512E-3</c:v>
                </c:pt>
                <c:pt idx="5988">
                  <c:v>-7.1781531963654591E-3</c:v>
                </c:pt>
                <c:pt idx="5989">
                  <c:v>-7.0915459862903743E-3</c:v>
                </c:pt>
                <c:pt idx="5990">
                  <c:v>-7.0172033599600987E-3</c:v>
                </c:pt>
                <c:pt idx="5991">
                  <c:v>-6.9634202520527533E-3</c:v>
                </c:pt>
                <c:pt idx="5992">
                  <c:v>-6.9559994750365214E-3</c:v>
                </c:pt>
                <c:pt idx="5993">
                  <c:v>-6.9805517511828553E-3</c:v>
                </c:pt>
                <c:pt idx="5994">
                  <c:v>-7.0016078153570648E-3</c:v>
                </c:pt>
                <c:pt idx="5995">
                  <c:v>-7.0037257905715524E-3</c:v>
                </c:pt>
                <c:pt idx="5996">
                  <c:v>-6.9671801625561941E-3</c:v>
                </c:pt>
                <c:pt idx="5997">
                  <c:v>-6.915991241130565E-3</c:v>
                </c:pt>
                <c:pt idx="5998">
                  <c:v>-6.8476353808813624E-3</c:v>
                </c:pt>
                <c:pt idx="5999">
                  <c:v>-6.7756762829756234E-3</c:v>
                </c:pt>
                <c:pt idx="6000">
                  <c:v>-5.9883104093752734E-3</c:v>
                </c:pt>
                <c:pt idx="6001">
                  <c:v>-5.4438988127842262E-3</c:v>
                </c:pt>
                <c:pt idx="6002">
                  <c:v>-5.2521030329490386E-3</c:v>
                </c:pt>
                <c:pt idx="6003">
                  <c:v>-5.3530176999638072E-3</c:v>
                </c:pt>
                <c:pt idx="6004">
                  <c:v>-5.2492422904238762E-3</c:v>
                </c:pt>
                <c:pt idx="6005">
                  <c:v>-5.5280741793522483E-3</c:v>
                </c:pt>
                <c:pt idx="6006">
                  <c:v>-5.4423381361556472E-3</c:v>
                </c:pt>
                <c:pt idx="6007">
                  <c:v>-5.435962113076287E-3</c:v>
                </c:pt>
                <c:pt idx="6008">
                  <c:v>-6.2934608674359675E-3</c:v>
                </c:pt>
                <c:pt idx="6009">
                  <c:v>-6.4198383833687245E-3</c:v>
                </c:pt>
                <c:pt idx="6010">
                  <c:v>-6.4669806127781587E-3</c:v>
                </c:pt>
                <c:pt idx="6011">
                  <c:v>-6.5130579919594226E-3</c:v>
                </c:pt>
                <c:pt idx="6012">
                  <c:v>-6.5776801482992035E-3</c:v>
                </c:pt>
                <c:pt idx="6013">
                  <c:v>-6.4962105224932211E-3</c:v>
                </c:pt>
                <c:pt idx="6014">
                  <c:v>-6.5120218093310056E-3</c:v>
                </c:pt>
                <c:pt idx="6015">
                  <c:v>-6.2611474261333221E-3</c:v>
                </c:pt>
                <c:pt idx="6016">
                  <c:v>-6.3134112566575005E-3</c:v>
                </c:pt>
                <c:pt idx="6017">
                  <c:v>-6.2870573438257946E-3</c:v>
                </c:pt>
                <c:pt idx="6018">
                  <c:v>-6.2187644153920323E-3</c:v>
                </c:pt>
                <c:pt idx="6019">
                  <c:v>-6.1193693693036436E-3</c:v>
                </c:pt>
                <c:pt idx="6020">
                  <c:v>-5.9233377985518816E-3</c:v>
                </c:pt>
                <c:pt idx="6021">
                  <c:v>-5.9221337105535747E-3</c:v>
                </c:pt>
                <c:pt idx="6022">
                  <c:v>-5.9078305883183534E-3</c:v>
                </c:pt>
                <c:pt idx="6023">
                  <c:v>-5.9226174919619675E-3</c:v>
                </c:pt>
                <c:pt idx="6024">
                  <c:v>-5.7226781767185549E-3</c:v>
                </c:pt>
                <c:pt idx="6025">
                  <c:v>-5.5745632382570489E-3</c:v>
                </c:pt>
                <c:pt idx="6026">
                  <c:v>-5.5830857191641889E-3</c:v>
                </c:pt>
                <c:pt idx="6027">
                  <c:v>-5.6464281327868052E-3</c:v>
                </c:pt>
                <c:pt idx="6028">
                  <c:v>-5.7832505183553675E-3</c:v>
                </c:pt>
                <c:pt idx="6029">
                  <c:v>-5.9400855934586645E-3</c:v>
                </c:pt>
                <c:pt idx="6030">
                  <c:v>-6.4779885367354456E-3</c:v>
                </c:pt>
                <c:pt idx="6031">
                  <c:v>-7.0836120490814702E-3</c:v>
                </c:pt>
                <c:pt idx="6032">
                  <c:v>-7.2946410286714213E-3</c:v>
                </c:pt>
                <c:pt idx="6033">
                  <c:v>-7.4028534377469429E-3</c:v>
                </c:pt>
                <c:pt idx="6034">
                  <c:v>-7.4528065772499954E-3</c:v>
                </c:pt>
                <c:pt idx="6035">
                  <c:v>-7.4508910732253306E-3</c:v>
                </c:pt>
                <c:pt idx="6036">
                  <c:v>-7.6856063411650062E-3</c:v>
                </c:pt>
                <c:pt idx="6037">
                  <c:v>-7.700107852762479E-3</c:v>
                </c:pt>
                <c:pt idx="6038">
                  <c:v>-7.7058575109963962E-3</c:v>
                </c:pt>
                <c:pt idx="6039">
                  <c:v>-7.7471841473651555E-3</c:v>
                </c:pt>
                <c:pt idx="6040">
                  <c:v>-7.8338855412777835E-3</c:v>
                </c:pt>
                <c:pt idx="6041">
                  <c:v>-7.9367848039079598E-3</c:v>
                </c:pt>
                <c:pt idx="6042">
                  <c:v>-7.993419594890765E-3</c:v>
                </c:pt>
                <c:pt idx="6043">
                  <c:v>-8.032337514280341E-3</c:v>
                </c:pt>
                <c:pt idx="6044">
                  <c:v>-8.0252556479643057E-3</c:v>
                </c:pt>
                <c:pt idx="6045">
                  <c:v>-8.213768358774012E-3</c:v>
                </c:pt>
                <c:pt idx="6046">
                  <c:v>-8.1928420392318735E-3</c:v>
                </c:pt>
                <c:pt idx="6047">
                  <c:v>-8.2053764818829297E-3</c:v>
                </c:pt>
                <c:pt idx="6048">
                  <c:v>-7.9356746229311097E-3</c:v>
                </c:pt>
                <c:pt idx="6049">
                  <c:v>-8.001215122995127E-3</c:v>
                </c:pt>
                <c:pt idx="6050">
                  <c:v>-8.2115349751310691E-3</c:v>
                </c:pt>
                <c:pt idx="6051">
                  <c:v>-7.1089260394663987E-3</c:v>
                </c:pt>
                <c:pt idx="6052">
                  <c:v>-6.6781904725518575E-3</c:v>
                </c:pt>
                <c:pt idx="6053">
                  <c:v>-6.3831808141107133E-3</c:v>
                </c:pt>
                <c:pt idx="6054">
                  <c:v>-6.3959455128453644E-3</c:v>
                </c:pt>
                <c:pt idx="6055">
                  <c:v>-6.5263686115823762E-3</c:v>
                </c:pt>
                <c:pt idx="6056">
                  <c:v>-6.2899981687022568E-3</c:v>
                </c:pt>
                <c:pt idx="6057">
                  <c:v>-6.1341482934832567E-3</c:v>
                </c:pt>
                <c:pt idx="6058">
                  <c:v>-5.9894226848017365E-3</c:v>
                </c:pt>
                <c:pt idx="6059">
                  <c:v>-5.8501076246568282E-3</c:v>
                </c:pt>
                <c:pt idx="6060">
                  <c:v>-5.7219292406750812E-3</c:v>
                </c:pt>
                <c:pt idx="6061">
                  <c:v>-5.6566821370863732E-3</c:v>
                </c:pt>
                <c:pt idx="6062">
                  <c:v>-5.6216349632850528E-3</c:v>
                </c:pt>
                <c:pt idx="6063">
                  <c:v>-5.5997973728982142E-3</c:v>
                </c:pt>
                <c:pt idx="6064">
                  <c:v>-5.5981264760170592E-3</c:v>
                </c:pt>
                <c:pt idx="6065">
                  <c:v>-5.6093661293179289E-3</c:v>
                </c:pt>
                <c:pt idx="6066">
                  <c:v>-5.6336104322693304E-3</c:v>
                </c:pt>
                <c:pt idx="6067">
                  <c:v>-5.6630413448508421E-3</c:v>
                </c:pt>
                <c:pt idx="6068">
                  <c:v>-5.6907174690961817E-3</c:v>
                </c:pt>
                <c:pt idx="6069">
                  <c:v>-5.7232546470228195E-3</c:v>
                </c:pt>
                <c:pt idx="6070">
                  <c:v>-5.7536072975139917E-3</c:v>
                </c:pt>
                <c:pt idx="6071">
                  <c:v>-5.7929707257541093E-3</c:v>
                </c:pt>
                <c:pt idx="6072">
                  <c:v>-5.8228771714177539E-3</c:v>
                </c:pt>
                <c:pt idx="6073">
                  <c:v>-5.8579593815291028E-3</c:v>
                </c:pt>
                <c:pt idx="6074">
                  <c:v>-5.928557369068113E-3</c:v>
                </c:pt>
                <c:pt idx="6075">
                  <c:v>-6.0500960472333852E-3</c:v>
                </c:pt>
                <c:pt idx="6076">
                  <c:v>-6.215885455438221E-3</c:v>
                </c:pt>
                <c:pt idx="6077">
                  <c:v>-6.3521251474405217E-3</c:v>
                </c:pt>
                <c:pt idx="6078">
                  <c:v>-6.9903086312080084E-3</c:v>
                </c:pt>
                <c:pt idx="6079">
                  <c:v>-7.0857394730440013E-3</c:v>
                </c:pt>
                <c:pt idx="6080">
                  <c:v>-7.2389603981894935E-3</c:v>
                </c:pt>
                <c:pt idx="6081">
                  <c:v>-8.000762397959757E-3</c:v>
                </c:pt>
                <c:pt idx="6082">
                  <c:v>-8.2853882318379406E-3</c:v>
                </c:pt>
                <c:pt idx="6083">
                  <c:v>-8.3997059000228309E-3</c:v>
                </c:pt>
                <c:pt idx="6084">
                  <c:v>-8.4193057448400666E-3</c:v>
                </c:pt>
                <c:pt idx="6085">
                  <c:v>-8.4803034202125486E-3</c:v>
                </c:pt>
                <c:pt idx="6086">
                  <c:v>-8.5094091629403356E-3</c:v>
                </c:pt>
                <c:pt idx="6087">
                  <c:v>-8.5170880320094306E-3</c:v>
                </c:pt>
                <c:pt idx="6088">
                  <c:v>-8.4039027963799407E-3</c:v>
                </c:pt>
                <c:pt idx="6089">
                  <c:v>-7.0184173330635861E-3</c:v>
                </c:pt>
                <c:pt idx="6090">
                  <c:v>-6.0628077465388445E-3</c:v>
                </c:pt>
                <c:pt idx="6091">
                  <c:v>-6.0233508605274915E-3</c:v>
                </c:pt>
                <c:pt idx="6092">
                  <c:v>-5.9379854649405893E-3</c:v>
                </c:pt>
                <c:pt idx="6093">
                  <c:v>-5.4201738384383287E-3</c:v>
                </c:pt>
                <c:pt idx="6094">
                  <c:v>-5.3197765962955737E-3</c:v>
                </c:pt>
                <c:pt idx="6095">
                  <c:v>-5.0726422754473468E-3</c:v>
                </c:pt>
                <c:pt idx="6096">
                  <c:v>-4.9254809693391362E-3</c:v>
                </c:pt>
                <c:pt idx="6097">
                  <c:v>-4.8296909609805028E-3</c:v>
                </c:pt>
                <c:pt idx="6098">
                  <c:v>-4.7795505529253778E-3</c:v>
                </c:pt>
                <c:pt idx="6099">
                  <c:v>-4.8104348461002998E-3</c:v>
                </c:pt>
                <c:pt idx="6100">
                  <c:v>-4.7585393788736391E-3</c:v>
                </c:pt>
                <c:pt idx="6101">
                  <c:v>-4.7361786904222304E-3</c:v>
                </c:pt>
                <c:pt idx="6102">
                  <c:v>-4.8448724703900594E-3</c:v>
                </c:pt>
                <c:pt idx="6103">
                  <c:v>-4.7887669390185321E-3</c:v>
                </c:pt>
                <c:pt idx="6104">
                  <c:v>-4.883434263521844E-3</c:v>
                </c:pt>
                <c:pt idx="6105">
                  <c:v>-5.0351016814719589E-3</c:v>
                </c:pt>
                <c:pt idx="6106">
                  <c:v>-5.2216653774625529E-3</c:v>
                </c:pt>
                <c:pt idx="6107">
                  <c:v>-5.4046051297254394E-3</c:v>
                </c:pt>
                <c:pt idx="6108">
                  <c:v>-5.5824529804928387E-3</c:v>
                </c:pt>
                <c:pt idx="6109">
                  <c:v>-5.6468380898956087E-3</c:v>
                </c:pt>
                <c:pt idx="6110">
                  <c:v>-5.534886850526285E-3</c:v>
                </c:pt>
                <c:pt idx="6111">
                  <c:v>-5.3369775520424843E-3</c:v>
                </c:pt>
                <c:pt idx="6112">
                  <c:v>-5.1514282006924587E-3</c:v>
                </c:pt>
                <c:pt idx="6113">
                  <c:v>-5.0025410552508214E-3</c:v>
                </c:pt>
                <c:pt idx="6114">
                  <c:v>-4.9028281304987643E-3</c:v>
                </c:pt>
                <c:pt idx="6115">
                  <c:v>-4.8666738236747891E-3</c:v>
                </c:pt>
                <c:pt idx="6116">
                  <c:v>-4.8710467364001522E-3</c:v>
                </c:pt>
                <c:pt idx="6117">
                  <c:v>-4.8781226390532334E-3</c:v>
                </c:pt>
                <c:pt idx="6118">
                  <c:v>-4.9420120803554471E-3</c:v>
                </c:pt>
                <c:pt idx="6119">
                  <c:v>-5.640696157080404E-3</c:v>
                </c:pt>
                <c:pt idx="6120">
                  <c:v>-6.4566272205633648E-3</c:v>
                </c:pt>
                <c:pt idx="6121">
                  <c:v>-6.4060968431279329E-3</c:v>
                </c:pt>
                <c:pt idx="6122">
                  <c:v>-6.3895620190157296E-3</c:v>
                </c:pt>
                <c:pt idx="6123">
                  <c:v>-7.0684465638956107E-3</c:v>
                </c:pt>
                <c:pt idx="6124">
                  <c:v>-7.0068009375190872E-3</c:v>
                </c:pt>
                <c:pt idx="6125">
                  <c:v>-7.0929975889745308E-3</c:v>
                </c:pt>
                <c:pt idx="6126">
                  <c:v>-7.1448058369414438E-3</c:v>
                </c:pt>
                <c:pt idx="6127">
                  <c:v>-7.2112838562913822E-3</c:v>
                </c:pt>
                <c:pt idx="6128">
                  <c:v>-7.2578968907165628E-3</c:v>
                </c:pt>
                <c:pt idx="6129">
                  <c:v>-7.2845682039041054E-3</c:v>
                </c:pt>
                <c:pt idx="6130">
                  <c:v>-7.4580750092344264E-3</c:v>
                </c:pt>
                <c:pt idx="6131">
                  <c:v>-7.1517991895440275E-3</c:v>
                </c:pt>
                <c:pt idx="6132">
                  <c:v>-7.0052510216992332E-3</c:v>
                </c:pt>
                <c:pt idx="6133">
                  <c:v>-7.0603434319371364E-3</c:v>
                </c:pt>
                <c:pt idx="6134">
                  <c:v>-7.3127971982122151E-3</c:v>
                </c:pt>
                <c:pt idx="6135">
                  <c:v>-7.6689302603523777E-3</c:v>
                </c:pt>
                <c:pt idx="6136">
                  <c:v>-7.110751974927801E-3</c:v>
                </c:pt>
                <c:pt idx="6137">
                  <c:v>-6.6171939615182664E-3</c:v>
                </c:pt>
                <c:pt idx="6138">
                  <c:v>-6.2301069457161261E-3</c:v>
                </c:pt>
                <c:pt idx="6139">
                  <c:v>-6.0717321426876792E-3</c:v>
                </c:pt>
                <c:pt idx="6140">
                  <c:v>-6.1068016358741869E-3</c:v>
                </c:pt>
                <c:pt idx="6141">
                  <c:v>-6.1616013995317758E-3</c:v>
                </c:pt>
                <c:pt idx="6142">
                  <c:v>-6.222521217521905E-3</c:v>
                </c:pt>
                <c:pt idx="6143">
                  <c:v>-6.1955307884368725E-3</c:v>
                </c:pt>
                <c:pt idx="6144">
                  <c:v>-6.1371198225118545E-3</c:v>
                </c:pt>
                <c:pt idx="6145">
                  <c:v>-6.0629866405197512E-3</c:v>
                </c:pt>
                <c:pt idx="6146">
                  <c:v>-6.0439414047900042E-3</c:v>
                </c:pt>
                <c:pt idx="6147">
                  <c:v>-6.0563647828462555E-3</c:v>
                </c:pt>
                <c:pt idx="6148">
                  <c:v>-6.0859350605197695E-3</c:v>
                </c:pt>
                <c:pt idx="6149">
                  <c:v>-6.1255334828919034E-3</c:v>
                </c:pt>
                <c:pt idx="6150">
                  <c:v>-6.0782509077211668E-3</c:v>
                </c:pt>
                <c:pt idx="6151">
                  <c:v>-6.0188629198624482E-3</c:v>
                </c:pt>
                <c:pt idx="6152">
                  <c:v>-5.9762851783996193E-3</c:v>
                </c:pt>
                <c:pt idx="6153">
                  <c:v>-5.9632253829305266E-3</c:v>
                </c:pt>
                <c:pt idx="6154">
                  <c:v>-5.9477951098045089E-3</c:v>
                </c:pt>
                <c:pt idx="6155">
                  <c:v>-5.9590383658654055E-3</c:v>
                </c:pt>
                <c:pt idx="6156">
                  <c:v>-5.9418435507671702E-3</c:v>
                </c:pt>
                <c:pt idx="6157">
                  <c:v>-5.9027959650599319E-3</c:v>
                </c:pt>
                <c:pt idx="6158">
                  <c:v>-5.8146441111236041E-3</c:v>
                </c:pt>
                <c:pt idx="6159">
                  <c:v>-5.7196645164354458E-3</c:v>
                </c:pt>
                <c:pt idx="6160">
                  <c:v>-5.5965745524335937E-3</c:v>
                </c:pt>
                <c:pt idx="6161">
                  <c:v>-5.4786255000538707E-3</c:v>
                </c:pt>
                <c:pt idx="6162">
                  <c:v>-5.0863180313415537E-3</c:v>
                </c:pt>
                <c:pt idx="6163">
                  <c:v>-4.8266601203230293E-3</c:v>
                </c:pt>
                <c:pt idx="6164">
                  <c:v>-4.6774096650407573E-3</c:v>
                </c:pt>
                <c:pt idx="6165">
                  <c:v>-4.5353305963915626E-3</c:v>
                </c:pt>
                <c:pt idx="6166">
                  <c:v>-4.8871277188935868E-3</c:v>
                </c:pt>
                <c:pt idx="6167">
                  <c:v>-3.7538291575256455E-3</c:v>
                </c:pt>
                <c:pt idx="6168">
                  <c:v>-3.21747219382355E-3</c:v>
                </c:pt>
                <c:pt idx="6169">
                  <c:v>-2.9477213618779412E-3</c:v>
                </c:pt>
                <c:pt idx="6170">
                  <c:v>-2.8714693800482513E-3</c:v>
                </c:pt>
                <c:pt idx="6171">
                  <c:v>-2.771054511283233E-3</c:v>
                </c:pt>
                <c:pt idx="6172">
                  <c:v>-2.6899733864834217E-3</c:v>
                </c:pt>
                <c:pt idx="6173">
                  <c:v>-2.6012078894649092E-3</c:v>
                </c:pt>
                <c:pt idx="6174">
                  <c:v>-2.5410143305510616E-3</c:v>
                </c:pt>
                <c:pt idx="6175">
                  <c:v>-2.5175726321439232E-3</c:v>
                </c:pt>
                <c:pt idx="6176">
                  <c:v>-2.5102045647850922E-3</c:v>
                </c:pt>
                <c:pt idx="6177">
                  <c:v>-2.5185852072071545E-3</c:v>
                </c:pt>
                <c:pt idx="6178">
                  <c:v>-2.5142734502514585E-3</c:v>
                </c:pt>
                <c:pt idx="6179">
                  <c:v>-2.4933268024057154E-3</c:v>
                </c:pt>
                <c:pt idx="6180">
                  <c:v>-2.5137924530334102E-3</c:v>
                </c:pt>
                <c:pt idx="6181">
                  <c:v>-2.5655201825597693E-3</c:v>
                </c:pt>
                <c:pt idx="6182">
                  <c:v>-2.6362515734192557E-3</c:v>
                </c:pt>
                <c:pt idx="6183">
                  <c:v>-2.6751355300588808E-3</c:v>
                </c:pt>
                <c:pt idx="6184">
                  <c:v>-2.724868109707403E-3</c:v>
                </c:pt>
                <c:pt idx="6185">
                  <c:v>-2.6140564448489563E-3</c:v>
                </c:pt>
                <c:pt idx="6186">
                  <c:v>-2.6076012445738744E-3</c:v>
                </c:pt>
                <c:pt idx="6187">
                  <c:v>-2.5706422798144248E-3</c:v>
                </c:pt>
                <c:pt idx="6188">
                  <c:v>-2.5256664232526389E-3</c:v>
                </c:pt>
                <c:pt idx="6189">
                  <c:v>-2.4722068726627452E-3</c:v>
                </c:pt>
                <c:pt idx="6190">
                  <c:v>-2.5105388814046035E-3</c:v>
                </c:pt>
                <c:pt idx="6191">
                  <c:v>-2.8532659289145831E-3</c:v>
                </c:pt>
                <c:pt idx="6192">
                  <c:v>-3.2959420124730708E-3</c:v>
                </c:pt>
                <c:pt idx="6193">
                  <c:v>-3.7141573010453146E-3</c:v>
                </c:pt>
                <c:pt idx="6194">
                  <c:v>-4.1004281908459169E-3</c:v>
                </c:pt>
                <c:pt idx="6195">
                  <c:v>-4.4436355740042812E-3</c:v>
                </c:pt>
                <c:pt idx="6196">
                  <c:v>-4.4561861652083392E-3</c:v>
                </c:pt>
                <c:pt idx="6197">
                  <c:v>-5.6025191306415048E-3</c:v>
                </c:pt>
                <c:pt idx="6198">
                  <c:v>-6.4731703931174608E-3</c:v>
                </c:pt>
                <c:pt idx="6199">
                  <c:v>-6.9674715579250424E-3</c:v>
                </c:pt>
                <c:pt idx="6200">
                  <c:v>-6.0175571481692084E-3</c:v>
                </c:pt>
                <c:pt idx="6201">
                  <c:v>-5.2508014422996191E-3</c:v>
                </c:pt>
                <c:pt idx="6202">
                  <c:v>-3.6121476827157498E-3</c:v>
                </c:pt>
                <c:pt idx="6203">
                  <c:v>-1.4167873565723334E-3</c:v>
                </c:pt>
                <c:pt idx="6204">
                  <c:v>1.3403722887859928E-3</c:v>
                </c:pt>
                <c:pt idx="6205">
                  <c:v>3.4227784196154843E-3</c:v>
                </c:pt>
                <c:pt idx="6206">
                  <c:v>3.4024910709908544E-3</c:v>
                </c:pt>
                <c:pt idx="6207">
                  <c:v>3.3888229387134001E-3</c:v>
                </c:pt>
                <c:pt idx="6208">
                  <c:v>3.3235678035229265E-3</c:v>
                </c:pt>
                <c:pt idx="6209">
                  <c:v>2.0346694638999976E-2</c:v>
                </c:pt>
                <c:pt idx="6210">
                  <c:v>2.0695335965569488E-2</c:v>
                </c:pt>
                <c:pt idx="6211">
                  <c:v>2.06908773576212E-2</c:v>
                </c:pt>
                <c:pt idx="6212">
                  <c:v>2.1010150774269765E-2</c:v>
                </c:pt>
                <c:pt idx="6213">
                  <c:v>2.4622633826453084E-2</c:v>
                </c:pt>
                <c:pt idx="6214">
                  <c:v>2.4733022199409302E-2</c:v>
                </c:pt>
                <c:pt idx="6215">
                  <c:v>2.5146901421197666E-2</c:v>
                </c:pt>
                <c:pt idx="6216">
                  <c:v>2.5376152181036477E-2</c:v>
                </c:pt>
                <c:pt idx="6217">
                  <c:v>2.5215657033170379E-2</c:v>
                </c:pt>
                <c:pt idx="6218">
                  <c:v>2.537838431468379E-2</c:v>
                </c:pt>
                <c:pt idx="6219">
                  <c:v>3.0748191235413114E-2</c:v>
                </c:pt>
                <c:pt idx="6220">
                  <c:v>3.0955143570738974E-2</c:v>
                </c:pt>
                <c:pt idx="6221">
                  <c:v>3.0991650077960217E-2</c:v>
                </c:pt>
                <c:pt idx="6222">
                  <c:v>3.0910528398307678E-2</c:v>
                </c:pt>
                <c:pt idx="6223">
                  <c:v>3.0934912742318056E-2</c:v>
                </c:pt>
                <c:pt idx="6224">
                  <c:v>3.1347513194866825E-2</c:v>
                </c:pt>
                <c:pt idx="6225">
                  <c:v>3.1670753758430405E-2</c:v>
                </c:pt>
                <c:pt idx="6226">
                  <c:v>3.2248244509837196E-2</c:v>
                </c:pt>
                <c:pt idx="6227">
                  <c:v>3.2787857550539236E-2</c:v>
                </c:pt>
                <c:pt idx="6228">
                  <c:v>3.2729312203315548E-2</c:v>
                </c:pt>
                <c:pt idx="6229">
                  <c:v>3.5235625491429473E-2</c:v>
                </c:pt>
                <c:pt idx="6230">
                  <c:v>3.7072770934675529E-2</c:v>
                </c:pt>
                <c:pt idx="6231">
                  <c:v>3.7838031836195177E-2</c:v>
                </c:pt>
                <c:pt idx="6232">
                  <c:v>4.3674146543499243E-2</c:v>
                </c:pt>
                <c:pt idx="6233">
                  <c:v>4.3636851057285604E-2</c:v>
                </c:pt>
                <c:pt idx="6234">
                  <c:v>4.3572560588493479E-2</c:v>
                </c:pt>
                <c:pt idx="6235">
                  <c:v>4.408144973806196E-2</c:v>
                </c:pt>
                <c:pt idx="6236">
                  <c:v>4.5147066502123787E-2</c:v>
                </c:pt>
                <c:pt idx="6237">
                  <c:v>4.4917506191190122E-2</c:v>
                </c:pt>
                <c:pt idx="6238">
                  <c:v>4.7420933741831886E-2</c:v>
                </c:pt>
                <c:pt idx="6239">
                  <c:v>4.26440224789554E-2</c:v>
                </c:pt>
                <c:pt idx="6240">
                  <c:v>4.2111361308650369E-2</c:v>
                </c:pt>
                <c:pt idx="6241">
                  <c:v>4.1824005355973262E-2</c:v>
                </c:pt>
                <c:pt idx="6242">
                  <c:v>4.1025822223403639E-2</c:v>
                </c:pt>
                <c:pt idx="6243">
                  <c:v>4.0471856019674034E-2</c:v>
                </c:pt>
                <c:pt idx="6244">
                  <c:v>4.1278183673514143E-2</c:v>
                </c:pt>
                <c:pt idx="6245">
                  <c:v>4.0982459700227826E-2</c:v>
                </c:pt>
                <c:pt idx="6246">
                  <c:v>4.1107617324097998E-2</c:v>
                </c:pt>
                <c:pt idx="6247">
                  <c:v>4.1774803234497906E-2</c:v>
                </c:pt>
                <c:pt idx="6248">
                  <c:v>4.4385421888104286E-2</c:v>
                </c:pt>
                <c:pt idx="6249">
                  <c:v>4.3911279058031917E-2</c:v>
                </c:pt>
                <c:pt idx="6250">
                  <c:v>4.328440303240072E-2</c:v>
                </c:pt>
                <c:pt idx="6251">
                  <c:v>4.3586325599174781E-2</c:v>
                </c:pt>
                <c:pt idx="6252">
                  <c:v>4.3395806681411311E-2</c:v>
                </c:pt>
                <c:pt idx="6253">
                  <c:v>4.4059896462853861E-2</c:v>
                </c:pt>
                <c:pt idx="6254">
                  <c:v>4.3169031619361323E-2</c:v>
                </c:pt>
                <c:pt idx="6255">
                  <c:v>4.3404502874627361E-2</c:v>
                </c:pt>
                <c:pt idx="6256">
                  <c:v>4.291727292579868E-2</c:v>
                </c:pt>
                <c:pt idx="6257">
                  <c:v>4.2166485988032097E-2</c:v>
                </c:pt>
                <c:pt idx="6258">
                  <c:v>4.3813896621788639E-2</c:v>
                </c:pt>
                <c:pt idx="6259">
                  <c:v>4.323368670167272E-2</c:v>
                </c:pt>
                <c:pt idx="6260">
                  <c:v>4.2528222666478203E-2</c:v>
                </c:pt>
                <c:pt idx="6261">
                  <c:v>4.2328535177089247E-2</c:v>
                </c:pt>
                <c:pt idx="6262">
                  <c:v>3.8719794093481544E-2</c:v>
                </c:pt>
                <c:pt idx="6263">
                  <c:v>3.939056611219225E-2</c:v>
                </c:pt>
                <c:pt idx="6264">
                  <c:v>3.9537436076929923E-2</c:v>
                </c:pt>
                <c:pt idx="6265">
                  <c:v>3.89181637852829E-2</c:v>
                </c:pt>
                <c:pt idx="6266">
                  <c:v>3.7953298909116709E-2</c:v>
                </c:pt>
                <c:pt idx="6267">
                  <c:v>3.8678180535939959E-2</c:v>
                </c:pt>
                <c:pt idx="6268">
                  <c:v>3.5187386424561116E-2</c:v>
                </c:pt>
                <c:pt idx="6269">
                  <c:v>3.5178577636658492E-2</c:v>
                </c:pt>
                <c:pt idx="6270">
                  <c:v>3.7910596640287994E-2</c:v>
                </c:pt>
                <c:pt idx="6271">
                  <c:v>3.8146106526972541E-2</c:v>
                </c:pt>
                <c:pt idx="6272">
                  <c:v>3.8159590339226071E-2</c:v>
                </c:pt>
                <c:pt idx="6273">
                  <c:v>3.8005688872982467E-2</c:v>
                </c:pt>
                <c:pt idx="6274">
                  <c:v>3.8004374888409749E-2</c:v>
                </c:pt>
                <c:pt idx="6275">
                  <c:v>3.7581413699436746E-2</c:v>
                </c:pt>
                <c:pt idx="6276">
                  <c:v>4.8435251409273065E-2</c:v>
                </c:pt>
                <c:pt idx="6277">
                  <c:v>4.7682615206342066E-2</c:v>
                </c:pt>
                <c:pt idx="6278">
                  <c:v>4.4892488578701227E-2</c:v>
                </c:pt>
                <c:pt idx="6279">
                  <c:v>4.3479145928860485E-2</c:v>
                </c:pt>
                <c:pt idx="6280">
                  <c:v>4.3374577619654887E-2</c:v>
                </c:pt>
                <c:pt idx="6281">
                  <c:v>4.3374670022248464E-2</c:v>
                </c:pt>
                <c:pt idx="6282">
                  <c:v>4.3315063546610924E-2</c:v>
                </c:pt>
                <c:pt idx="6283">
                  <c:v>4.2383156144530053E-2</c:v>
                </c:pt>
                <c:pt idx="6284">
                  <c:v>4.2316237986408101E-2</c:v>
                </c:pt>
                <c:pt idx="6285">
                  <c:v>4.177647892780853E-2</c:v>
                </c:pt>
                <c:pt idx="6286">
                  <c:v>4.1035176174516748E-2</c:v>
                </c:pt>
                <c:pt idx="6287">
                  <c:v>4.0458883942561544E-2</c:v>
                </c:pt>
                <c:pt idx="6288">
                  <c:v>3.8877081146532738E-2</c:v>
                </c:pt>
                <c:pt idx="6289">
                  <c:v>3.8242563811000517E-2</c:v>
                </c:pt>
                <c:pt idx="6290">
                  <c:v>3.7815034724860835E-2</c:v>
                </c:pt>
                <c:pt idx="6291">
                  <c:v>3.9664726564641963E-2</c:v>
                </c:pt>
                <c:pt idx="6292">
                  <c:v>3.8879958346379105E-2</c:v>
                </c:pt>
                <c:pt idx="6293">
                  <c:v>3.9426081005646665E-2</c:v>
                </c:pt>
                <c:pt idx="6294">
                  <c:v>4.0136400798729564E-2</c:v>
                </c:pt>
                <c:pt idx="6295">
                  <c:v>4.0167327282320427E-2</c:v>
                </c:pt>
                <c:pt idx="6296">
                  <c:v>4.1053768919099842E-2</c:v>
                </c:pt>
                <c:pt idx="6297">
                  <c:v>4.0804802836113908E-2</c:v>
                </c:pt>
                <c:pt idx="6298">
                  <c:v>4.0812732418541289E-2</c:v>
                </c:pt>
                <c:pt idx="6299">
                  <c:v>5.6893254653291245E-2</c:v>
                </c:pt>
                <c:pt idx="6300">
                  <c:v>6.8448467194492879E-2</c:v>
                </c:pt>
                <c:pt idx="6301">
                  <c:v>7.3011139187642196E-2</c:v>
                </c:pt>
                <c:pt idx="6302">
                  <c:v>7.609806907214868E-2</c:v>
                </c:pt>
                <c:pt idx="6303">
                  <c:v>7.8371462819803228E-2</c:v>
                </c:pt>
                <c:pt idx="6304">
                  <c:v>7.842912153767162E-2</c:v>
                </c:pt>
                <c:pt idx="6305">
                  <c:v>7.8087400086727321E-2</c:v>
                </c:pt>
                <c:pt idx="6306">
                  <c:v>7.3237370571222954E-2</c:v>
                </c:pt>
                <c:pt idx="6307">
                  <c:v>7.3251999150024144E-2</c:v>
                </c:pt>
                <c:pt idx="6308">
                  <c:v>7.321662315128194E-2</c:v>
                </c:pt>
                <c:pt idx="6309">
                  <c:v>7.182393183840452E-2</c:v>
                </c:pt>
                <c:pt idx="6310">
                  <c:v>7.1362204670919846E-2</c:v>
                </c:pt>
                <c:pt idx="6311">
                  <c:v>7.1265231203155546E-2</c:v>
                </c:pt>
                <c:pt idx="6312">
                  <c:v>7.1041280571899026E-2</c:v>
                </c:pt>
                <c:pt idx="6313">
                  <c:v>7.1349968058050842E-2</c:v>
                </c:pt>
                <c:pt idx="6314">
                  <c:v>7.2589803933042679E-2</c:v>
                </c:pt>
                <c:pt idx="6315">
                  <c:v>7.3335476577439385E-2</c:v>
                </c:pt>
                <c:pt idx="6316">
                  <c:v>7.3926062604906639E-2</c:v>
                </c:pt>
                <c:pt idx="6317">
                  <c:v>7.4479260043962603E-2</c:v>
                </c:pt>
                <c:pt idx="6318">
                  <c:v>7.3990772194235013E-2</c:v>
                </c:pt>
                <c:pt idx="6319">
                  <c:v>7.3728392613936461E-2</c:v>
                </c:pt>
                <c:pt idx="6320">
                  <c:v>7.3043371372875393E-2</c:v>
                </c:pt>
                <c:pt idx="6321">
                  <c:v>7.2891345475178435E-2</c:v>
                </c:pt>
                <c:pt idx="6322">
                  <c:v>7.3217066588233654E-2</c:v>
                </c:pt>
                <c:pt idx="6323">
                  <c:v>7.3228203852395812E-2</c:v>
                </c:pt>
                <c:pt idx="6324">
                  <c:v>7.3189855133785856E-2</c:v>
                </c:pt>
                <c:pt idx="6325">
                  <c:v>7.2894114576921437E-2</c:v>
                </c:pt>
                <c:pt idx="6326">
                  <c:v>7.2036451484781536E-2</c:v>
                </c:pt>
                <c:pt idx="6327">
                  <c:v>7.1851904151669505E-2</c:v>
                </c:pt>
                <c:pt idx="6328">
                  <c:v>7.23205660794463E-2</c:v>
                </c:pt>
                <c:pt idx="6329">
                  <c:v>6.30517832905447E-2</c:v>
                </c:pt>
                <c:pt idx="6330">
                  <c:v>4.998329121539985E-2</c:v>
                </c:pt>
                <c:pt idx="6331">
                  <c:v>5.1052278859721384E-2</c:v>
                </c:pt>
                <c:pt idx="6332">
                  <c:v>5.1570207581472294E-2</c:v>
                </c:pt>
                <c:pt idx="6333">
                  <c:v>4.6910693043246042E-2</c:v>
                </c:pt>
                <c:pt idx="6334">
                  <c:v>4.3383133271279635E-2</c:v>
                </c:pt>
                <c:pt idx="6335">
                  <c:v>4.3616658416853853E-2</c:v>
                </c:pt>
                <c:pt idx="6336">
                  <c:v>4.3617855246081715E-2</c:v>
                </c:pt>
                <c:pt idx="6337">
                  <c:v>4.3539335925288844E-2</c:v>
                </c:pt>
                <c:pt idx="6338">
                  <c:v>4.361870748365166E-2</c:v>
                </c:pt>
                <c:pt idx="6339">
                  <c:v>4.3424770856878347E-2</c:v>
                </c:pt>
                <c:pt idx="6340">
                  <c:v>4.257606190643199E-2</c:v>
                </c:pt>
                <c:pt idx="6341">
                  <c:v>4.2221475141012044E-2</c:v>
                </c:pt>
                <c:pt idx="6342">
                  <c:v>4.2232689830393168E-2</c:v>
                </c:pt>
                <c:pt idx="6343">
                  <c:v>4.234604496322128E-2</c:v>
                </c:pt>
                <c:pt idx="6344">
                  <c:v>4.1788743842978635E-2</c:v>
                </c:pt>
                <c:pt idx="6345">
                  <c:v>4.1798435005305806E-2</c:v>
                </c:pt>
                <c:pt idx="6346">
                  <c:v>4.225986380509196E-2</c:v>
                </c:pt>
                <c:pt idx="6347">
                  <c:v>4.1504754177472299E-2</c:v>
                </c:pt>
                <c:pt idx="6348">
                  <c:v>4.1130519158361904E-2</c:v>
                </c:pt>
                <c:pt idx="6349">
                  <c:v>4.1903535003373925E-2</c:v>
                </c:pt>
                <c:pt idx="6350">
                  <c:v>4.1898205567377965E-2</c:v>
                </c:pt>
                <c:pt idx="6351">
                  <c:v>4.2014381134273769E-2</c:v>
                </c:pt>
                <c:pt idx="6352">
                  <c:v>4.2100523044397042E-2</c:v>
                </c:pt>
                <c:pt idx="6353">
                  <c:v>4.2827878341973921E-2</c:v>
                </c:pt>
                <c:pt idx="6354">
                  <c:v>4.2390781516955002E-2</c:v>
                </c:pt>
                <c:pt idx="6355">
                  <c:v>4.395191323207949E-2</c:v>
                </c:pt>
                <c:pt idx="6356">
                  <c:v>4.387185066369792E-2</c:v>
                </c:pt>
                <c:pt idx="6357">
                  <c:v>4.3594905077868104E-2</c:v>
                </c:pt>
                <c:pt idx="6358">
                  <c:v>4.3643277100996254E-2</c:v>
                </c:pt>
                <c:pt idx="6359">
                  <c:v>4.3487735600973826E-2</c:v>
                </c:pt>
                <c:pt idx="6360">
                  <c:v>4.3440323526472972E-2</c:v>
                </c:pt>
                <c:pt idx="6361">
                  <c:v>3.3227827737922246E-2</c:v>
                </c:pt>
                <c:pt idx="6362">
                  <c:v>2.228373666637392E-2</c:v>
                </c:pt>
                <c:pt idx="6363">
                  <c:v>1.7673385974566296E-2</c:v>
                </c:pt>
                <c:pt idx="6364">
                  <c:v>1.633938836864185E-2</c:v>
                </c:pt>
                <c:pt idx="6365">
                  <c:v>1.7167772140685586E-2</c:v>
                </c:pt>
                <c:pt idx="6366">
                  <c:v>1.7242856659346592E-2</c:v>
                </c:pt>
                <c:pt idx="6367">
                  <c:v>1.7275355697735237E-2</c:v>
                </c:pt>
                <c:pt idx="6368">
                  <c:v>1.7526587146895152E-2</c:v>
                </c:pt>
                <c:pt idx="6369">
                  <c:v>1.7659397406612189E-2</c:v>
                </c:pt>
                <c:pt idx="6370">
                  <c:v>1.7828990476845691E-2</c:v>
                </c:pt>
                <c:pt idx="6371">
                  <c:v>1.8033179583177517E-2</c:v>
                </c:pt>
                <c:pt idx="6372">
                  <c:v>1.7835183303653128E-2</c:v>
                </c:pt>
                <c:pt idx="6373">
                  <c:v>1.7926865836411038E-2</c:v>
                </c:pt>
                <c:pt idx="6374">
                  <c:v>1.8013124886440496E-2</c:v>
                </c:pt>
                <c:pt idx="6375">
                  <c:v>1.8012586093002783E-2</c:v>
                </c:pt>
                <c:pt idx="6376">
                  <c:v>1.4780366581082784E-2</c:v>
                </c:pt>
                <c:pt idx="6377">
                  <c:v>1.4798302858263513E-2</c:v>
                </c:pt>
                <c:pt idx="6378">
                  <c:v>1.4629930019829316E-2</c:v>
                </c:pt>
                <c:pt idx="6379">
                  <c:v>1.659148070404428E-2</c:v>
                </c:pt>
                <c:pt idx="6380">
                  <c:v>1.6932094743147975E-2</c:v>
                </c:pt>
                <c:pt idx="6381">
                  <c:v>1.7919254508541198E-2</c:v>
                </c:pt>
                <c:pt idx="6382">
                  <c:v>2.0225921316564047E-2</c:v>
                </c:pt>
                <c:pt idx="6383">
                  <c:v>1.9913927248414759E-2</c:v>
                </c:pt>
                <c:pt idx="6384">
                  <c:v>1.9850984734884815E-2</c:v>
                </c:pt>
                <c:pt idx="6385">
                  <c:v>1.4375197948151624E-2</c:v>
                </c:pt>
                <c:pt idx="6386">
                  <c:v>1.4038831139575532E-2</c:v>
                </c:pt>
                <c:pt idx="6387">
                  <c:v>1.4176875061274649E-2</c:v>
                </c:pt>
                <c:pt idx="6388">
                  <c:v>1.4127567907996087E-2</c:v>
                </c:pt>
                <c:pt idx="6389">
                  <c:v>1.3958797407427384E-2</c:v>
                </c:pt>
                <c:pt idx="6390">
                  <c:v>1.4367766304377637E-2</c:v>
                </c:pt>
                <c:pt idx="6391">
                  <c:v>1.439852389613794E-2</c:v>
                </c:pt>
                <c:pt idx="6392">
                  <c:v>1.4385113512419176E-2</c:v>
                </c:pt>
                <c:pt idx="6393">
                  <c:v>1.4064353260865652E-2</c:v>
                </c:pt>
                <c:pt idx="6394">
                  <c:v>1.4000262962792389E-2</c:v>
                </c:pt>
                <c:pt idx="6395">
                  <c:v>1.3573833955425328E-2</c:v>
                </c:pt>
                <c:pt idx="6396">
                  <c:v>1.3546637277128961E-2</c:v>
                </c:pt>
                <c:pt idx="6397">
                  <c:v>1.3525608944115789E-2</c:v>
                </c:pt>
                <c:pt idx="6398">
                  <c:v>1.3504119005917749E-2</c:v>
                </c:pt>
                <c:pt idx="6399">
                  <c:v>1.3450869342379075E-2</c:v>
                </c:pt>
                <c:pt idx="6400">
                  <c:v>1.3335299296643078E-2</c:v>
                </c:pt>
                <c:pt idx="6401">
                  <c:v>1.3127844555808973E-2</c:v>
                </c:pt>
                <c:pt idx="6402">
                  <c:v>1.2575554744411183E-2</c:v>
                </c:pt>
                <c:pt idx="6403">
                  <c:v>1.2447815654936295E-2</c:v>
                </c:pt>
                <c:pt idx="6404">
                  <c:v>1.231598587520334E-2</c:v>
                </c:pt>
                <c:pt idx="6405">
                  <c:v>1.231931816939835E-2</c:v>
                </c:pt>
                <c:pt idx="6406">
                  <c:v>1.2376613284889303E-2</c:v>
                </c:pt>
                <c:pt idx="6407">
                  <c:v>1.2383024493274183E-2</c:v>
                </c:pt>
                <c:pt idx="6408">
                  <c:v>1.2357058791957762E-2</c:v>
                </c:pt>
                <c:pt idx="6409">
                  <c:v>9.2097411174934928E-3</c:v>
                </c:pt>
                <c:pt idx="6410">
                  <c:v>8.8982208162204351E-3</c:v>
                </c:pt>
                <c:pt idx="6411">
                  <c:v>4.9082970294419635E-3</c:v>
                </c:pt>
                <c:pt idx="6412">
                  <c:v>-2.7711479992310831E-3</c:v>
                </c:pt>
                <c:pt idx="6413">
                  <c:v>-5.3460096540739899E-3</c:v>
                </c:pt>
                <c:pt idx="6414">
                  <c:v>-5.912072715524061E-3</c:v>
                </c:pt>
                <c:pt idx="6415">
                  <c:v>-6.0402399065618796E-3</c:v>
                </c:pt>
                <c:pt idx="6416">
                  <c:v>-6.6743318638825917E-3</c:v>
                </c:pt>
                <c:pt idx="6417">
                  <c:v>-6.7743501912270179E-3</c:v>
                </c:pt>
                <c:pt idx="6418">
                  <c:v>-6.871717620836184E-3</c:v>
                </c:pt>
                <c:pt idx="6419">
                  <c:v>-6.8953647468702004E-3</c:v>
                </c:pt>
                <c:pt idx="6420">
                  <c:v>-7.9824553167696898E-3</c:v>
                </c:pt>
                <c:pt idx="6421">
                  <c:v>-8.0178447313216748E-3</c:v>
                </c:pt>
                <c:pt idx="6422">
                  <c:v>-8.3391793840464825E-3</c:v>
                </c:pt>
                <c:pt idx="6423">
                  <c:v>-8.4073704880273607E-3</c:v>
                </c:pt>
                <c:pt idx="6424">
                  <c:v>-8.4747451049446542E-3</c:v>
                </c:pt>
                <c:pt idx="6425">
                  <c:v>-8.4864953764167278E-3</c:v>
                </c:pt>
                <c:pt idx="6426">
                  <c:v>-8.483563952053054E-3</c:v>
                </c:pt>
                <c:pt idx="6427">
                  <c:v>-8.4915388000280367E-3</c:v>
                </c:pt>
                <c:pt idx="6428">
                  <c:v>-8.3360222328034243E-3</c:v>
                </c:pt>
                <c:pt idx="6429">
                  <c:v>-7.6473192443640321E-3</c:v>
                </c:pt>
                <c:pt idx="6430">
                  <c:v>-7.3846249438928382E-3</c:v>
                </c:pt>
                <c:pt idx="6431">
                  <c:v>-7.327267749079055E-3</c:v>
                </c:pt>
                <c:pt idx="6432">
                  <c:v>-7.3254088834716511E-3</c:v>
                </c:pt>
                <c:pt idx="6433">
                  <c:v>-4.6144208005580514E-3</c:v>
                </c:pt>
                <c:pt idx="6434">
                  <c:v>-4.0843392769945915E-3</c:v>
                </c:pt>
                <c:pt idx="6435">
                  <c:v>-4.0823553204051913E-3</c:v>
                </c:pt>
                <c:pt idx="6436">
                  <c:v>-4.0829762414382204E-3</c:v>
                </c:pt>
                <c:pt idx="6437">
                  <c:v>-4.0499117622366642E-3</c:v>
                </c:pt>
                <c:pt idx="6438">
                  <c:v>-4.0049999004628349E-3</c:v>
                </c:pt>
                <c:pt idx="6439">
                  <c:v>1.8880596113576675E-2</c:v>
                </c:pt>
                <c:pt idx="6440">
                  <c:v>3.6636721795145218E-2</c:v>
                </c:pt>
                <c:pt idx="6441">
                  <c:v>4.3964156826128788E-2</c:v>
                </c:pt>
                <c:pt idx="6442">
                  <c:v>4.5858764213904391E-2</c:v>
                </c:pt>
                <c:pt idx="6443">
                  <c:v>4.8685015562458904E-2</c:v>
                </c:pt>
                <c:pt idx="6444">
                  <c:v>5.0321339971509685E-2</c:v>
                </c:pt>
                <c:pt idx="6445">
                  <c:v>5.2390728826665872E-2</c:v>
                </c:pt>
                <c:pt idx="6446">
                  <c:v>5.2710133083240879E-2</c:v>
                </c:pt>
                <c:pt idx="6447">
                  <c:v>5.4152510427797895E-2</c:v>
                </c:pt>
                <c:pt idx="6448">
                  <c:v>5.3817310268667193E-2</c:v>
                </c:pt>
                <c:pt idx="6449">
                  <c:v>5.3840753564403668E-2</c:v>
                </c:pt>
                <c:pt idx="6450">
                  <c:v>5.4145367556450635E-2</c:v>
                </c:pt>
                <c:pt idx="6451">
                  <c:v>5.4278889663077992E-2</c:v>
                </c:pt>
                <c:pt idx="6452">
                  <c:v>5.4423657081796237E-2</c:v>
                </c:pt>
                <c:pt idx="6453">
                  <c:v>5.4631647605260569E-2</c:v>
                </c:pt>
                <c:pt idx="6454">
                  <c:v>5.4775354516454475E-2</c:v>
                </c:pt>
                <c:pt idx="6455">
                  <c:v>5.4826324684556477E-2</c:v>
                </c:pt>
                <c:pt idx="6456">
                  <c:v>5.4835421309177249E-2</c:v>
                </c:pt>
                <c:pt idx="6457">
                  <c:v>5.4816500423176637E-2</c:v>
                </c:pt>
                <c:pt idx="6458">
                  <c:v>5.4661153301744578E-2</c:v>
                </c:pt>
                <c:pt idx="6459">
                  <c:v>5.4177357966444767E-2</c:v>
                </c:pt>
                <c:pt idx="6460">
                  <c:v>5.3673302479478727E-2</c:v>
                </c:pt>
                <c:pt idx="6461">
                  <c:v>5.3311548976168577E-2</c:v>
                </c:pt>
                <c:pt idx="6462">
                  <c:v>5.3098360189699489E-2</c:v>
                </c:pt>
                <c:pt idx="6463">
                  <c:v>5.3393102415728699E-2</c:v>
                </c:pt>
                <c:pt idx="6464">
                  <c:v>5.295678564991757E-2</c:v>
                </c:pt>
                <c:pt idx="6465">
                  <c:v>5.2877071486485711E-2</c:v>
                </c:pt>
                <c:pt idx="6466">
                  <c:v>5.2835519353882726E-2</c:v>
                </c:pt>
                <c:pt idx="6467">
                  <c:v>5.3192335394209742E-2</c:v>
                </c:pt>
                <c:pt idx="6468">
                  <c:v>5.3543754723204148E-2</c:v>
                </c:pt>
                <c:pt idx="6469">
                  <c:v>5.0024972220758419E-2</c:v>
                </c:pt>
                <c:pt idx="6470">
                  <c:v>4.704249507999908E-2</c:v>
                </c:pt>
                <c:pt idx="6471">
                  <c:v>5.8400972160187609E-2</c:v>
                </c:pt>
                <c:pt idx="6472">
                  <c:v>8.1520896745314847E-2</c:v>
                </c:pt>
                <c:pt idx="6473">
                  <c:v>9.1853032373479512E-2</c:v>
                </c:pt>
                <c:pt idx="6474">
                  <c:v>9.4808913047520357E-2</c:v>
                </c:pt>
                <c:pt idx="6475">
                  <c:v>9.48449308166147E-2</c:v>
                </c:pt>
                <c:pt idx="6476">
                  <c:v>9.4007450675241702E-2</c:v>
                </c:pt>
                <c:pt idx="6477">
                  <c:v>9.3576639281973198E-2</c:v>
                </c:pt>
                <c:pt idx="6478">
                  <c:v>9.3797960761289267E-2</c:v>
                </c:pt>
                <c:pt idx="6479">
                  <c:v>9.37083934897113E-2</c:v>
                </c:pt>
                <c:pt idx="6480">
                  <c:v>9.3356415879196783E-2</c:v>
                </c:pt>
                <c:pt idx="6481">
                  <c:v>9.2744466438840142E-2</c:v>
                </c:pt>
                <c:pt idx="6482">
                  <c:v>9.2937234592706391E-2</c:v>
                </c:pt>
                <c:pt idx="6483">
                  <c:v>9.239636199083523E-2</c:v>
                </c:pt>
                <c:pt idx="6484">
                  <c:v>9.2005349544543188E-2</c:v>
                </c:pt>
                <c:pt idx="6485">
                  <c:v>9.1470747523380164E-2</c:v>
                </c:pt>
                <c:pt idx="6486">
                  <c:v>9.0667970605098819E-2</c:v>
                </c:pt>
                <c:pt idx="6487">
                  <c:v>9.0591903540181262E-2</c:v>
                </c:pt>
                <c:pt idx="6488">
                  <c:v>9.0153688690663161E-2</c:v>
                </c:pt>
                <c:pt idx="6489">
                  <c:v>9.0501071839482972E-2</c:v>
                </c:pt>
                <c:pt idx="6490">
                  <c:v>9.0450122496129159E-2</c:v>
                </c:pt>
                <c:pt idx="6491">
                  <c:v>9.1263993852667633E-2</c:v>
                </c:pt>
                <c:pt idx="6492">
                  <c:v>9.1130916036455081E-2</c:v>
                </c:pt>
                <c:pt idx="6493">
                  <c:v>9.0690424606999873E-2</c:v>
                </c:pt>
                <c:pt idx="6494">
                  <c:v>8.991145830080205E-2</c:v>
                </c:pt>
                <c:pt idx="6495">
                  <c:v>9.0248167684414821E-2</c:v>
                </c:pt>
                <c:pt idx="6496">
                  <c:v>8.9583335991295268E-2</c:v>
                </c:pt>
                <c:pt idx="6497">
                  <c:v>8.8362030795705621E-2</c:v>
                </c:pt>
                <c:pt idx="6498">
                  <c:v>9.1406780326790449E-2</c:v>
                </c:pt>
                <c:pt idx="6499">
                  <c:v>9.2455464137404367E-2</c:v>
                </c:pt>
                <c:pt idx="6500">
                  <c:v>9.0880875513805928E-2</c:v>
                </c:pt>
                <c:pt idx="6501">
                  <c:v>8.4454499392512164E-2</c:v>
                </c:pt>
                <c:pt idx="6502">
                  <c:v>6.7234266417532537E-2</c:v>
                </c:pt>
                <c:pt idx="6503">
                  <c:v>5.3233872378466052E-2</c:v>
                </c:pt>
                <c:pt idx="6504">
                  <c:v>4.7149175952216002E-2</c:v>
                </c:pt>
                <c:pt idx="6505">
                  <c:v>4.53567889800379E-2</c:v>
                </c:pt>
                <c:pt idx="6506">
                  <c:v>4.5288120772813592E-2</c:v>
                </c:pt>
                <c:pt idx="6507">
                  <c:v>4.5825115187566247E-2</c:v>
                </c:pt>
                <c:pt idx="6508">
                  <c:v>4.64852162568032E-2</c:v>
                </c:pt>
                <c:pt idx="6509">
                  <c:v>4.694648803001026E-2</c:v>
                </c:pt>
                <c:pt idx="6510">
                  <c:v>4.7871986789819125E-2</c:v>
                </c:pt>
                <c:pt idx="6511">
                  <c:v>4.884466802378637E-2</c:v>
                </c:pt>
                <c:pt idx="6512">
                  <c:v>4.8720152660739251E-2</c:v>
                </c:pt>
                <c:pt idx="6513">
                  <c:v>4.9644848100675494E-2</c:v>
                </c:pt>
                <c:pt idx="6514">
                  <c:v>4.8620903546522855E-2</c:v>
                </c:pt>
                <c:pt idx="6515">
                  <c:v>4.7622072306203175E-2</c:v>
                </c:pt>
                <c:pt idx="6516">
                  <c:v>4.751527164956805E-2</c:v>
                </c:pt>
                <c:pt idx="6517">
                  <c:v>4.763397825716726E-2</c:v>
                </c:pt>
                <c:pt idx="6518">
                  <c:v>4.7904167169320659E-2</c:v>
                </c:pt>
                <c:pt idx="6519">
                  <c:v>4.7889689009302829E-2</c:v>
                </c:pt>
                <c:pt idx="6520">
                  <c:v>4.8206438840280079E-2</c:v>
                </c:pt>
                <c:pt idx="6521">
                  <c:v>4.8043697412131499E-2</c:v>
                </c:pt>
                <c:pt idx="6522">
                  <c:v>4.8234622888824005E-2</c:v>
                </c:pt>
                <c:pt idx="6523">
                  <c:v>4.8589798235305084E-2</c:v>
                </c:pt>
                <c:pt idx="6524">
                  <c:v>4.9016411336347425E-2</c:v>
                </c:pt>
                <c:pt idx="6525">
                  <c:v>4.8994977936451731E-2</c:v>
                </c:pt>
                <c:pt idx="6526">
                  <c:v>4.926493099042694E-2</c:v>
                </c:pt>
                <c:pt idx="6527">
                  <c:v>4.8179645436164695E-2</c:v>
                </c:pt>
                <c:pt idx="6528">
                  <c:v>3.0746570215148351E-2</c:v>
                </c:pt>
                <c:pt idx="6529">
                  <c:v>1.826799893232494E-2</c:v>
                </c:pt>
                <c:pt idx="6530">
                  <c:v>6.3875340667365558E-3</c:v>
                </c:pt>
                <c:pt idx="6531">
                  <c:v>5.2013904207889126E-3</c:v>
                </c:pt>
                <c:pt idx="6532">
                  <c:v>4.8777507602131929E-3</c:v>
                </c:pt>
                <c:pt idx="6533">
                  <c:v>4.6063975163546118E-3</c:v>
                </c:pt>
                <c:pt idx="6534">
                  <c:v>2.5581014792106591E-3</c:v>
                </c:pt>
                <c:pt idx="6535">
                  <c:v>-5.8549440913157474E-4</c:v>
                </c:pt>
                <c:pt idx="6536">
                  <c:v>-3.6132631814414489E-3</c:v>
                </c:pt>
                <c:pt idx="6537">
                  <c:v>-3.6355428934809007E-3</c:v>
                </c:pt>
                <c:pt idx="6538">
                  <c:v>-4.1337960182920887E-3</c:v>
                </c:pt>
                <c:pt idx="6539">
                  <c:v>-4.734338362081203E-3</c:v>
                </c:pt>
                <c:pt idx="6540">
                  <c:v>-4.6958054221885341E-3</c:v>
                </c:pt>
                <c:pt idx="6541">
                  <c:v>-4.7085576495756913E-3</c:v>
                </c:pt>
                <c:pt idx="6542">
                  <c:v>-4.5992266491507415E-3</c:v>
                </c:pt>
                <c:pt idx="6543">
                  <c:v>-4.6679513463241864E-3</c:v>
                </c:pt>
                <c:pt idx="6544">
                  <c:v>-4.5981274195691256E-3</c:v>
                </c:pt>
                <c:pt idx="6545">
                  <c:v>-4.6276096780819547E-3</c:v>
                </c:pt>
                <c:pt idx="6546">
                  <c:v>-4.5627873203391168E-3</c:v>
                </c:pt>
                <c:pt idx="6547">
                  <c:v>-4.5686785588195875E-3</c:v>
                </c:pt>
                <c:pt idx="6548">
                  <c:v>-4.5141843189332185E-3</c:v>
                </c:pt>
                <c:pt idx="6549">
                  <c:v>-4.3885424288656709E-3</c:v>
                </c:pt>
                <c:pt idx="6550">
                  <c:v>-3.7080178981211132E-3</c:v>
                </c:pt>
                <c:pt idx="6551">
                  <c:v>-2.6047901318228955E-3</c:v>
                </c:pt>
                <c:pt idx="6552">
                  <c:v>-1.7578234953481292E-3</c:v>
                </c:pt>
                <c:pt idx="6553">
                  <c:v>-1.0700047799488115E-3</c:v>
                </c:pt>
                <c:pt idx="6554">
                  <c:v>-1.1842668264916579E-3</c:v>
                </c:pt>
                <c:pt idx="6555">
                  <c:v>-1.3468143720731605E-3</c:v>
                </c:pt>
                <c:pt idx="6556">
                  <c:v>-1.049787935879622E-3</c:v>
                </c:pt>
                <c:pt idx="6557">
                  <c:v>-7.9471695299942156E-4</c:v>
                </c:pt>
                <c:pt idx="6558">
                  <c:v>-1.2387659723436441E-3</c:v>
                </c:pt>
                <c:pt idx="6559">
                  <c:v>-1.1479458918930117E-3</c:v>
                </c:pt>
                <c:pt idx="6560">
                  <c:v>-1.1636264719291547E-3</c:v>
                </c:pt>
                <c:pt idx="6561">
                  <c:v>-1.4403892803664005E-3</c:v>
                </c:pt>
                <c:pt idx="6562">
                  <c:v>-1.4004567262944339E-3</c:v>
                </c:pt>
                <c:pt idx="6563">
                  <c:v>-1.3981130508327905E-3</c:v>
                </c:pt>
                <c:pt idx="6564">
                  <c:v>-1.3895201211777675E-3</c:v>
                </c:pt>
                <c:pt idx="6565">
                  <c:v>-1.4010032936308797E-3</c:v>
                </c:pt>
                <c:pt idx="6566">
                  <c:v>-1.3993886160312032E-3</c:v>
                </c:pt>
                <c:pt idx="6567">
                  <c:v>-1.3828957076220307E-3</c:v>
                </c:pt>
                <c:pt idx="6568">
                  <c:v>-1.1215949653437148E-3</c:v>
                </c:pt>
                <c:pt idx="6569">
                  <c:v>-9.992751166115147E-4</c:v>
                </c:pt>
                <c:pt idx="6570">
                  <c:v>1.4592411157959005E-2</c:v>
                </c:pt>
                <c:pt idx="6571">
                  <c:v>1.9763439896728657E-2</c:v>
                </c:pt>
                <c:pt idx="6572">
                  <c:v>1.9791489738611875E-2</c:v>
                </c:pt>
                <c:pt idx="6573">
                  <c:v>1.9929730162087711E-2</c:v>
                </c:pt>
                <c:pt idx="6574">
                  <c:v>1.9999242251310313E-2</c:v>
                </c:pt>
                <c:pt idx="6575">
                  <c:v>2.0024340254110845E-2</c:v>
                </c:pt>
                <c:pt idx="6576">
                  <c:v>2.0279184625655707E-2</c:v>
                </c:pt>
                <c:pt idx="6577">
                  <c:v>2.0313901059151943E-2</c:v>
                </c:pt>
                <c:pt idx="6578">
                  <c:v>2.0364967379132209E-2</c:v>
                </c:pt>
                <c:pt idx="6579">
                  <c:v>2.0610435358595088E-2</c:v>
                </c:pt>
                <c:pt idx="6580">
                  <c:v>2.0612112125923947E-2</c:v>
                </c:pt>
                <c:pt idx="6581">
                  <c:v>2.058542371193841E-2</c:v>
                </c:pt>
                <c:pt idx="6582">
                  <c:v>2.445847311667184E-2</c:v>
                </c:pt>
                <c:pt idx="6583">
                  <c:v>2.4528268006004932E-2</c:v>
                </c:pt>
                <c:pt idx="6584">
                  <c:v>2.4740477243958704E-2</c:v>
                </c:pt>
                <c:pt idx="6585">
                  <c:v>2.475554189979419E-2</c:v>
                </c:pt>
                <c:pt idx="6586">
                  <c:v>2.4549115048544866E-2</c:v>
                </c:pt>
                <c:pt idx="6587">
                  <c:v>2.4518729985710058E-2</c:v>
                </c:pt>
                <c:pt idx="6588">
                  <c:v>2.4613522086618662E-2</c:v>
                </c:pt>
                <c:pt idx="6589">
                  <c:v>2.4542450236857062E-2</c:v>
                </c:pt>
                <c:pt idx="6590">
                  <c:v>2.4445376786640258E-2</c:v>
                </c:pt>
                <c:pt idx="6591">
                  <c:v>2.4423862425418941E-2</c:v>
                </c:pt>
                <c:pt idx="6592">
                  <c:v>2.4428528428565036E-2</c:v>
                </c:pt>
                <c:pt idx="6593">
                  <c:v>2.4242311273095514E-2</c:v>
                </c:pt>
                <c:pt idx="6594">
                  <c:v>2.4188423525590495E-2</c:v>
                </c:pt>
                <c:pt idx="6595">
                  <c:v>2.4196941899914094E-2</c:v>
                </c:pt>
                <c:pt idx="6596">
                  <c:v>2.4189755461504342E-2</c:v>
                </c:pt>
                <c:pt idx="6597">
                  <c:v>2.3980292595052972E-2</c:v>
                </c:pt>
                <c:pt idx="6598">
                  <c:v>2.3733766823130852E-2</c:v>
                </c:pt>
                <c:pt idx="6599">
                  <c:v>2.3863096072078344E-2</c:v>
                </c:pt>
                <c:pt idx="6600">
                  <c:v>1.5920276595911657E-2</c:v>
                </c:pt>
                <c:pt idx="6601">
                  <c:v>9.5956887011829761E-3</c:v>
                </c:pt>
                <c:pt idx="6602">
                  <c:v>9.5150847294584815E-3</c:v>
                </c:pt>
                <c:pt idx="6603">
                  <c:v>9.5413334800877585E-3</c:v>
                </c:pt>
                <c:pt idx="6604">
                  <c:v>9.5749337354342472E-3</c:v>
                </c:pt>
                <c:pt idx="6605">
                  <c:v>9.5091366666163486E-3</c:v>
                </c:pt>
                <c:pt idx="6606">
                  <c:v>9.2564048255020879E-3</c:v>
                </c:pt>
                <c:pt idx="6607">
                  <c:v>9.2032156843226461E-3</c:v>
                </c:pt>
                <c:pt idx="6608">
                  <c:v>9.1939752319898458E-3</c:v>
                </c:pt>
                <c:pt idx="6609">
                  <c:v>8.7102162400660033E-3</c:v>
                </c:pt>
                <c:pt idx="6610">
                  <c:v>8.6996335260842318E-3</c:v>
                </c:pt>
                <c:pt idx="6611">
                  <c:v>8.7236642192656273E-3</c:v>
                </c:pt>
                <c:pt idx="6612">
                  <c:v>-2.5046406617387218E-3</c:v>
                </c:pt>
                <c:pt idx="6613">
                  <c:v>-2.5561183405554549E-3</c:v>
                </c:pt>
                <c:pt idx="6614">
                  <c:v>-2.8906860579541362E-3</c:v>
                </c:pt>
                <c:pt idx="6615">
                  <c:v>-3.6995268970428409E-3</c:v>
                </c:pt>
                <c:pt idx="6616">
                  <c:v>-3.8724799560800015E-3</c:v>
                </c:pt>
                <c:pt idx="6617">
                  <c:v>-3.6812158115384595E-3</c:v>
                </c:pt>
                <c:pt idx="6618">
                  <c:v>-4.0304550260441153E-3</c:v>
                </c:pt>
                <c:pt idx="6619">
                  <c:v>-3.8329923428455023E-3</c:v>
                </c:pt>
                <c:pt idx="6620">
                  <c:v>-8.9820156783753866E-4</c:v>
                </c:pt>
                <c:pt idx="6621">
                  <c:v>-6.5809879094642573E-4</c:v>
                </c:pt>
                <c:pt idx="6622">
                  <c:v>5.5509884810936733E-3</c:v>
                </c:pt>
                <c:pt idx="6623">
                  <c:v>2.2714870207724218E-2</c:v>
                </c:pt>
                <c:pt idx="6624">
                  <c:v>3.3104792293702501E-2</c:v>
                </c:pt>
                <c:pt idx="6625">
                  <c:v>3.9110662350792171E-2</c:v>
                </c:pt>
                <c:pt idx="6626">
                  <c:v>4.4057560104853719E-2</c:v>
                </c:pt>
                <c:pt idx="6627">
                  <c:v>4.4519388465731509E-2</c:v>
                </c:pt>
                <c:pt idx="6628">
                  <c:v>4.4545682087750144E-2</c:v>
                </c:pt>
                <c:pt idx="6629">
                  <c:v>4.4223675437730918E-2</c:v>
                </c:pt>
                <c:pt idx="6630">
                  <c:v>4.4552810372983843E-2</c:v>
                </c:pt>
                <c:pt idx="6631">
                  <c:v>4.4772400031310576E-2</c:v>
                </c:pt>
                <c:pt idx="6632">
                  <c:v>4.4672597939493401E-2</c:v>
                </c:pt>
                <c:pt idx="6633">
                  <c:v>4.4347364458359434E-2</c:v>
                </c:pt>
                <c:pt idx="6634">
                  <c:v>4.4408989814586457E-2</c:v>
                </c:pt>
                <c:pt idx="6635">
                  <c:v>4.4663640089256329E-2</c:v>
                </c:pt>
                <c:pt idx="6636">
                  <c:v>4.4930627728022102E-2</c:v>
                </c:pt>
                <c:pt idx="6637">
                  <c:v>4.5293649914504311E-2</c:v>
                </c:pt>
                <c:pt idx="6638">
                  <c:v>4.5565627893542765E-2</c:v>
                </c:pt>
                <c:pt idx="6639">
                  <c:v>4.5653198229141115E-2</c:v>
                </c:pt>
                <c:pt idx="6640">
                  <c:v>4.5914049465612082E-2</c:v>
                </c:pt>
                <c:pt idx="6641">
                  <c:v>4.5648739429799572E-2</c:v>
                </c:pt>
                <c:pt idx="6642">
                  <c:v>4.5418664883389769E-2</c:v>
                </c:pt>
                <c:pt idx="6643">
                  <c:v>4.5206515732741301E-2</c:v>
                </c:pt>
                <c:pt idx="6644">
                  <c:v>4.4941334489444137E-2</c:v>
                </c:pt>
                <c:pt idx="6645">
                  <c:v>4.4713802931747357E-2</c:v>
                </c:pt>
                <c:pt idx="6646">
                  <c:v>4.4578439085390345E-2</c:v>
                </c:pt>
                <c:pt idx="6647">
                  <c:v>4.4287027428924451E-2</c:v>
                </c:pt>
                <c:pt idx="6648">
                  <c:v>4.4347392736091083E-2</c:v>
                </c:pt>
                <c:pt idx="6649">
                  <c:v>4.4041644950308156E-2</c:v>
                </c:pt>
                <c:pt idx="6650">
                  <c:v>4.4273876566129508E-2</c:v>
                </c:pt>
                <c:pt idx="6651">
                  <c:v>4.4254458203972211E-2</c:v>
                </c:pt>
                <c:pt idx="6652">
                  <c:v>4.3635909931895304E-2</c:v>
                </c:pt>
                <c:pt idx="6653">
                  <c:v>3.7970295987215755E-2</c:v>
                </c:pt>
                <c:pt idx="6654">
                  <c:v>3.076878732963647E-2</c:v>
                </c:pt>
                <c:pt idx="6655">
                  <c:v>2.3552385427773714E-2</c:v>
                </c:pt>
                <c:pt idx="6656">
                  <c:v>1.6464199655637987E-2</c:v>
                </c:pt>
                <c:pt idx="6657">
                  <c:v>3.3623019182646076E-2</c:v>
                </c:pt>
                <c:pt idx="6658">
                  <c:v>4.1374276921786593E-2</c:v>
                </c:pt>
                <c:pt idx="6659">
                  <c:v>4.3916170853313667E-2</c:v>
                </c:pt>
                <c:pt idx="6660">
                  <c:v>4.4090841945762377E-2</c:v>
                </c:pt>
                <c:pt idx="6661">
                  <c:v>4.3725950706894348E-2</c:v>
                </c:pt>
                <c:pt idx="6662">
                  <c:v>4.3619254282912787E-2</c:v>
                </c:pt>
                <c:pt idx="6663">
                  <c:v>4.3646819483358912E-2</c:v>
                </c:pt>
                <c:pt idx="6664">
                  <c:v>4.3646621603900294E-2</c:v>
                </c:pt>
                <c:pt idx="6665">
                  <c:v>4.3320297385010864E-2</c:v>
                </c:pt>
                <c:pt idx="6666">
                  <c:v>4.3057312205406532E-2</c:v>
                </c:pt>
                <c:pt idx="6667">
                  <c:v>4.2670321772268115E-2</c:v>
                </c:pt>
                <c:pt idx="6668">
                  <c:v>4.2331216317982527E-2</c:v>
                </c:pt>
                <c:pt idx="6669">
                  <c:v>4.2223922649534978E-2</c:v>
                </c:pt>
                <c:pt idx="6670">
                  <c:v>4.1922345358170847E-2</c:v>
                </c:pt>
                <c:pt idx="6671">
                  <c:v>4.2326070432641159E-2</c:v>
                </c:pt>
                <c:pt idx="6672">
                  <c:v>4.2841783939410065E-2</c:v>
                </c:pt>
                <c:pt idx="6673">
                  <c:v>4.3265566741290659E-2</c:v>
                </c:pt>
                <c:pt idx="6674">
                  <c:v>4.33206564253618E-2</c:v>
                </c:pt>
                <c:pt idx="6675">
                  <c:v>4.3334114134334127E-2</c:v>
                </c:pt>
                <c:pt idx="6676">
                  <c:v>4.4853257439832525E-2</c:v>
                </c:pt>
                <c:pt idx="6677">
                  <c:v>4.6072035367815234E-2</c:v>
                </c:pt>
                <c:pt idx="6678">
                  <c:v>4.6253865334801733E-2</c:v>
                </c:pt>
                <c:pt idx="6679">
                  <c:v>4.5825006997487171E-2</c:v>
                </c:pt>
                <c:pt idx="6680">
                  <c:v>4.5586486152093368E-2</c:v>
                </c:pt>
                <c:pt idx="6681">
                  <c:v>4.4820005895035334E-2</c:v>
                </c:pt>
                <c:pt idx="6682">
                  <c:v>4.4626219004783758E-2</c:v>
                </c:pt>
                <c:pt idx="6683">
                  <c:v>4.4527650518088151E-2</c:v>
                </c:pt>
                <c:pt idx="6684">
                  <c:v>4.4426371018716784E-2</c:v>
                </c:pt>
                <c:pt idx="6685">
                  <c:v>4.4779706449744029E-2</c:v>
                </c:pt>
                <c:pt idx="6686">
                  <c:v>4.512621651023873E-2</c:v>
                </c:pt>
                <c:pt idx="6687">
                  <c:v>3.5932206944082501E-2</c:v>
                </c:pt>
                <c:pt idx="6688">
                  <c:v>2.9183919136262386E-2</c:v>
                </c:pt>
                <c:pt idx="6689">
                  <c:v>2.5895709274138465E-2</c:v>
                </c:pt>
                <c:pt idx="6690">
                  <c:v>2.5487162879909667E-2</c:v>
                </c:pt>
                <c:pt idx="6691">
                  <c:v>2.5759814889678677E-2</c:v>
                </c:pt>
                <c:pt idx="6692">
                  <c:v>2.6360467291048108E-2</c:v>
                </c:pt>
                <c:pt idx="6693">
                  <c:v>2.6703819332196697E-2</c:v>
                </c:pt>
                <c:pt idx="6694">
                  <c:v>2.6795021889311203E-2</c:v>
                </c:pt>
                <c:pt idx="6695">
                  <c:v>2.6744491565092378E-2</c:v>
                </c:pt>
                <c:pt idx="6696">
                  <c:v>2.6626616169492211E-2</c:v>
                </c:pt>
                <c:pt idx="6697">
                  <c:v>2.8872951254326838E-2</c:v>
                </c:pt>
                <c:pt idx="6698">
                  <c:v>4.3142878828748087E-2</c:v>
                </c:pt>
                <c:pt idx="6699">
                  <c:v>5.3488127710063144E-2</c:v>
                </c:pt>
                <c:pt idx="6700">
                  <c:v>5.8558978187921759E-2</c:v>
                </c:pt>
                <c:pt idx="6701">
                  <c:v>5.9469107505398883E-2</c:v>
                </c:pt>
                <c:pt idx="6702">
                  <c:v>5.8767560315449219E-2</c:v>
                </c:pt>
                <c:pt idx="6703">
                  <c:v>5.7682939264699973E-2</c:v>
                </c:pt>
                <c:pt idx="6704">
                  <c:v>5.7116161359488993E-2</c:v>
                </c:pt>
                <c:pt idx="6705">
                  <c:v>5.7126540737116704E-2</c:v>
                </c:pt>
                <c:pt idx="6706">
                  <c:v>5.7108720535834184E-2</c:v>
                </c:pt>
                <c:pt idx="6707">
                  <c:v>5.6423305765093815E-2</c:v>
                </c:pt>
                <c:pt idx="6708">
                  <c:v>5.6436549341309872E-2</c:v>
                </c:pt>
                <c:pt idx="6709">
                  <c:v>5.6557848321863696E-2</c:v>
                </c:pt>
                <c:pt idx="6710">
                  <c:v>5.6825267691600415E-2</c:v>
                </c:pt>
                <c:pt idx="6711">
                  <c:v>5.7592115140753131E-2</c:v>
                </c:pt>
                <c:pt idx="6712">
                  <c:v>5.7918137420136739E-2</c:v>
                </c:pt>
                <c:pt idx="6713">
                  <c:v>5.8212304124016262E-2</c:v>
                </c:pt>
                <c:pt idx="6714">
                  <c:v>5.8944917297645033E-2</c:v>
                </c:pt>
                <c:pt idx="6715">
                  <c:v>6.0884345470519435E-2</c:v>
                </c:pt>
                <c:pt idx="6716">
                  <c:v>6.9845383630331534E-2</c:v>
                </c:pt>
                <c:pt idx="6717">
                  <c:v>7.5138559506448516E-2</c:v>
                </c:pt>
                <c:pt idx="6718">
                  <c:v>7.5926609191537889E-2</c:v>
                </c:pt>
                <c:pt idx="6719">
                  <c:v>7.56865972307319E-2</c:v>
                </c:pt>
                <c:pt idx="6720">
                  <c:v>7.4690892903941708E-2</c:v>
                </c:pt>
                <c:pt idx="6721">
                  <c:v>7.4264868393219011E-2</c:v>
                </c:pt>
                <c:pt idx="6722">
                  <c:v>7.3714568542469661E-2</c:v>
                </c:pt>
                <c:pt idx="6723">
                  <c:v>7.3184650758686132E-2</c:v>
                </c:pt>
                <c:pt idx="6724">
                  <c:v>7.2682516872979941E-2</c:v>
                </c:pt>
                <c:pt idx="6725">
                  <c:v>7.2620503843569564E-2</c:v>
                </c:pt>
                <c:pt idx="6726">
                  <c:v>7.2825149467213954E-2</c:v>
                </c:pt>
                <c:pt idx="6727">
                  <c:v>7.3820486910791988E-2</c:v>
                </c:pt>
                <c:pt idx="6728">
                  <c:v>6.9318843515826872E-2</c:v>
                </c:pt>
                <c:pt idx="6729">
                  <c:v>6.3637587326929479E-2</c:v>
                </c:pt>
                <c:pt idx="6730">
                  <c:v>5.958476680726417E-2</c:v>
                </c:pt>
                <c:pt idx="6731">
                  <c:v>5.8425483564434638E-2</c:v>
                </c:pt>
                <c:pt idx="6732">
                  <c:v>5.8562533065866409E-2</c:v>
                </c:pt>
                <c:pt idx="6733">
                  <c:v>5.9037620310238487E-2</c:v>
                </c:pt>
                <c:pt idx="6734">
                  <c:v>5.9513905474443282E-2</c:v>
                </c:pt>
                <c:pt idx="6735">
                  <c:v>5.9801635209196985E-2</c:v>
                </c:pt>
                <c:pt idx="6736">
                  <c:v>6.0029507147070546E-2</c:v>
                </c:pt>
                <c:pt idx="6737">
                  <c:v>6.0162879882987005E-2</c:v>
                </c:pt>
                <c:pt idx="6738">
                  <c:v>5.9809208152655738E-2</c:v>
                </c:pt>
                <c:pt idx="6739">
                  <c:v>6.0111955640461359E-2</c:v>
                </c:pt>
                <c:pt idx="6740">
                  <c:v>6.0298766351121968E-2</c:v>
                </c:pt>
                <c:pt idx="6741">
                  <c:v>6.0154982985512348E-2</c:v>
                </c:pt>
                <c:pt idx="6742">
                  <c:v>6.0320509348509382E-2</c:v>
                </c:pt>
                <c:pt idx="6743">
                  <c:v>6.0451042237190805E-2</c:v>
                </c:pt>
                <c:pt idx="6744">
                  <c:v>6.0259718524596093E-2</c:v>
                </c:pt>
                <c:pt idx="6745">
                  <c:v>5.738959126475468E-2</c:v>
                </c:pt>
                <c:pt idx="6746">
                  <c:v>4.4975174125779852E-2</c:v>
                </c:pt>
                <c:pt idx="6747">
                  <c:v>3.337906922787999E-2</c:v>
                </c:pt>
                <c:pt idx="6748">
                  <c:v>2.5450771229553984E-2</c:v>
                </c:pt>
                <c:pt idx="6749">
                  <c:v>2.4491351548880519E-2</c:v>
                </c:pt>
                <c:pt idx="6750">
                  <c:v>2.4483603097073189E-2</c:v>
                </c:pt>
                <c:pt idx="6751">
                  <c:v>2.4477055219652627E-2</c:v>
                </c:pt>
                <c:pt idx="6752">
                  <c:v>2.4427812712103897E-2</c:v>
                </c:pt>
                <c:pt idx="6753">
                  <c:v>2.4444847772978118E-2</c:v>
                </c:pt>
                <c:pt idx="6754">
                  <c:v>2.445658965613192E-2</c:v>
                </c:pt>
                <c:pt idx="6755">
                  <c:v>2.4362472648972483E-2</c:v>
                </c:pt>
                <c:pt idx="6756">
                  <c:v>2.4335234609774055E-2</c:v>
                </c:pt>
                <c:pt idx="6757">
                  <c:v>2.4294202952317746E-2</c:v>
                </c:pt>
                <c:pt idx="6758">
                  <c:v>2.4853837161382855E-2</c:v>
                </c:pt>
                <c:pt idx="6759">
                  <c:v>2.4706652274030169E-2</c:v>
                </c:pt>
                <c:pt idx="6760">
                  <c:v>2.4634528195217734E-2</c:v>
                </c:pt>
                <c:pt idx="6761">
                  <c:v>2.4643761498566528E-2</c:v>
                </c:pt>
                <c:pt idx="6762">
                  <c:v>2.4585233195579918E-2</c:v>
                </c:pt>
                <c:pt idx="6763">
                  <c:v>2.4828830411693065E-2</c:v>
                </c:pt>
                <c:pt idx="6764">
                  <c:v>2.4948236359814593E-2</c:v>
                </c:pt>
                <c:pt idx="6765">
                  <c:v>2.502364524323078E-2</c:v>
                </c:pt>
                <c:pt idx="6766">
                  <c:v>2.5105547031569364E-2</c:v>
                </c:pt>
                <c:pt idx="6767">
                  <c:v>2.5028524964572016E-2</c:v>
                </c:pt>
                <c:pt idx="6768">
                  <c:v>2.4996550544639728E-2</c:v>
                </c:pt>
                <c:pt idx="6769">
                  <c:v>2.4858663671349521E-2</c:v>
                </c:pt>
                <c:pt idx="6770">
                  <c:v>2.4833532163485321E-2</c:v>
                </c:pt>
                <c:pt idx="6771">
                  <c:v>2.5105802039037999E-2</c:v>
                </c:pt>
                <c:pt idx="6772">
                  <c:v>2.504554262457942E-2</c:v>
                </c:pt>
                <c:pt idx="6773">
                  <c:v>2.5005352520262598E-2</c:v>
                </c:pt>
                <c:pt idx="6774">
                  <c:v>2.488541288301218E-2</c:v>
                </c:pt>
                <c:pt idx="6775">
                  <c:v>2.393152754464288E-2</c:v>
                </c:pt>
                <c:pt idx="6776">
                  <c:v>1.7239258951061952E-2</c:v>
                </c:pt>
                <c:pt idx="6777">
                  <c:v>7.0045502653768386E-3</c:v>
                </c:pt>
                <c:pt idx="6778">
                  <c:v>4.1797252543302413E-3</c:v>
                </c:pt>
                <c:pt idx="6779">
                  <c:v>2.3834908962305883E-3</c:v>
                </c:pt>
                <c:pt idx="6780">
                  <c:v>1.5756920011910387E-3</c:v>
                </c:pt>
                <c:pt idx="6781">
                  <c:v>1.5699766587210316E-3</c:v>
                </c:pt>
                <c:pt idx="6782">
                  <c:v>1.5572526384450853E-3</c:v>
                </c:pt>
                <c:pt idx="6783">
                  <c:v>1.5299820153840057E-3</c:v>
                </c:pt>
                <c:pt idx="6784">
                  <c:v>1.508553539987096E-3</c:v>
                </c:pt>
                <c:pt idx="6785">
                  <c:v>1.807356986592212E-3</c:v>
                </c:pt>
                <c:pt idx="6786">
                  <c:v>1.9388983243148507E-3</c:v>
                </c:pt>
                <c:pt idx="6787">
                  <c:v>1.9979279537007538E-3</c:v>
                </c:pt>
                <c:pt idx="6788">
                  <c:v>-2.5520946549405423E-3</c:v>
                </c:pt>
                <c:pt idx="6789">
                  <c:v>-3.3770622125102873E-3</c:v>
                </c:pt>
                <c:pt idx="6790">
                  <c:v>-3.4483691319573996E-3</c:v>
                </c:pt>
                <c:pt idx="6791">
                  <c:v>-3.4497195396884506E-3</c:v>
                </c:pt>
                <c:pt idx="6792">
                  <c:v>-3.4676324389522235E-3</c:v>
                </c:pt>
                <c:pt idx="6793">
                  <c:v>-3.9076576586947829E-3</c:v>
                </c:pt>
                <c:pt idx="6794">
                  <c:v>-3.7263518184118324E-3</c:v>
                </c:pt>
                <c:pt idx="6795">
                  <c:v>-2.1983212499786103E-3</c:v>
                </c:pt>
                <c:pt idx="6796">
                  <c:v>4.9967024050344769E-5</c:v>
                </c:pt>
                <c:pt idx="6797">
                  <c:v>1.151193598219415E-3</c:v>
                </c:pt>
                <c:pt idx="6798">
                  <c:v>1.6583772705159767E-3</c:v>
                </c:pt>
                <c:pt idx="6799">
                  <c:v>1.808381566001117E-3</c:v>
                </c:pt>
                <c:pt idx="6800">
                  <c:v>1.9047577646647568E-3</c:v>
                </c:pt>
                <c:pt idx="6801">
                  <c:v>1.5171233904368725E-3</c:v>
                </c:pt>
                <c:pt idx="6802">
                  <c:v>1.5476516163345898E-3</c:v>
                </c:pt>
                <c:pt idx="6803">
                  <c:v>4.3526934676468444E-3</c:v>
                </c:pt>
                <c:pt idx="6804">
                  <c:v>1.2144086362555874E-2</c:v>
                </c:pt>
                <c:pt idx="6805">
                  <c:v>1.2378778629306602E-2</c:v>
                </c:pt>
                <c:pt idx="6806">
                  <c:v>1.2384276736908862E-2</c:v>
                </c:pt>
                <c:pt idx="6807">
                  <c:v>1.2711388655756052E-2</c:v>
                </c:pt>
                <c:pt idx="6808">
                  <c:v>1.2705550368895041E-2</c:v>
                </c:pt>
                <c:pt idx="6809">
                  <c:v>1.2694105515508218E-2</c:v>
                </c:pt>
                <c:pt idx="6810">
                  <c:v>1.271835102717297E-2</c:v>
                </c:pt>
                <c:pt idx="6811">
                  <c:v>1.6572607294627013E-2</c:v>
                </c:pt>
                <c:pt idx="6812">
                  <c:v>1.9350144986503323E-2</c:v>
                </c:pt>
                <c:pt idx="6813">
                  <c:v>1.9369222122247232E-2</c:v>
                </c:pt>
                <c:pt idx="6814">
                  <c:v>1.9418361286128283E-2</c:v>
                </c:pt>
                <c:pt idx="6815">
                  <c:v>1.9105726520467999E-2</c:v>
                </c:pt>
                <c:pt idx="6816">
                  <c:v>1.8904865833367791E-2</c:v>
                </c:pt>
                <c:pt idx="6817">
                  <c:v>1.8627822815429511E-2</c:v>
                </c:pt>
                <c:pt idx="6818">
                  <c:v>1.8909236156276828E-2</c:v>
                </c:pt>
                <c:pt idx="6819">
                  <c:v>1.8785607797485102E-2</c:v>
                </c:pt>
                <c:pt idx="6820">
                  <c:v>1.8636197973913804E-2</c:v>
                </c:pt>
                <c:pt idx="6821">
                  <c:v>1.8336402522299081E-2</c:v>
                </c:pt>
                <c:pt idx="6822">
                  <c:v>1.8123377313893629E-2</c:v>
                </c:pt>
                <c:pt idx="6823">
                  <c:v>1.8261282833334225E-2</c:v>
                </c:pt>
                <c:pt idx="6824">
                  <c:v>1.8017992748508148E-2</c:v>
                </c:pt>
                <c:pt idx="6825">
                  <c:v>1.8227673586480218E-2</c:v>
                </c:pt>
                <c:pt idx="6826">
                  <c:v>1.8171743824595417E-2</c:v>
                </c:pt>
                <c:pt idx="6827">
                  <c:v>1.8198926948234398E-2</c:v>
                </c:pt>
                <c:pt idx="6828">
                  <c:v>1.8312299960514027E-2</c:v>
                </c:pt>
                <c:pt idx="6829">
                  <c:v>1.8439431758834807E-2</c:v>
                </c:pt>
                <c:pt idx="6830">
                  <c:v>1.8550632106114476E-2</c:v>
                </c:pt>
                <c:pt idx="6831">
                  <c:v>1.8677543687949626E-2</c:v>
                </c:pt>
                <c:pt idx="6832">
                  <c:v>1.8767138759225588E-2</c:v>
                </c:pt>
                <c:pt idx="6833">
                  <c:v>1.7785902014455804E-2</c:v>
                </c:pt>
                <c:pt idx="6834">
                  <c:v>1.2128431279145297E-2</c:v>
                </c:pt>
                <c:pt idx="6835">
                  <c:v>1.1967788881521125E-2</c:v>
                </c:pt>
                <c:pt idx="6836">
                  <c:v>1.2297649099196553E-2</c:v>
                </c:pt>
                <c:pt idx="6837">
                  <c:v>1.2030019295842043E-2</c:v>
                </c:pt>
                <c:pt idx="6838">
                  <c:v>1.2206688918554158E-2</c:v>
                </c:pt>
                <c:pt idx="6839">
                  <c:v>1.2261003296490958E-2</c:v>
                </c:pt>
                <c:pt idx="6840">
                  <c:v>1.2625106946278839E-2</c:v>
                </c:pt>
                <c:pt idx="6841">
                  <c:v>8.6845101212365636E-3</c:v>
                </c:pt>
                <c:pt idx="6842">
                  <c:v>2.4810812400957397E-3</c:v>
                </c:pt>
                <c:pt idx="6843">
                  <c:v>1.6426690432953372E-3</c:v>
                </c:pt>
                <c:pt idx="6844">
                  <c:v>1.5590381122620543E-3</c:v>
                </c:pt>
                <c:pt idx="6845">
                  <c:v>1.4780160842794848E-3</c:v>
                </c:pt>
                <c:pt idx="6846">
                  <c:v>1.4496445672652469E-3</c:v>
                </c:pt>
                <c:pt idx="6847">
                  <c:v>6.0785883019738758E-4</c:v>
                </c:pt>
                <c:pt idx="6848">
                  <c:v>1.4210547437012479E-4</c:v>
                </c:pt>
                <c:pt idx="6849">
                  <c:v>2.3690510967143419E-5</c:v>
                </c:pt>
                <c:pt idx="6850">
                  <c:v>-4.7346051403104189E-6</c:v>
                </c:pt>
                <c:pt idx="6851">
                  <c:v>1.2337749896686179E-4</c:v>
                </c:pt>
                <c:pt idx="6852">
                  <c:v>2.6543824497968389E-4</c:v>
                </c:pt>
                <c:pt idx="6853">
                  <c:v>3.4407192731073649E-4</c:v>
                </c:pt>
                <c:pt idx="6854">
                  <c:v>3.4323689619716012E-4</c:v>
                </c:pt>
                <c:pt idx="6855">
                  <c:v>3.4962356589882983E-4</c:v>
                </c:pt>
                <c:pt idx="6856">
                  <c:v>3.4993705525638262E-4</c:v>
                </c:pt>
                <c:pt idx="6857">
                  <c:v>4.0854974559076385E-4</c:v>
                </c:pt>
                <c:pt idx="6858">
                  <c:v>5.2030144188489579E-4</c:v>
                </c:pt>
                <c:pt idx="6859">
                  <c:v>4.3946148304008399E-4</c:v>
                </c:pt>
                <c:pt idx="6860">
                  <c:v>3.0150724009539963E-4</c:v>
                </c:pt>
                <c:pt idx="6861">
                  <c:v>2.6752537133947416E-4</c:v>
                </c:pt>
                <c:pt idx="6862">
                  <c:v>2.4416654412343086E-4</c:v>
                </c:pt>
                <c:pt idx="6863">
                  <c:v>2.0405932526632031E-4</c:v>
                </c:pt>
                <c:pt idx="6864">
                  <c:v>1.6653461673607657E-4</c:v>
                </c:pt>
                <c:pt idx="6865">
                  <c:v>1.3639585039505395E-4</c:v>
                </c:pt>
                <c:pt idx="6866">
                  <c:v>-1.171636532355351E-4</c:v>
                </c:pt>
                <c:pt idx="6867">
                  <c:v>-1.337380501109757E-4</c:v>
                </c:pt>
                <c:pt idx="6868">
                  <c:v>-2.131954232628807E-4</c:v>
                </c:pt>
                <c:pt idx="6869">
                  <c:v>-2.160161848827457E-4</c:v>
                </c:pt>
                <c:pt idx="6870">
                  <c:v>-1.6796814408430311E-3</c:v>
                </c:pt>
                <c:pt idx="6871">
                  <c:v>-6.6338895167795849E-3</c:v>
                </c:pt>
                <c:pt idx="6872">
                  <c:v>-6.8916129584929865E-3</c:v>
                </c:pt>
                <c:pt idx="6873">
                  <c:v>-6.5273232973167622E-3</c:v>
                </c:pt>
                <c:pt idx="6874">
                  <c:v>-6.2248829797289535E-3</c:v>
                </c:pt>
                <c:pt idx="6875">
                  <c:v>8.7155471856481016E-4</c:v>
                </c:pt>
                <c:pt idx="6876">
                  <c:v>1.2152063023493207E-2</c:v>
                </c:pt>
                <c:pt idx="6877">
                  <c:v>3.415613121277649E-2</c:v>
                </c:pt>
                <c:pt idx="6878">
                  <c:v>4.4420255843586623E-2</c:v>
                </c:pt>
                <c:pt idx="6879">
                  <c:v>4.5110810671974054E-2</c:v>
                </c:pt>
                <c:pt idx="6880">
                  <c:v>4.8415904736351018E-2</c:v>
                </c:pt>
                <c:pt idx="6881">
                  <c:v>4.9160561153772424E-2</c:v>
                </c:pt>
                <c:pt idx="6882">
                  <c:v>4.8820938042199634E-2</c:v>
                </c:pt>
                <c:pt idx="6883">
                  <c:v>4.8520508390983201E-2</c:v>
                </c:pt>
                <c:pt idx="6884">
                  <c:v>4.8415382364406484E-2</c:v>
                </c:pt>
                <c:pt idx="6885">
                  <c:v>4.8749155646064558E-2</c:v>
                </c:pt>
                <c:pt idx="6886">
                  <c:v>4.8787186353187718E-2</c:v>
                </c:pt>
                <c:pt idx="6887">
                  <c:v>4.8914859976726427E-2</c:v>
                </c:pt>
                <c:pt idx="6888">
                  <c:v>4.8859667183082163E-2</c:v>
                </c:pt>
                <c:pt idx="6889">
                  <c:v>4.8898833916888144E-2</c:v>
                </c:pt>
                <c:pt idx="6890">
                  <c:v>4.8962948442482161E-2</c:v>
                </c:pt>
                <c:pt idx="6891">
                  <c:v>4.9050993932616867E-2</c:v>
                </c:pt>
                <c:pt idx="6892">
                  <c:v>4.9111073428814128E-2</c:v>
                </c:pt>
                <c:pt idx="6893">
                  <c:v>4.9161522608979762E-2</c:v>
                </c:pt>
                <c:pt idx="6894">
                  <c:v>4.9098495667910094E-2</c:v>
                </c:pt>
                <c:pt idx="6895">
                  <c:v>4.9031311189388721E-2</c:v>
                </c:pt>
                <c:pt idx="6896">
                  <c:v>4.8891835484241489E-2</c:v>
                </c:pt>
                <c:pt idx="6897">
                  <c:v>4.8735591958389973E-2</c:v>
                </c:pt>
                <c:pt idx="6898">
                  <c:v>4.8587059760571844E-2</c:v>
                </c:pt>
                <c:pt idx="6899">
                  <c:v>4.8448244813942019E-2</c:v>
                </c:pt>
                <c:pt idx="6900">
                  <c:v>4.8483357099577663E-2</c:v>
                </c:pt>
                <c:pt idx="6901">
                  <c:v>4.86429750504275E-2</c:v>
                </c:pt>
                <c:pt idx="6902">
                  <c:v>4.9477458446379158E-2</c:v>
                </c:pt>
                <c:pt idx="6903">
                  <c:v>4.9877173565101116E-2</c:v>
                </c:pt>
                <c:pt idx="6904">
                  <c:v>5.0046600201828322E-2</c:v>
                </c:pt>
                <c:pt idx="6905">
                  <c:v>5.3140722565535287E-2</c:v>
                </c:pt>
                <c:pt idx="6906">
                  <c:v>5.3726105259439397E-2</c:v>
                </c:pt>
                <c:pt idx="6907">
                  <c:v>4.4695609377928262E-2</c:v>
                </c:pt>
                <c:pt idx="6908">
                  <c:v>3.6705887895130823E-2</c:v>
                </c:pt>
                <c:pt idx="6909">
                  <c:v>3.6659174288309365E-2</c:v>
                </c:pt>
                <c:pt idx="6910">
                  <c:v>3.2955102243661195E-2</c:v>
                </c:pt>
                <c:pt idx="6911">
                  <c:v>3.1201540910264766E-2</c:v>
                </c:pt>
                <c:pt idx="6912">
                  <c:v>3.2638000863920699E-2</c:v>
                </c:pt>
                <c:pt idx="6913">
                  <c:v>3.2690450621135354E-2</c:v>
                </c:pt>
                <c:pt idx="6914">
                  <c:v>3.2605032755646093E-2</c:v>
                </c:pt>
                <c:pt idx="6915">
                  <c:v>3.2605032708202239E-2</c:v>
                </c:pt>
                <c:pt idx="6916">
                  <c:v>3.2435003786390922E-2</c:v>
                </c:pt>
                <c:pt idx="6917">
                  <c:v>3.2435003737379987E-2</c:v>
                </c:pt>
                <c:pt idx="6918">
                  <c:v>3.2239507422759724E-2</c:v>
                </c:pt>
                <c:pt idx="6919">
                  <c:v>3.197343429089905E-2</c:v>
                </c:pt>
                <c:pt idx="6920">
                  <c:v>3.198680116460588E-2</c:v>
                </c:pt>
                <c:pt idx="6921">
                  <c:v>3.1766213217628923E-2</c:v>
                </c:pt>
                <c:pt idx="6922">
                  <c:v>3.1529082823974805E-2</c:v>
                </c:pt>
                <c:pt idx="6923">
                  <c:v>3.1350853454740875E-2</c:v>
                </c:pt>
                <c:pt idx="6924">
                  <c:v>3.1235762834442397E-2</c:v>
                </c:pt>
                <c:pt idx="6925">
                  <c:v>3.0846022124692778E-2</c:v>
                </c:pt>
                <c:pt idx="6926">
                  <c:v>3.061165236728889E-2</c:v>
                </c:pt>
                <c:pt idx="6927">
                  <c:v>3.0463941037466878E-2</c:v>
                </c:pt>
                <c:pt idx="6928">
                  <c:v>3.055137949016027E-2</c:v>
                </c:pt>
                <c:pt idx="6929">
                  <c:v>3.0718494823932713E-2</c:v>
                </c:pt>
                <c:pt idx="6930">
                  <c:v>3.101715778768168E-2</c:v>
                </c:pt>
                <c:pt idx="6931">
                  <c:v>3.0715393138464109E-2</c:v>
                </c:pt>
                <c:pt idx="6932">
                  <c:v>2.9179315227593081E-2</c:v>
                </c:pt>
                <c:pt idx="6933">
                  <c:v>2.9319982725407888E-2</c:v>
                </c:pt>
                <c:pt idx="6934">
                  <c:v>2.8297123092146784E-2</c:v>
                </c:pt>
                <c:pt idx="6935">
                  <c:v>2.0156013177091557E-2</c:v>
                </c:pt>
                <c:pt idx="6936">
                  <c:v>1.2797894427283319E-2</c:v>
                </c:pt>
                <c:pt idx="6937">
                  <c:v>1.2674783586423889E-2</c:v>
                </c:pt>
                <c:pt idx="6938">
                  <c:v>1.2203715504741275E-2</c:v>
                </c:pt>
                <c:pt idx="6939">
                  <c:v>1.2099665546783886E-2</c:v>
                </c:pt>
                <c:pt idx="6940">
                  <c:v>1.198100985278606E-2</c:v>
                </c:pt>
                <c:pt idx="6941">
                  <c:v>1.2219949947366851E-2</c:v>
                </c:pt>
                <c:pt idx="6942">
                  <c:v>6.903590966627576E-3</c:v>
                </c:pt>
                <c:pt idx="6943">
                  <c:v>5.8223446817685914E-3</c:v>
                </c:pt>
                <c:pt idx="6944">
                  <c:v>5.4037942955267055E-3</c:v>
                </c:pt>
                <c:pt idx="6945">
                  <c:v>5.1299231255516799E-3</c:v>
                </c:pt>
                <c:pt idx="6946">
                  <c:v>5.0608758537297963E-3</c:v>
                </c:pt>
                <c:pt idx="6947">
                  <c:v>4.6588298094648022E-3</c:v>
                </c:pt>
                <c:pt idx="6948">
                  <c:v>4.5472985994732245E-3</c:v>
                </c:pt>
                <c:pt idx="6949">
                  <c:v>4.5319478682839202E-3</c:v>
                </c:pt>
                <c:pt idx="6950">
                  <c:v>4.4583201512160709E-3</c:v>
                </c:pt>
                <c:pt idx="6951">
                  <c:v>4.4367784500074451E-3</c:v>
                </c:pt>
                <c:pt idx="6952">
                  <c:v>4.3864287085814569E-3</c:v>
                </c:pt>
                <c:pt idx="6953">
                  <c:v>4.4027692208157016E-3</c:v>
                </c:pt>
                <c:pt idx="6954">
                  <c:v>4.707064340263899E-3</c:v>
                </c:pt>
                <c:pt idx="6955">
                  <c:v>3.0722028603595731E-3</c:v>
                </c:pt>
                <c:pt idx="6956">
                  <c:v>8.8762502290489279E-4</c:v>
                </c:pt>
                <c:pt idx="6957">
                  <c:v>5.5084274279141449E-4</c:v>
                </c:pt>
                <c:pt idx="6958">
                  <c:v>3.8611126215842666E-4</c:v>
                </c:pt>
                <c:pt idx="6959">
                  <c:v>3.8721017885887977E-4</c:v>
                </c:pt>
                <c:pt idx="6960">
                  <c:v>-1.916302920885668E-5</c:v>
                </c:pt>
                <c:pt idx="6961">
                  <c:v>-3.8354678245593535E-4</c:v>
                </c:pt>
                <c:pt idx="6962">
                  <c:v>-4.4330918352674005E-4</c:v>
                </c:pt>
                <c:pt idx="6963">
                  <c:v>-5.0152204249564493E-4</c:v>
                </c:pt>
                <c:pt idx="6964">
                  <c:v>-4.2350816043218095E-4</c:v>
                </c:pt>
                <c:pt idx="6965">
                  <c:v>-4.3813530940520207E-4</c:v>
                </c:pt>
                <c:pt idx="6966">
                  <c:v>-5.9041970243007245E-4</c:v>
                </c:pt>
                <c:pt idx="6967">
                  <c:v>-5.8551415328896711E-4</c:v>
                </c:pt>
              </c:numCache>
            </c:numRef>
          </c:val>
          <c:smooth val="0"/>
          <c:extLst>
            <c:ext xmlns:c16="http://schemas.microsoft.com/office/drawing/2014/chart" uri="{C3380CC4-5D6E-409C-BE32-E72D297353CC}">
              <c16:uniqueId val="{00000002-085D-4FDB-A70F-82922CEA5C5A}"/>
            </c:ext>
          </c:extLst>
        </c:ser>
        <c:ser>
          <c:idx val="1"/>
          <c:order val="1"/>
          <c:tx>
            <c:strRef>
              <c:f>'Regression Equation'!$K$1</c:f>
              <c:strCache>
                <c:ptCount val="1"/>
                <c:pt idx="0">
                  <c:v>PUMP FAILURE (1 or 0)</c:v>
                </c:pt>
              </c:strCache>
            </c:strRef>
          </c:tx>
          <c:spPr>
            <a:ln w="28575" cap="rnd">
              <a:solidFill>
                <a:srgbClr val="7030A0"/>
              </a:solidFill>
              <a:round/>
            </a:ln>
            <a:effectLst/>
          </c:spPr>
          <c:marker>
            <c:symbol val="none"/>
          </c:marker>
          <c:val>
            <c:numRef>
              <c:f>'Regression Equation'!$K$2:$K$6969</c:f>
              <c:numCache>
                <c:formatCode>General</c:formatCode>
                <c:ptCount val="69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0</c:v>
                </c:pt>
                <c:pt idx="2453">
                  <c:v>0</c:v>
                </c:pt>
                <c:pt idx="2454">
                  <c:v>0</c:v>
                </c:pt>
                <c:pt idx="2455">
                  <c:v>0</c:v>
                </c:pt>
                <c:pt idx="2456">
                  <c:v>0</c:v>
                </c:pt>
                <c:pt idx="2457">
                  <c:v>0</c:v>
                </c:pt>
                <c:pt idx="2458">
                  <c:v>0</c:v>
                </c:pt>
                <c:pt idx="2459">
                  <c:v>0</c:v>
                </c:pt>
                <c:pt idx="2460">
                  <c:v>0</c:v>
                </c:pt>
                <c:pt idx="2461">
                  <c:v>0</c:v>
                </c:pt>
                <c:pt idx="2462">
                  <c:v>0</c:v>
                </c:pt>
                <c:pt idx="2463">
                  <c:v>0</c:v>
                </c:pt>
                <c:pt idx="2464">
                  <c:v>0</c:v>
                </c:pt>
                <c:pt idx="2465">
                  <c:v>0</c:v>
                </c:pt>
                <c:pt idx="2466">
                  <c:v>0</c:v>
                </c:pt>
                <c:pt idx="2467">
                  <c:v>0</c:v>
                </c:pt>
                <c:pt idx="2468">
                  <c:v>0</c:v>
                </c:pt>
                <c:pt idx="2469">
                  <c:v>0</c:v>
                </c:pt>
                <c:pt idx="2470">
                  <c:v>0</c:v>
                </c:pt>
                <c:pt idx="2471">
                  <c:v>0</c:v>
                </c:pt>
                <c:pt idx="2472">
                  <c:v>0</c:v>
                </c:pt>
                <c:pt idx="2473">
                  <c:v>0</c:v>
                </c:pt>
                <c:pt idx="2474">
                  <c:v>0</c:v>
                </c:pt>
                <c:pt idx="2475">
                  <c:v>0</c:v>
                </c:pt>
                <c:pt idx="2476">
                  <c:v>0</c:v>
                </c:pt>
                <c:pt idx="2477">
                  <c:v>0</c:v>
                </c:pt>
                <c:pt idx="2478">
                  <c:v>0</c:v>
                </c:pt>
                <c:pt idx="2479">
                  <c:v>0</c:v>
                </c:pt>
                <c:pt idx="2480">
                  <c:v>0</c:v>
                </c:pt>
                <c:pt idx="2481">
                  <c:v>0</c:v>
                </c:pt>
                <c:pt idx="2482">
                  <c:v>0</c:v>
                </c:pt>
                <c:pt idx="2483">
                  <c:v>0</c:v>
                </c:pt>
                <c:pt idx="2484">
                  <c:v>0</c:v>
                </c:pt>
                <c:pt idx="2485">
                  <c:v>0</c:v>
                </c:pt>
                <c:pt idx="2486">
                  <c:v>0</c:v>
                </c:pt>
                <c:pt idx="2487">
                  <c:v>0</c:v>
                </c:pt>
                <c:pt idx="2488">
                  <c:v>0</c:v>
                </c:pt>
                <c:pt idx="2489">
                  <c:v>0</c:v>
                </c:pt>
                <c:pt idx="2490">
                  <c:v>0</c:v>
                </c:pt>
                <c:pt idx="2491">
                  <c:v>0</c:v>
                </c:pt>
                <c:pt idx="2492">
                  <c:v>0</c:v>
                </c:pt>
                <c:pt idx="2493">
                  <c:v>0</c:v>
                </c:pt>
                <c:pt idx="2494">
                  <c:v>0</c:v>
                </c:pt>
                <c:pt idx="2495">
                  <c:v>0</c:v>
                </c:pt>
                <c:pt idx="2496">
                  <c:v>0</c:v>
                </c:pt>
                <c:pt idx="2497">
                  <c:v>0</c:v>
                </c:pt>
                <c:pt idx="2498">
                  <c:v>0</c:v>
                </c:pt>
                <c:pt idx="2499">
                  <c:v>0</c:v>
                </c:pt>
                <c:pt idx="2500">
                  <c:v>0</c:v>
                </c:pt>
                <c:pt idx="2501">
                  <c:v>0</c:v>
                </c:pt>
                <c:pt idx="2502">
                  <c:v>0</c:v>
                </c:pt>
                <c:pt idx="2503">
                  <c:v>0</c:v>
                </c:pt>
                <c:pt idx="2504">
                  <c:v>0</c:v>
                </c:pt>
                <c:pt idx="2505">
                  <c:v>0</c:v>
                </c:pt>
                <c:pt idx="2506">
                  <c:v>0</c:v>
                </c:pt>
                <c:pt idx="2507">
                  <c:v>0</c:v>
                </c:pt>
                <c:pt idx="2508">
                  <c:v>0</c:v>
                </c:pt>
                <c:pt idx="2509">
                  <c:v>0</c:v>
                </c:pt>
                <c:pt idx="2510">
                  <c:v>0</c:v>
                </c:pt>
                <c:pt idx="2511">
                  <c:v>0</c:v>
                </c:pt>
                <c:pt idx="2512">
                  <c:v>0</c:v>
                </c:pt>
                <c:pt idx="2513">
                  <c:v>0</c:v>
                </c:pt>
                <c:pt idx="2514">
                  <c:v>0</c:v>
                </c:pt>
                <c:pt idx="2515">
                  <c:v>0</c:v>
                </c:pt>
                <c:pt idx="2516">
                  <c:v>0</c:v>
                </c:pt>
                <c:pt idx="2517">
                  <c:v>0</c:v>
                </c:pt>
                <c:pt idx="2518">
                  <c:v>0</c:v>
                </c:pt>
                <c:pt idx="2519">
                  <c:v>0</c:v>
                </c:pt>
                <c:pt idx="2520">
                  <c:v>0</c:v>
                </c:pt>
                <c:pt idx="2521">
                  <c:v>0</c:v>
                </c:pt>
                <c:pt idx="2522">
                  <c:v>0</c:v>
                </c:pt>
                <c:pt idx="2523">
                  <c:v>0</c:v>
                </c:pt>
                <c:pt idx="2524">
                  <c:v>0</c:v>
                </c:pt>
                <c:pt idx="2525">
                  <c:v>0</c:v>
                </c:pt>
                <c:pt idx="2526">
                  <c:v>0</c:v>
                </c:pt>
                <c:pt idx="2527">
                  <c:v>0</c:v>
                </c:pt>
                <c:pt idx="2528">
                  <c:v>0</c:v>
                </c:pt>
                <c:pt idx="2529">
                  <c:v>0</c:v>
                </c:pt>
                <c:pt idx="2530">
                  <c:v>0</c:v>
                </c:pt>
                <c:pt idx="2531">
                  <c:v>0</c:v>
                </c:pt>
                <c:pt idx="2532">
                  <c:v>0</c:v>
                </c:pt>
                <c:pt idx="2533">
                  <c:v>0</c:v>
                </c:pt>
                <c:pt idx="2534">
                  <c:v>0</c:v>
                </c:pt>
                <c:pt idx="2535">
                  <c:v>0</c:v>
                </c:pt>
                <c:pt idx="2536">
                  <c:v>0</c:v>
                </c:pt>
                <c:pt idx="2537">
                  <c:v>0</c:v>
                </c:pt>
                <c:pt idx="2538">
                  <c:v>0</c:v>
                </c:pt>
                <c:pt idx="2539">
                  <c:v>0</c:v>
                </c:pt>
                <c:pt idx="2540">
                  <c:v>0</c:v>
                </c:pt>
                <c:pt idx="2541">
                  <c:v>0</c:v>
                </c:pt>
                <c:pt idx="2542">
                  <c:v>0</c:v>
                </c:pt>
                <c:pt idx="2543">
                  <c:v>0</c:v>
                </c:pt>
                <c:pt idx="2544">
                  <c:v>0</c:v>
                </c:pt>
                <c:pt idx="2545">
                  <c:v>0</c:v>
                </c:pt>
                <c:pt idx="2546">
                  <c:v>0</c:v>
                </c:pt>
                <c:pt idx="2547">
                  <c:v>0</c:v>
                </c:pt>
                <c:pt idx="2548">
                  <c:v>0</c:v>
                </c:pt>
                <c:pt idx="2549">
                  <c:v>0</c:v>
                </c:pt>
                <c:pt idx="2550">
                  <c:v>0</c:v>
                </c:pt>
                <c:pt idx="2551">
                  <c:v>0</c:v>
                </c:pt>
                <c:pt idx="2552">
                  <c:v>0</c:v>
                </c:pt>
                <c:pt idx="2553">
                  <c:v>0</c:v>
                </c:pt>
                <c:pt idx="2554">
                  <c:v>0</c:v>
                </c:pt>
                <c:pt idx="2555">
                  <c:v>0</c:v>
                </c:pt>
                <c:pt idx="2556">
                  <c:v>0</c:v>
                </c:pt>
                <c:pt idx="2557">
                  <c:v>0</c:v>
                </c:pt>
                <c:pt idx="2558">
                  <c:v>0</c:v>
                </c:pt>
                <c:pt idx="2559">
                  <c:v>0</c:v>
                </c:pt>
                <c:pt idx="2560">
                  <c:v>0</c:v>
                </c:pt>
                <c:pt idx="2561">
                  <c:v>0</c:v>
                </c:pt>
                <c:pt idx="2562">
                  <c:v>0</c:v>
                </c:pt>
                <c:pt idx="2563">
                  <c:v>0</c:v>
                </c:pt>
                <c:pt idx="2564">
                  <c:v>0</c:v>
                </c:pt>
                <c:pt idx="2565">
                  <c:v>0</c:v>
                </c:pt>
                <c:pt idx="2566">
                  <c:v>0</c:v>
                </c:pt>
                <c:pt idx="2567">
                  <c:v>0</c:v>
                </c:pt>
                <c:pt idx="2568">
                  <c:v>0</c:v>
                </c:pt>
                <c:pt idx="2569">
                  <c:v>0</c:v>
                </c:pt>
                <c:pt idx="2570">
                  <c:v>0</c:v>
                </c:pt>
                <c:pt idx="2571">
                  <c:v>0</c:v>
                </c:pt>
                <c:pt idx="2572">
                  <c:v>0</c:v>
                </c:pt>
                <c:pt idx="2573">
                  <c:v>0</c:v>
                </c:pt>
                <c:pt idx="2574">
                  <c:v>0</c:v>
                </c:pt>
                <c:pt idx="2575">
                  <c:v>0</c:v>
                </c:pt>
                <c:pt idx="2576">
                  <c:v>0</c:v>
                </c:pt>
                <c:pt idx="2577">
                  <c:v>0</c:v>
                </c:pt>
                <c:pt idx="2578">
                  <c:v>0</c:v>
                </c:pt>
                <c:pt idx="2579">
                  <c:v>0</c:v>
                </c:pt>
                <c:pt idx="2580">
                  <c:v>0</c:v>
                </c:pt>
                <c:pt idx="2581">
                  <c:v>0</c:v>
                </c:pt>
                <c:pt idx="2582">
                  <c:v>0</c:v>
                </c:pt>
                <c:pt idx="2583">
                  <c:v>0</c:v>
                </c:pt>
                <c:pt idx="2584">
                  <c:v>0</c:v>
                </c:pt>
                <c:pt idx="2585">
                  <c:v>0</c:v>
                </c:pt>
                <c:pt idx="2586">
                  <c:v>0</c:v>
                </c:pt>
                <c:pt idx="2587">
                  <c:v>0</c:v>
                </c:pt>
                <c:pt idx="2588">
                  <c:v>0</c:v>
                </c:pt>
                <c:pt idx="2589">
                  <c:v>0</c:v>
                </c:pt>
                <c:pt idx="2590">
                  <c:v>0</c:v>
                </c:pt>
                <c:pt idx="2591">
                  <c:v>0</c:v>
                </c:pt>
                <c:pt idx="2592">
                  <c:v>0</c:v>
                </c:pt>
                <c:pt idx="2593">
                  <c:v>0</c:v>
                </c:pt>
                <c:pt idx="2594">
                  <c:v>0</c:v>
                </c:pt>
                <c:pt idx="2595">
                  <c:v>0</c:v>
                </c:pt>
                <c:pt idx="2596">
                  <c:v>0</c:v>
                </c:pt>
                <c:pt idx="2597">
                  <c:v>0</c:v>
                </c:pt>
                <c:pt idx="2598">
                  <c:v>0</c:v>
                </c:pt>
                <c:pt idx="2599">
                  <c:v>0</c:v>
                </c:pt>
                <c:pt idx="2600">
                  <c:v>0</c:v>
                </c:pt>
                <c:pt idx="2601">
                  <c:v>0</c:v>
                </c:pt>
                <c:pt idx="2602">
                  <c:v>0</c:v>
                </c:pt>
                <c:pt idx="2603">
                  <c:v>0</c:v>
                </c:pt>
                <c:pt idx="2604">
                  <c:v>0</c:v>
                </c:pt>
                <c:pt idx="2605">
                  <c:v>0</c:v>
                </c:pt>
                <c:pt idx="2606">
                  <c:v>0</c:v>
                </c:pt>
                <c:pt idx="2607">
                  <c:v>0</c:v>
                </c:pt>
                <c:pt idx="2608">
                  <c:v>0</c:v>
                </c:pt>
                <c:pt idx="2609">
                  <c:v>0</c:v>
                </c:pt>
                <c:pt idx="2610">
                  <c:v>0</c:v>
                </c:pt>
                <c:pt idx="2611">
                  <c:v>0</c:v>
                </c:pt>
                <c:pt idx="2612">
                  <c:v>0</c:v>
                </c:pt>
                <c:pt idx="2613">
                  <c:v>0</c:v>
                </c:pt>
                <c:pt idx="2614">
                  <c:v>0</c:v>
                </c:pt>
                <c:pt idx="2615">
                  <c:v>0</c:v>
                </c:pt>
                <c:pt idx="2616">
                  <c:v>0</c:v>
                </c:pt>
                <c:pt idx="2617">
                  <c:v>0</c:v>
                </c:pt>
                <c:pt idx="2618">
                  <c:v>0</c:v>
                </c:pt>
                <c:pt idx="2619">
                  <c:v>0</c:v>
                </c:pt>
                <c:pt idx="2620">
                  <c:v>0</c:v>
                </c:pt>
                <c:pt idx="2621">
                  <c:v>0</c:v>
                </c:pt>
                <c:pt idx="2622">
                  <c:v>0</c:v>
                </c:pt>
                <c:pt idx="2623">
                  <c:v>0</c:v>
                </c:pt>
                <c:pt idx="2624">
                  <c:v>0</c:v>
                </c:pt>
                <c:pt idx="2625">
                  <c:v>0</c:v>
                </c:pt>
                <c:pt idx="2626">
                  <c:v>0</c:v>
                </c:pt>
                <c:pt idx="2627">
                  <c:v>0</c:v>
                </c:pt>
                <c:pt idx="2628">
                  <c:v>0</c:v>
                </c:pt>
                <c:pt idx="2629">
                  <c:v>0</c:v>
                </c:pt>
                <c:pt idx="2630">
                  <c:v>0</c:v>
                </c:pt>
                <c:pt idx="2631">
                  <c:v>0</c:v>
                </c:pt>
                <c:pt idx="2632">
                  <c:v>0</c:v>
                </c:pt>
                <c:pt idx="2633">
                  <c:v>0</c:v>
                </c:pt>
                <c:pt idx="2634">
                  <c:v>0</c:v>
                </c:pt>
                <c:pt idx="2635">
                  <c:v>0</c:v>
                </c:pt>
                <c:pt idx="2636">
                  <c:v>0</c:v>
                </c:pt>
                <c:pt idx="2637">
                  <c:v>0</c:v>
                </c:pt>
                <c:pt idx="2638">
                  <c:v>0</c:v>
                </c:pt>
                <c:pt idx="2639">
                  <c:v>0</c:v>
                </c:pt>
                <c:pt idx="2640">
                  <c:v>0</c:v>
                </c:pt>
                <c:pt idx="2641">
                  <c:v>0</c:v>
                </c:pt>
                <c:pt idx="2642">
                  <c:v>0</c:v>
                </c:pt>
                <c:pt idx="2643">
                  <c:v>0</c:v>
                </c:pt>
                <c:pt idx="2644">
                  <c:v>0</c:v>
                </c:pt>
                <c:pt idx="2645">
                  <c:v>0</c:v>
                </c:pt>
                <c:pt idx="2646">
                  <c:v>0</c:v>
                </c:pt>
                <c:pt idx="2647">
                  <c:v>0</c:v>
                </c:pt>
                <c:pt idx="2648">
                  <c:v>0</c:v>
                </c:pt>
                <c:pt idx="2649">
                  <c:v>0</c:v>
                </c:pt>
                <c:pt idx="2650">
                  <c:v>0</c:v>
                </c:pt>
                <c:pt idx="2651">
                  <c:v>0</c:v>
                </c:pt>
                <c:pt idx="2652">
                  <c:v>0</c:v>
                </c:pt>
                <c:pt idx="2653">
                  <c:v>0</c:v>
                </c:pt>
                <c:pt idx="2654">
                  <c:v>0</c:v>
                </c:pt>
                <c:pt idx="2655">
                  <c:v>0</c:v>
                </c:pt>
                <c:pt idx="2656">
                  <c:v>0</c:v>
                </c:pt>
                <c:pt idx="2657">
                  <c:v>0</c:v>
                </c:pt>
                <c:pt idx="2658">
                  <c:v>0</c:v>
                </c:pt>
                <c:pt idx="2659">
                  <c:v>0</c:v>
                </c:pt>
                <c:pt idx="2660">
                  <c:v>0</c:v>
                </c:pt>
                <c:pt idx="2661">
                  <c:v>0</c:v>
                </c:pt>
                <c:pt idx="2662">
                  <c:v>0</c:v>
                </c:pt>
                <c:pt idx="2663">
                  <c:v>0</c:v>
                </c:pt>
                <c:pt idx="2664">
                  <c:v>0</c:v>
                </c:pt>
                <c:pt idx="2665">
                  <c:v>0</c:v>
                </c:pt>
                <c:pt idx="2666">
                  <c:v>0</c:v>
                </c:pt>
                <c:pt idx="2667">
                  <c:v>0</c:v>
                </c:pt>
                <c:pt idx="2668">
                  <c:v>0</c:v>
                </c:pt>
                <c:pt idx="2669">
                  <c:v>0</c:v>
                </c:pt>
                <c:pt idx="2670">
                  <c:v>0</c:v>
                </c:pt>
                <c:pt idx="2671">
                  <c:v>0</c:v>
                </c:pt>
                <c:pt idx="2672">
                  <c:v>0</c:v>
                </c:pt>
                <c:pt idx="2673">
                  <c:v>0</c:v>
                </c:pt>
                <c:pt idx="2674">
                  <c:v>0</c:v>
                </c:pt>
                <c:pt idx="2675">
                  <c:v>0</c:v>
                </c:pt>
                <c:pt idx="2676">
                  <c:v>0</c:v>
                </c:pt>
                <c:pt idx="2677">
                  <c:v>0</c:v>
                </c:pt>
                <c:pt idx="2678">
                  <c:v>0</c:v>
                </c:pt>
                <c:pt idx="2679">
                  <c:v>0</c:v>
                </c:pt>
                <c:pt idx="2680">
                  <c:v>0</c:v>
                </c:pt>
                <c:pt idx="2681">
                  <c:v>0</c:v>
                </c:pt>
                <c:pt idx="2682">
                  <c:v>0</c:v>
                </c:pt>
                <c:pt idx="2683">
                  <c:v>0</c:v>
                </c:pt>
                <c:pt idx="2684">
                  <c:v>0</c:v>
                </c:pt>
                <c:pt idx="2685">
                  <c:v>0</c:v>
                </c:pt>
                <c:pt idx="2686">
                  <c:v>0</c:v>
                </c:pt>
                <c:pt idx="2687">
                  <c:v>0</c:v>
                </c:pt>
                <c:pt idx="2688">
                  <c:v>0</c:v>
                </c:pt>
                <c:pt idx="2689">
                  <c:v>0</c:v>
                </c:pt>
                <c:pt idx="2690">
                  <c:v>0</c:v>
                </c:pt>
                <c:pt idx="2691">
                  <c:v>0</c:v>
                </c:pt>
                <c:pt idx="2692">
                  <c:v>0</c:v>
                </c:pt>
                <c:pt idx="2693">
                  <c:v>0</c:v>
                </c:pt>
                <c:pt idx="2694">
                  <c:v>0</c:v>
                </c:pt>
                <c:pt idx="2695">
                  <c:v>0</c:v>
                </c:pt>
                <c:pt idx="2696">
                  <c:v>0</c:v>
                </c:pt>
                <c:pt idx="2697">
                  <c:v>0</c:v>
                </c:pt>
                <c:pt idx="2698">
                  <c:v>0</c:v>
                </c:pt>
                <c:pt idx="2699">
                  <c:v>0</c:v>
                </c:pt>
                <c:pt idx="2700">
                  <c:v>0</c:v>
                </c:pt>
                <c:pt idx="2701">
                  <c:v>0</c:v>
                </c:pt>
                <c:pt idx="2702">
                  <c:v>0</c:v>
                </c:pt>
                <c:pt idx="2703">
                  <c:v>0</c:v>
                </c:pt>
                <c:pt idx="2704">
                  <c:v>0</c:v>
                </c:pt>
                <c:pt idx="2705">
                  <c:v>0</c:v>
                </c:pt>
                <c:pt idx="2706">
                  <c:v>0</c:v>
                </c:pt>
                <c:pt idx="2707">
                  <c:v>0</c:v>
                </c:pt>
                <c:pt idx="2708">
                  <c:v>0</c:v>
                </c:pt>
                <c:pt idx="2709">
                  <c:v>0</c:v>
                </c:pt>
                <c:pt idx="2710">
                  <c:v>0</c:v>
                </c:pt>
                <c:pt idx="2711">
                  <c:v>0</c:v>
                </c:pt>
                <c:pt idx="2712">
                  <c:v>0</c:v>
                </c:pt>
                <c:pt idx="2713">
                  <c:v>0</c:v>
                </c:pt>
                <c:pt idx="2714">
                  <c:v>0</c:v>
                </c:pt>
                <c:pt idx="2715">
                  <c:v>0</c:v>
                </c:pt>
                <c:pt idx="2716">
                  <c:v>0</c:v>
                </c:pt>
                <c:pt idx="2717">
                  <c:v>0</c:v>
                </c:pt>
                <c:pt idx="2718">
                  <c:v>0</c:v>
                </c:pt>
                <c:pt idx="2719">
                  <c:v>0</c:v>
                </c:pt>
                <c:pt idx="2720">
                  <c:v>0</c:v>
                </c:pt>
                <c:pt idx="2721">
                  <c:v>0</c:v>
                </c:pt>
                <c:pt idx="2722">
                  <c:v>0</c:v>
                </c:pt>
                <c:pt idx="2723">
                  <c:v>0</c:v>
                </c:pt>
                <c:pt idx="2724">
                  <c:v>0</c:v>
                </c:pt>
                <c:pt idx="2725">
                  <c:v>0</c:v>
                </c:pt>
                <c:pt idx="2726">
                  <c:v>0</c:v>
                </c:pt>
                <c:pt idx="2727">
                  <c:v>0</c:v>
                </c:pt>
                <c:pt idx="2728">
                  <c:v>0</c:v>
                </c:pt>
                <c:pt idx="2729">
                  <c:v>0</c:v>
                </c:pt>
                <c:pt idx="2730">
                  <c:v>0</c:v>
                </c:pt>
                <c:pt idx="2731">
                  <c:v>0</c:v>
                </c:pt>
                <c:pt idx="2732">
                  <c:v>0</c:v>
                </c:pt>
                <c:pt idx="2733">
                  <c:v>0</c:v>
                </c:pt>
                <c:pt idx="2734">
                  <c:v>0</c:v>
                </c:pt>
                <c:pt idx="2735">
                  <c:v>0</c:v>
                </c:pt>
                <c:pt idx="2736">
                  <c:v>0</c:v>
                </c:pt>
                <c:pt idx="2737">
                  <c:v>0</c:v>
                </c:pt>
                <c:pt idx="2738">
                  <c:v>0</c:v>
                </c:pt>
                <c:pt idx="2739">
                  <c:v>0</c:v>
                </c:pt>
                <c:pt idx="2740">
                  <c:v>0</c:v>
                </c:pt>
                <c:pt idx="2741">
                  <c:v>0</c:v>
                </c:pt>
                <c:pt idx="2742">
                  <c:v>0</c:v>
                </c:pt>
                <c:pt idx="2743">
                  <c:v>0</c:v>
                </c:pt>
                <c:pt idx="2744">
                  <c:v>0</c:v>
                </c:pt>
                <c:pt idx="2745">
                  <c:v>0</c:v>
                </c:pt>
                <c:pt idx="2746">
                  <c:v>0</c:v>
                </c:pt>
                <c:pt idx="2747">
                  <c:v>0</c:v>
                </c:pt>
                <c:pt idx="2748">
                  <c:v>0</c:v>
                </c:pt>
                <c:pt idx="2749">
                  <c:v>0</c:v>
                </c:pt>
                <c:pt idx="2750">
                  <c:v>0</c:v>
                </c:pt>
                <c:pt idx="2751">
                  <c:v>0</c:v>
                </c:pt>
                <c:pt idx="2752">
                  <c:v>0</c:v>
                </c:pt>
                <c:pt idx="2753">
                  <c:v>0</c:v>
                </c:pt>
                <c:pt idx="2754">
                  <c:v>0</c:v>
                </c:pt>
                <c:pt idx="2755">
                  <c:v>0</c:v>
                </c:pt>
                <c:pt idx="2756">
                  <c:v>0</c:v>
                </c:pt>
                <c:pt idx="2757">
                  <c:v>0</c:v>
                </c:pt>
                <c:pt idx="2758">
                  <c:v>0</c:v>
                </c:pt>
                <c:pt idx="2759">
                  <c:v>0</c:v>
                </c:pt>
                <c:pt idx="2760">
                  <c:v>0</c:v>
                </c:pt>
                <c:pt idx="2761">
                  <c:v>0</c:v>
                </c:pt>
                <c:pt idx="2762">
                  <c:v>0</c:v>
                </c:pt>
                <c:pt idx="2763">
                  <c:v>0</c:v>
                </c:pt>
                <c:pt idx="2764">
                  <c:v>0</c:v>
                </c:pt>
                <c:pt idx="2765">
                  <c:v>0</c:v>
                </c:pt>
                <c:pt idx="2766">
                  <c:v>0</c:v>
                </c:pt>
                <c:pt idx="2767">
                  <c:v>0</c:v>
                </c:pt>
                <c:pt idx="2768">
                  <c:v>0</c:v>
                </c:pt>
                <c:pt idx="2769">
                  <c:v>0</c:v>
                </c:pt>
                <c:pt idx="2770">
                  <c:v>0</c:v>
                </c:pt>
                <c:pt idx="2771">
                  <c:v>0</c:v>
                </c:pt>
                <c:pt idx="2772">
                  <c:v>0</c:v>
                </c:pt>
                <c:pt idx="2773">
                  <c:v>0</c:v>
                </c:pt>
                <c:pt idx="2774">
                  <c:v>0</c:v>
                </c:pt>
                <c:pt idx="2775">
                  <c:v>0</c:v>
                </c:pt>
                <c:pt idx="2776">
                  <c:v>0</c:v>
                </c:pt>
                <c:pt idx="2777">
                  <c:v>0</c:v>
                </c:pt>
                <c:pt idx="2778">
                  <c:v>0</c:v>
                </c:pt>
                <c:pt idx="2779">
                  <c:v>0</c:v>
                </c:pt>
                <c:pt idx="2780">
                  <c:v>0</c:v>
                </c:pt>
                <c:pt idx="2781">
                  <c:v>0</c:v>
                </c:pt>
                <c:pt idx="2782">
                  <c:v>0</c:v>
                </c:pt>
                <c:pt idx="2783">
                  <c:v>0</c:v>
                </c:pt>
                <c:pt idx="2784">
                  <c:v>0</c:v>
                </c:pt>
                <c:pt idx="2785">
                  <c:v>0</c:v>
                </c:pt>
                <c:pt idx="2786">
                  <c:v>0</c:v>
                </c:pt>
                <c:pt idx="2787">
                  <c:v>0</c:v>
                </c:pt>
                <c:pt idx="2788">
                  <c:v>0</c:v>
                </c:pt>
                <c:pt idx="2789">
                  <c:v>0</c:v>
                </c:pt>
                <c:pt idx="2790">
                  <c:v>0</c:v>
                </c:pt>
                <c:pt idx="2791">
                  <c:v>0</c:v>
                </c:pt>
                <c:pt idx="2792">
                  <c:v>0</c:v>
                </c:pt>
                <c:pt idx="2793">
                  <c:v>0</c:v>
                </c:pt>
                <c:pt idx="2794">
                  <c:v>0</c:v>
                </c:pt>
                <c:pt idx="2795">
                  <c:v>0</c:v>
                </c:pt>
                <c:pt idx="2796">
                  <c:v>0</c:v>
                </c:pt>
                <c:pt idx="2797">
                  <c:v>0</c:v>
                </c:pt>
                <c:pt idx="2798">
                  <c:v>0</c:v>
                </c:pt>
                <c:pt idx="2799">
                  <c:v>0</c:v>
                </c:pt>
                <c:pt idx="2800">
                  <c:v>0</c:v>
                </c:pt>
                <c:pt idx="2801">
                  <c:v>0</c:v>
                </c:pt>
                <c:pt idx="2802">
                  <c:v>0</c:v>
                </c:pt>
                <c:pt idx="2803">
                  <c:v>0</c:v>
                </c:pt>
                <c:pt idx="2804">
                  <c:v>0</c:v>
                </c:pt>
                <c:pt idx="2805">
                  <c:v>0</c:v>
                </c:pt>
                <c:pt idx="2806">
                  <c:v>0</c:v>
                </c:pt>
                <c:pt idx="2807">
                  <c:v>0</c:v>
                </c:pt>
                <c:pt idx="2808">
                  <c:v>0</c:v>
                </c:pt>
                <c:pt idx="2809">
                  <c:v>0</c:v>
                </c:pt>
                <c:pt idx="2810">
                  <c:v>0</c:v>
                </c:pt>
                <c:pt idx="2811">
                  <c:v>0</c:v>
                </c:pt>
                <c:pt idx="2812">
                  <c:v>0</c:v>
                </c:pt>
                <c:pt idx="2813">
                  <c:v>0</c:v>
                </c:pt>
                <c:pt idx="2814">
                  <c:v>0</c:v>
                </c:pt>
                <c:pt idx="2815">
                  <c:v>0</c:v>
                </c:pt>
                <c:pt idx="2816">
                  <c:v>0</c:v>
                </c:pt>
                <c:pt idx="2817">
                  <c:v>0</c:v>
                </c:pt>
                <c:pt idx="2818">
                  <c:v>0</c:v>
                </c:pt>
                <c:pt idx="2819">
                  <c:v>0</c:v>
                </c:pt>
                <c:pt idx="2820">
                  <c:v>0</c:v>
                </c:pt>
                <c:pt idx="2821">
                  <c:v>0</c:v>
                </c:pt>
                <c:pt idx="2822">
                  <c:v>0</c:v>
                </c:pt>
                <c:pt idx="2823">
                  <c:v>0</c:v>
                </c:pt>
                <c:pt idx="2824">
                  <c:v>0</c:v>
                </c:pt>
                <c:pt idx="2825">
                  <c:v>0</c:v>
                </c:pt>
                <c:pt idx="2826">
                  <c:v>0</c:v>
                </c:pt>
                <c:pt idx="2827">
                  <c:v>0</c:v>
                </c:pt>
                <c:pt idx="2828">
                  <c:v>0</c:v>
                </c:pt>
                <c:pt idx="2829">
                  <c:v>0</c:v>
                </c:pt>
                <c:pt idx="2830">
                  <c:v>0</c:v>
                </c:pt>
                <c:pt idx="2831">
                  <c:v>0</c:v>
                </c:pt>
                <c:pt idx="2832">
                  <c:v>0</c:v>
                </c:pt>
                <c:pt idx="2833">
                  <c:v>0</c:v>
                </c:pt>
                <c:pt idx="2834">
                  <c:v>0</c:v>
                </c:pt>
                <c:pt idx="2835">
                  <c:v>0</c:v>
                </c:pt>
                <c:pt idx="2836">
                  <c:v>0</c:v>
                </c:pt>
                <c:pt idx="2837">
                  <c:v>0</c:v>
                </c:pt>
                <c:pt idx="2838">
                  <c:v>0</c:v>
                </c:pt>
                <c:pt idx="2839">
                  <c:v>0</c:v>
                </c:pt>
                <c:pt idx="2840">
                  <c:v>0</c:v>
                </c:pt>
                <c:pt idx="2841">
                  <c:v>0</c:v>
                </c:pt>
                <c:pt idx="2842">
                  <c:v>0</c:v>
                </c:pt>
                <c:pt idx="2843">
                  <c:v>0</c:v>
                </c:pt>
                <c:pt idx="2844">
                  <c:v>0</c:v>
                </c:pt>
                <c:pt idx="2845">
                  <c:v>0</c:v>
                </c:pt>
                <c:pt idx="2846">
                  <c:v>0</c:v>
                </c:pt>
                <c:pt idx="2847">
                  <c:v>0</c:v>
                </c:pt>
                <c:pt idx="2848">
                  <c:v>0</c:v>
                </c:pt>
                <c:pt idx="2849">
                  <c:v>0</c:v>
                </c:pt>
                <c:pt idx="2850">
                  <c:v>0</c:v>
                </c:pt>
                <c:pt idx="2851">
                  <c:v>0</c:v>
                </c:pt>
                <c:pt idx="2852">
                  <c:v>0</c:v>
                </c:pt>
                <c:pt idx="2853">
                  <c:v>0</c:v>
                </c:pt>
                <c:pt idx="2854">
                  <c:v>0</c:v>
                </c:pt>
                <c:pt idx="2855">
                  <c:v>0</c:v>
                </c:pt>
                <c:pt idx="2856">
                  <c:v>0</c:v>
                </c:pt>
                <c:pt idx="2857">
                  <c:v>0</c:v>
                </c:pt>
                <c:pt idx="2858">
                  <c:v>0</c:v>
                </c:pt>
                <c:pt idx="2859">
                  <c:v>0</c:v>
                </c:pt>
                <c:pt idx="2860">
                  <c:v>0</c:v>
                </c:pt>
                <c:pt idx="2861">
                  <c:v>0</c:v>
                </c:pt>
                <c:pt idx="2862">
                  <c:v>0</c:v>
                </c:pt>
                <c:pt idx="2863">
                  <c:v>0</c:v>
                </c:pt>
                <c:pt idx="2864">
                  <c:v>0</c:v>
                </c:pt>
                <c:pt idx="2865">
                  <c:v>0</c:v>
                </c:pt>
                <c:pt idx="2866">
                  <c:v>0</c:v>
                </c:pt>
                <c:pt idx="2867">
                  <c:v>0</c:v>
                </c:pt>
                <c:pt idx="2868">
                  <c:v>0</c:v>
                </c:pt>
                <c:pt idx="2869">
                  <c:v>0</c:v>
                </c:pt>
                <c:pt idx="2870">
                  <c:v>0</c:v>
                </c:pt>
                <c:pt idx="2871">
                  <c:v>0</c:v>
                </c:pt>
                <c:pt idx="2872">
                  <c:v>0</c:v>
                </c:pt>
                <c:pt idx="2873">
                  <c:v>0</c:v>
                </c:pt>
                <c:pt idx="2874">
                  <c:v>0</c:v>
                </c:pt>
                <c:pt idx="2875">
                  <c:v>0</c:v>
                </c:pt>
                <c:pt idx="2876">
                  <c:v>0</c:v>
                </c:pt>
                <c:pt idx="2877">
                  <c:v>0</c:v>
                </c:pt>
                <c:pt idx="2878">
                  <c:v>0</c:v>
                </c:pt>
                <c:pt idx="2879">
                  <c:v>0</c:v>
                </c:pt>
                <c:pt idx="2880">
                  <c:v>0</c:v>
                </c:pt>
                <c:pt idx="2881">
                  <c:v>0</c:v>
                </c:pt>
                <c:pt idx="2882">
                  <c:v>0</c:v>
                </c:pt>
                <c:pt idx="2883">
                  <c:v>0</c:v>
                </c:pt>
                <c:pt idx="2884">
                  <c:v>0</c:v>
                </c:pt>
                <c:pt idx="2885">
                  <c:v>0</c:v>
                </c:pt>
                <c:pt idx="2886">
                  <c:v>0</c:v>
                </c:pt>
                <c:pt idx="2887">
                  <c:v>0</c:v>
                </c:pt>
                <c:pt idx="2888">
                  <c:v>0</c:v>
                </c:pt>
                <c:pt idx="2889">
                  <c:v>0</c:v>
                </c:pt>
                <c:pt idx="2890">
                  <c:v>0</c:v>
                </c:pt>
                <c:pt idx="2891">
                  <c:v>0</c:v>
                </c:pt>
                <c:pt idx="2892">
                  <c:v>0</c:v>
                </c:pt>
                <c:pt idx="2893">
                  <c:v>0</c:v>
                </c:pt>
                <c:pt idx="2894">
                  <c:v>0</c:v>
                </c:pt>
                <c:pt idx="2895">
                  <c:v>0</c:v>
                </c:pt>
                <c:pt idx="2896">
                  <c:v>0</c:v>
                </c:pt>
                <c:pt idx="2897">
                  <c:v>0</c:v>
                </c:pt>
                <c:pt idx="2898">
                  <c:v>0</c:v>
                </c:pt>
                <c:pt idx="2899">
                  <c:v>0</c:v>
                </c:pt>
                <c:pt idx="2900">
                  <c:v>0</c:v>
                </c:pt>
                <c:pt idx="2901">
                  <c:v>0</c:v>
                </c:pt>
                <c:pt idx="2902">
                  <c:v>0</c:v>
                </c:pt>
                <c:pt idx="2903">
                  <c:v>0</c:v>
                </c:pt>
                <c:pt idx="2904">
                  <c:v>0</c:v>
                </c:pt>
                <c:pt idx="2905">
                  <c:v>0</c:v>
                </c:pt>
                <c:pt idx="2906">
                  <c:v>0</c:v>
                </c:pt>
                <c:pt idx="2907">
                  <c:v>0</c:v>
                </c:pt>
                <c:pt idx="2908">
                  <c:v>0</c:v>
                </c:pt>
                <c:pt idx="2909">
                  <c:v>0</c:v>
                </c:pt>
                <c:pt idx="2910">
                  <c:v>0</c:v>
                </c:pt>
                <c:pt idx="2911">
                  <c:v>0</c:v>
                </c:pt>
                <c:pt idx="2912">
                  <c:v>0</c:v>
                </c:pt>
                <c:pt idx="2913">
                  <c:v>0</c:v>
                </c:pt>
                <c:pt idx="2914">
                  <c:v>0</c:v>
                </c:pt>
                <c:pt idx="2915">
                  <c:v>0</c:v>
                </c:pt>
                <c:pt idx="2916">
                  <c:v>0</c:v>
                </c:pt>
                <c:pt idx="2917">
                  <c:v>0</c:v>
                </c:pt>
                <c:pt idx="2918">
                  <c:v>0</c:v>
                </c:pt>
                <c:pt idx="2919">
                  <c:v>0</c:v>
                </c:pt>
                <c:pt idx="2920">
                  <c:v>0</c:v>
                </c:pt>
                <c:pt idx="2921">
                  <c:v>0</c:v>
                </c:pt>
                <c:pt idx="2922">
                  <c:v>0</c:v>
                </c:pt>
                <c:pt idx="2923">
                  <c:v>0</c:v>
                </c:pt>
                <c:pt idx="2924">
                  <c:v>0</c:v>
                </c:pt>
                <c:pt idx="2925">
                  <c:v>0</c:v>
                </c:pt>
                <c:pt idx="2926">
                  <c:v>0</c:v>
                </c:pt>
                <c:pt idx="2927">
                  <c:v>0</c:v>
                </c:pt>
                <c:pt idx="2928">
                  <c:v>0</c:v>
                </c:pt>
                <c:pt idx="2929">
                  <c:v>0</c:v>
                </c:pt>
                <c:pt idx="2930">
                  <c:v>0</c:v>
                </c:pt>
                <c:pt idx="2931">
                  <c:v>0</c:v>
                </c:pt>
                <c:pt idx="2932">
                  <c:v>0</c:v>
                </c:pt>
                <c:pt idx="2933">
                  <c:v>0</c:v>
                </c:pt>
                <c:pt idx="2934">
                  <c:v>0</c:v>
                </c:pt>
                <c:pt idx="2935">
                  <c:v>0</c:v>
                </c:pt>
                <c:pt idx="2936">
                  <c:v>0</c:v>
                </c:pt>
                <c:pt idx="2937">
                  <c:v>0</c:v>
                </c:pt>
                <c:pt idx="2938">
                  <c:v>0</c:v>
                </c:pt>
                <c:pt idx="2939">
                  <c:v>0</c:v>
                </c:pt>
                <c:pt idx="2940">
                  <c:v>0</c:v>
                </c:pt>
                <c:pt idx="2941">
                  <c:v>0</c:v>
                </c:pt>
                <c:pt idx="2942">
                  <c:v>0</c:v>
                </c:pt>
                <c:pt idx="2943">
                  <c:v>0</c:v>
                </c:pt>
                <c:pt idx="2944">
                  <c:v>0</c:v>
                </c:pt>
                <c:pt idx="2945">
                  <c:v>0</c:v>
                </c:pt>
                <c:pt idx="2946">
                  <c:v>0</c:v>
                </c:pt>
                <c:pt idx="2947">
                  <c:v>0</c:v>
                </c:pt>
                <c:pt idx="2948">
                  <c:v>0</c:v>
                </c:pt>
                <c:pt idx="2949">
                  <c:v>0</c:v>
                </c:pt>
                <c:pt idx="2950">
                  <c:v>0</c:v>
                </c:pt>
                <c:pt idx="2951">
                  <c:v>0</c:v>
                </c:pt>
                <c:pt idx="2952">
                  <c:v>0</c:v>
                </c:pt>
                <c:pt idx="2953">
                  <c:v>0</c:v>
                </c:pt>
                <c:pt idx="2954">
                  <c:v>0</c:v>
                </c:pt>
                <c:pt idx="2955">
                  <c:v>0</c:v>
                </c:pt>
                <c:pt idx="2956">
                  <c:v>0</c:v>
                </c:pt>
                <c:pt idx="2957">
                  <c:v>0</c:v>
                </c:pt>
                <c:pt idx="2958">
                  <c:v>0</c:v>
                </c:pt>
                <c:pt idx="2959">
                  <c:v>0</c:v>
                </c:pt>
                <c:pt idx="2960">
                  <c:v>0</c:v>
                </c:pt>
                <c:pt idx="2961">
                  <c:v>0</c:v>
                </c:pt>
                <c:pt idx="2962">
                  <c:v>0</c:v>
                </c:pt>
                <c:pt idx="2963">
                  <c:v>0</c:v>
                </c:pt>
                <c:pt idx="2964">
                  <c:v>0</c:v>
                </c:pt>
                <c:pt idx="2965">
                  <c:v>0</c:v>
                </c:pt>
                <c:pt idx="2966">
                  <c:v>0</c:v>
                </c:pt>
                <c:pt idx="2967">
                  <c:v>0</c:v>
                </c:pt>
                <c:pt idx="2968">
                  <c:v>0</c:v>
                </c:pt>
                <c:pt idx="2969">
                  <c:v>0</c:v>
                </c:pt>
                <c:pt idx="2970">
                  <c:v>0</c:v>
                </c:pt>
                <c:pt idx="2971">
                  <c:v>0</c:v>
                </c:pt>
                <c:pt idx="2972">
                  <c:v>0</c:v>
                </c:pt>
                <c:pt idx="2973">
                  <c:v>0</c:v>
                </c:pt>
                <c:pt idx="2974">
                  <c:v>0</c:v>
                </c:pt>
                <c:pt idx="2975">
                  <c:v>0</c:v>
                </c:pt>
                <c:pt idx="2976">
                  <c:v>0</c:v>
                </c:pt>
                <c:pt idx="2977">
                  <c:v>0</c:v>
                </c:pt>
                <c:pt idx="2978">
                  <c:v>0</c:v>
                </c:pt>
                <c:pt idx="2979">
                  <c:v>0</c:v>
                </c:pt>
                <c:pt idx="2980">
                  <c:v>0</c:v>
                </c:pt>
                <c:pt idx="2981">
                  <c:v>0</c:v>
                </c:pt>
                <c:pt idx="2982">
                  <c:v>0</c:v>
                </c:pt>
                <c:pt idx="2983">
                  <c:v>0</c:v>
                </c:pt>
                <c:pt idx="2984">
                  <c:v>0</c:v>
                </c:pt>
                <c:pt idx="2985">
                  <c:v>0</c:v>
                </c:pt>
                <c:pt idx="2986">
                  <c:v>0</c:v>
                </c:pt>
                <c:pt idx="2987">
                  <c:v>0</c:v>
                </c:pt>
                <c:pt idx="2988">
                  <c:v>0</c:v>
                </c:pt>
                <c:pt idx="2989">
                  <c:v>0</c:v>
                </c:pt>
                <c:pt idx="2990">
                  <c:v>0</c:v>
                </c:pt>
                <c:pt idx="2991">
                  <c:v>0</c:v>
                </c:pt>
                <c:pt idx="2992">
                  <c:v>0</c:v>
                </c:pt>
                <c:pt idx="2993">
                  <c:v>0</c:v>
                </c:pt>
                <c:pt idx="2994">
                  <c:v>0</c:v>
                </c:pt>
                <c:pt idx="2995">
                  <c:v>0</c:v>
                </c:pt>
                <c:pt idx="2996">
                  <c:v>0</c:v>
                </c:pt>
                <c:pt idx="2997">
                  <c:v>0</c:v>
                </c:pt>
                <c:pt idx="2998">
                  <c:v>0</c:v>
                </c:pt>
                <c:pt idx="2999">
                  <c:v>0</c:v>
                </c:pt>
                <c:pt idx="3000">
                  <c:v>0</c:v>
                </c:pt>
                <c:pt idx="3001">
                  <c:v>0</c:v>
                </c:pt>
                <c:pt idx="3002">
                  <c:v>0</c:v>
                </c:pt>
                <c:pt idx="3003">
                  <c:v>0</c:v>
                </c:pt>
                <c:pt idx="3004">
                  <c:v>0</c:v>
                </c:pt>
                <c:pt idx="3005">
                  <c:v>0</c:v>
                </c:pt>
                <c:pt idx="3006">
                  <c:v>0</c:v>
                </c:pt>
                <c:pt idx="3007">
                  <c:v>0</c:v>
                </c:pt>
                <c:pt idx="3008">
                  <c:v>0</c:v>
                </c:pt>
                <c:pt idx="3009">
                  <c:v>0</c:v>
                </c:pt>
                <c:pt idx="3010">
                  <c:v>0</c:v>
                </c:pt>
                <c:pt idx="3011">
                  <c:v>0</c:v>
                </c:pt>
                <c:pt idx="3012">
                  <c:v>0</c:v>
                </c:pt>
                <c:pt idx="3013">
                  <c:v>0</c:v>
                </c:pt>
                <c:pt idx="3014">
                  <c:v>0</c:v>
                </c:pt>
                <c:pt idx="3015">
                  <c:v>0</c:v>
                </c:pt>
                <c:pt idx="3016">
                  <c:v>0</c:v>
                </c:pt>
                <c:pt idx="3017">
                  <c:v>0</c:v>
                </c:pt>
                <c:pt idx="3018">
                  <c:v>0</c:v>
                </c:pt>
                <c:pt idx="3019">
                  <c:v>0</c:v>
                </c:pt>
                <c:pt idx="3020">
                  <c:v>0</c:v>
                </c:pt>
                <c:pt idx="3021">
                  <c:v>0</c:v>
                </c:pt>
                <c:pt idx="3022">
                  <c:v>0</c:v>
                </c:pt>
                <c:pt idx="3023">
                  <c:v>0</c:v>
                </c:pt>
                <c:pt idx="3024">
                  <c:v>0</c:v>
                </c:pt>
                <c:pt idx="3025">
                  <c:v>0</c:v>
                </c:pt>
                <c:pt idx="3026">
                  <c:v>0</c:v>
                </c:pt>
                <c:pt idx="3027">
                  <c:v>0</c:v>
                </c:pt>
                <c:pt idx="3028">
                  <c:v>0</c:v>
                </c:pt>
                <c:pt idx="3029">
                  <c:v>0</c:v>
                </c:pt>
                <c:pt idx="3030">
                  <c:v>0</c:v>
                </c:pt>
                <c:pt idx="3031">
                  <c:v>0</c:v>
                </c:pt>
                <c:pt idx="3032">
                  <c:v>0</c:v>
                </c:pt>
                <c:pt idx="3033">
                  <c:v>0</c:v>
                </c:pt>
                <c:pt idx="3034">
                  <c:v>0</c:v>
                </c:pt>
                <c:pt idx="3035">
                  <c:v>0</c:v>
                </c:pt>
                <c:pt idx="3036">
                  <c:v>0</c:v>
                </c:pt>
                <c:pt idx="3037">
                  <c:v>0</c:v>
                </c:pt>
                <c:pt idx="3038">
                  <c:v>0</c:v>
                </c:pt>
                <c:pt idx="3039">
                  <c:v>0</c:v>
                </c:pt>
                <c:pt idx="3040">
                  <c:v>0</c:v>
                </c:pt>
                <c:pt idx="3041">
                  <c:v>0</c:v>
                </c:pt>
                <c:pt idx="3042">
                  <c:v>0</c:v>
                </c:pt>
                <c:pt idx="3043">
                  <c:v>0</c:v>
                </c:pt>
                <c:pt idx="3044">
                  <c:v>0</c:v>
                </c:pt>
                <c:pt idx="3045">
                  <c:v>0</c:v>
                </c:pt>
                <c:pt idx="3046">
                  <c:v>0</c:v>
                </c:pt>
                <c:pt idx="3047">
                  <c:v>0</c:v>
                </c:pt>
                <c:pt idx="3048">
                  <c:v>0</c:v>
                </c:pt>
                <c:pt idx="3049">
                  <c:v>0</c:v>
                </c:pt>
                <c:pt idx="3050">
                  <c:v>0</c:v>
                </c:pt>
                <c:pt idx="3051">
                  <c:v>0</c:v>
                </c:pt>
                <c:pt idx="3052">
                  <c:v>0</c:v>
                </c:pt>
                <c:pt idx="3053">
                  <c:v>0</c:v>
                </c:pt>
                <c:pt idx="3054">
                  <c:v>0</c:v>
                </c:pt>
                <c:pt idx="3055">
                  <c:v>0</c:v>
                </c:pt>
                <c:pt idx="3056">
                  <c:v>0</c:v>
                </c:pt>
                <c:pt idx="3057">
                  <c:v>0</c:v>
                </c:pt>
                <c:pt idx="3058">
                  <c:v>0</c:v>
                </c:pt>
                <c:pt idx="3059">
                  <c:v>0</c:v>
                </c:pt>
                <c:pt idx="3060">
                  <c:v>0</c:v>
                </c:pt>
                <c:pt idx="3061">
                  <c:v>0</c:v>
                </c:pt>
                <c:pt idx="3062">
                  <c:v>0</c:v>
                </c:pt>
                <c:pt idx="3063">
                  <c:v>0</c:v>
                </c:pt>
                <c:pt idx="3064">
                  <c:v>0</c:v>
                </c:pt>
                <c:pt idx="3065">
                  <c:v>0</c:v>
                </c:pt>
                <c:pt idx="3066">
                  <c:v>0</c:v>
                </c:pt>
                <c:pt idx="3067">
                  <c:v>0</c:v>
                </c:pt>
                <c:pt idx="3068">
                  <c:v>0</c:v>
                </c:pt>
                <c:pt idx="3069">
                  <c:v>0</c:v>
                </c:pt>
                <c:pt idx="3070">
                  <c:v>0</c:v>
                </c:pt>
                <c:pt idx="3071">
                  <c:v>0</c:v>
                </c:pt>
                <c:pt idx="3072">
                  <c:v>0</c:v>
                </c:pt>
                <c:pt idx="3073">
                  <c:v>0</c:v>
                </c:pt>
                <c:pt idx="3074">
                  <c:v>0</c:v>
                </c:pt>
                <c:pt idx="3075">
                  <c:v>0</c:v>
                </c:pt>
                <c:pt idx="3076">
                  <c:v>0</c:v>
                </c:pt>
                <c:pt idx="3077">
                  <c:v>0</c:v>
                </c:pt>
                <c:pt idx="3078">
                  <c:v>0</c:v>
                </c:pt>
                <c:pt idx="3079">
                  <c:v>0</c:v>
                </c:pt>
                <c:pt idx="3080">
                  <c:v>0</c:v>
                </c:pt>
                <c:pt idx="3081">
                  <c:v>0</c:v>
                </c:pt>
                <c:pt idx="3082">
                  <c:v>0</c:v>
                </c:pt>
                <c:pt idx="3083">
                  <c:v>0</c:v>
                </c:pt>
                <c:pt idx="3084">
                  <c:v>0</c:v>
                </c:pt>
                <c:pt idx="3085">
                  <c:v>0</c:v>
                </c:pt>
                <c:pt idx="3086">
                  <c:v>0</c:v>
                </c:pt>
                <c:pt idx="3087">
                  <c:v>0</c:v>
                </c:pt>
                <c:pt idx="3088">
                  <c:v>0</c:v>
                </c:pt>
                <c:pt idx="3089">
                  <c:v>0</c:v>
                </c:pt>
                <c:pt idx="3090">
                  <c:v>0</c:v>
                </c:pt>
                <c:pt idx="3091">
                  <c:v>0</c:v>
                </c:pt>
                <c:pt idx="3092">
                  <c:v>0</c:v>
                </c:pt>
                <c:pt idx="3093">
                  <c:v>0</c:v>
                </c:pt>
                <c:pt idx="3094">
                  <c:v>0</c:v>
                </c:pt>
                <c:pt idx="3095">
                  <c:v>0</c:v>
                </c:pt>
                <c:pt idx="3096">
                  <c:v>0</c:v>
                </c:pt>
                <c:pt idx="3097">
                  <c:v>0</c:v>
                </c:pt>
                <c:pt idx="3098">
                  <c:v>0</c:v>
                </c:pt>
                <c:pt idx="3099">
                  <c:v>0</c:v>
                </c:pt>
                <c:pt idx="3100">
                  <c:v>0</c:v>
                </c:pt>
                <c:pt idx="3101">
                  <c:v>0</c:v>
                </c:pt>
                <c:pt idx="3102">
                  <c:v>0</c:v>
                </c:pt>
                <c:pt idx="3103">
                  <c:v>0</c:v>
                </c:pt>
                <c:pt idx="3104">
                  <c:v>0</c:v>
                </c:pt>
                <c:pt idx="3105">
                  <c:v>0</c:v>
                </c:pt>
                <c:pt idx="3106">
                  <c:v>0</c:v>
                </c:pt>
                <c:pt idx="3107">
                  <c:v>0</c:v>
                </c:pt>
                <c:pt idx="3108">
                  <c:v>0</c:v>
                </c:pt>
                <c:pt idx="3109">
                  <c:v>0</c:v>
                </c:pt>
                <c:pt idx="3110">
                  <c:v>0</c:v>
                </c:pt>
                <c:pt idx="3111">
                  <c:v>0</c:v>
                </c:pt>
                <c:pt idx="3112">
                  <c:v>0</c:v>
                </c:pt>
                <c:pt idx="3113">
                  <c:v>0</c:v>
                </c:pt>
                <c:pt idx="3114">
                  <c:v>0</c:v>
                </c:pt>
                <c:pt idx="3115">
                  <c:v>0</c:v>
                </c:pt>
                <c:pt idx="3116">
                  <c:v>0</c:v>
                </c:pt>
                <c:pt idx="3117">
                  <c:v>0</c:v>
                </c:pt>
                <c:pt idx="3118">
                  <c:v>0</c:v>
                </c:pt>
                <c:pt idx="3119">
                  <c:v>0</c:v>
                </c:pt>
                <c:pt idx="3120">
                  <c:v>0</c:v>
                </c:pt>
                <c:pt idx="3121">
                  <c:v>0</c:v>
                </c:pt>
                <c:pt idx="3122">
                  <c:v>0</c:v>
                </c:pt>
                <c:pt idx="3123">
                  <c:v>0</c:v>
                </c:pt>
                <c:pt idx="3124">
                  <c:v>0</c:v>
                </c:pt>
                <c:pt idx="3125">
                  <c:v>0</c:v>
                </c:pt>
                <c:pt idx="3126">
                  <c:v>0</c:v>
                </c:pt>
                <c:pt idx="3127">
                  <c:v>0</c:v>
                </c:pt>
                <c:pt idx="3128">
                  <c:v>0</c:v>
                </c:pt>
                <c:pt idx="3129">
                  <c:v>0</c:v>
                </c:pt>
                <c:pt idx="3130">
                  <c:v>0</c:v>
                </c:pt>
                <c:pt idx="3131">
                  <c:v>0</c:v>
                </c:pt>
                <c:pt idx="3132">
                  <c:v>0</c:v>
                </c:pt>
                <c:pt idx="3133">
                  <c:v>0</c:v>
                </c:pt>
                <c:pt idx="3134">
                  <c:v>0</c:v>
                </c:pt>
                <c:pt idx="3135">
                  <c:v>0</c:v>
                </c:pt>
                <c:pt idx="3136">
                  <c:v>0</c:v>
                </c:pt>
                <c:pt idx="3137">
                  <c:v>0</c:v>
                </c:pt>
                <c:pt idx="3138">
                  <c:v>0</c:v>
                </c:pt>
                <c:pt idx="3139">
                  <c:v>0</c:v>
                </c:pt>
                <c:pt idx="3140">
                  <c:v>0</c:v>
                </c:pt>
                <c:pt idx="3141">
                  <c:v>0</c:v>
                </c:pt>
                <c:pt idx="3142">
                  <c:v>0</c:v>
                </c:pt>
                <c:pt idx="3143">
                  <c:v>0</c:v>
                </c:pt>
                <c:pt idx="3144">
                  <c:v>0</c:v>
                </c:pt>
                <c:pt idx="3145">
                  <c:v>0</c:v>
                </c:pt>
                <c:pt idx="3146">
                  <c:v>0</c:v>
                </c:pt>
                <c:pt idx="3147">
                  <c:v>0</c:v>
                </c:pt>
                <c:pt idx="3148">
                  <c:v>0</c:v>
                </c:pt>
                <c:pt idx="3149">
                  <c:v>0</c:v>
                </c:pt>
                <c:pt idx="3150">
                  <c:v>0</c:v>
                </c:pt>
                <c:pt idx="3151">
                  <c:v>0</c:v>
                </c:pt>
                <c:pt idx="3152">
                  <c:v>0</c:v>
                </c:pt>
                <c:pt idx="3153">
                  <c:v>0</c:v>
                </c:pt>
                <c:pt idx="3154">
                  <c:v>0</c:v>
                </c:pt>
                <c:pt idx="3155">
                  <c:v>0</c:v>
                </c:pt>
                <c:pt idx="3156">
                  <c:v>0</c:v>
                </c:pt>
                <c:pt idx="3157">
                  <c:v>0</c:v>
                </c:pt>
                <c:pt idx="3158">
                  <c:v>0</c:v>
                </c:pt>
                <c:pt idx="3159">
                  <c:v>0</c:v>
                </c:pt>
                <c:pt idx="3160">
                  <c:v>0</c:v>
                </c:pt>
                <c:pt idx="3161">
                  <c:v>0</c:v>
                </c:pt>
                <c:pt idx="3162">
                  <c:v>0</c:v>
                </c:pt>
                <c:pt idx="3163">
                  <c:v>0</c:v>
                </c:pt>
                <c:pt idx="3164">
                  <c:v>0</c:v>
                </c:pt>
                <c:pt idx="3165">
                  <c:v>0</c:v>
                </c:pt>
                <c:pt idx="3166">
                  <c:v>0</c:v>
                </c:pt>
                <c:pt idx="3167">
                  <c:v>0</c:v>
                </c:pt>
                <c:pt idx="3168">
                  <c:v>0</c:v>
                </c:pt>
                <c:pt idx="3169">
                  <c:v>0</c:v>
                </c:pt>
                <c:pt idx="3170">
                  <c:v>0</c:v>
                </c:pt>
                <c:pt idx="3171">
                  <c:v>0</c:v>
                </c:pt>
                <c:pt idx="3172">
                  <c:v>0</c:v>
                </c:pt>
                <c:pt idx="3173">
                  <c:v>0</c:v>
                </c:pt>
                <c:pt idx="3174">
                  <c:v>0</c:v>
                </c:pt>
                <c:pt idx="3175">
                  <c:v>0</c:v>
                </c:pt>
                <c:pt idx="3176">
                  <c:v>0</c:v>
                </c:pt>
                <c:pt idx="3177">
                  <c:v>0</c:v>
                </c:pt>
                <c:pt idx="3178">
                  <c:v>0</c:v>
                </c:pt>
                <c:pt idx="3179">
                  <c:v>0</c:v>
                </c:pt>
                <c:pt idx="3180">
                  <c:v>0</c:v>
                </c:pt>
                <c:pt idx="3181">
                  <c:v>0</c:v>
                </c:pt>
                <c:pt idx="3182">
                  <c:v>0</c:v>
                </c:pt>
                <c:pt idx="3183">
                  <c:v>0</c:v>
                </c:pt>
                <c:pt idx="3184">
                  <c:v>0</c:v>
                </c:pt>
                <c:pt idx="3185">
                  <c:v>0</c:v>
                </c:pt>
                <c:pt idx="3186">
                  <c:v>0</c:v>
                </c:pt>
                <c:pt idx="3187">
                  <c:v>0</c:v>
                </c:pt>
                <c:pt idx="3188">
                  <c:v>0</c:v>
                </c:pt>
                <c:pt idx="3189">
                  <c:v>0</c:v>
                </c:pt>
                <c:pt idx="3190">
                  <c:v>0</c:v>
                </c:pt>
                <c:pt idx="3191">
                  <c:v>0</c:v>
                </c:pt>
                <c:pt idx="3192">
                  <c:v>0</c:v>
                </c:pt>
                <c:pt idx="3193">
                  <c:v>0</c:v>
                </c:pt>
                <c:pt idx="3194">
                  <c:v>0</c:v>
                </c:pt>
                <c:pt idx="3195">
                  <c:v>0</c:v>
                </c:pt>
                <c:pt idx="3196">
                  <c:v>0</c:v>
                </c:pt>
                <c:pt idx="3197">
                  <c:v>0</c:v>
                </c:pt>
                <c:pt idx="3198">
                  <c:v>0</c:v>
                </c:pt>
                <c:pt idx="3199">
                  <c:v>0</c:v>
                </c:pt>
                <c:pt idx="3200">
                  <c:v>0</c:v>
                </c:pt>
                <c:pt idx="3201">
                  <c:v>0</c:v>
                </c:pt>
                <c:pt idx="3202">
                  <c:v>0</c:v>
                </c:pt>
                <c:pt idx="3203">
                  <c:v>0</c:v>
                </c:pt>
                <c:pt idx="3204">
                  <c:v>0</c:v>
                </c:pt>
                <c:pt idx="3205">
                  <c:v>0</c:v>
                </c:pt>
                <c:pt idx="3206">
                  <c:v>0</c:v>
                </c:pt>
                <c:pt idx="3207">
                  <c:v>0</c:v>
                </c:pt>
                <c:pt idx="3208">
                  <c:v>0</c:v>
                </c:pt>
                <c:pt idx="3209">
                  <c:v>0</c:v>
                </c:pt>
                <c:pt idx="3210">
                  <c:v>0</c:v>
                </c:pt>
                <c:pt idx="3211">
                  <c:v>0</c:v>
                </c:pt>
                <c:pt idx="3212">
                  <c:v>0</c:v>
                </c:pt>
                <c:pt idx="3213">
                  <c:v>0</c:v>
                </c:pt>
                <c:pt idx="3214">
                  <c:v>0</c:v>
                </c:pt>
                <c:pt idx="3215">
                  <c:v>0</c:v>
                </c:pt>
                <c:pt idx="3216">
                  <c:v>0</c:v>
                </c:pt>
                <c:pt idx="3217">
                  <c:v>0</c:v>
                </c:pt>
                <c:pt idx="3218">
                  <c:v>0</c:v>
                </c:pt>
                <c:pt idx="3219">
                  <c:v>0</c:v>
                </c:pt>
                <c:pt idx="3220">
                  <c:v>0</c:v>
                </c:pt>
                <c:pt idx="3221">
                  <c:v>0</c:v>
                </c:pt>
                <c:pt idx="3222">
                  <c:v>0</c:v>
                </c:pt>
                <c:pt idx="3223">
                  <c:v>0</c:v>
                </c:pt>
                <c:pt idx="3224">
                  <c:v>0</c:v>
                </c:pt>
                <c:pt idx="3225">
                  <c:v>0</c:v>
                </c:pt>
                <c:pt idx="3226">
                  <c:v>0</c:v>
                </c:pt>
                <c:pt idx="3227">
                  <c:v>0</c:v>
                </c:pt>
                <c:pt idx="3228">
                  <c:v>0</c:v>
                </c:pt>
                <c:pt idx="3229">
                  <c:v>0</c:v>
                </c:pt>
                <c:pt idx="3230">
                  <c:v>0</c:v>
                </c:pt>
                <c:pt idx="3231">
                  <c:v>0</c:v>
                </c:pt>
                <c:pt idx="3232">
                  <c:v>0</c:v>
                </c:pt>
                <c:pt idx="3233">
                  <c:v>0</c:v>
                </c:pt>
                <c:pt idx="3234">
                  <c:v>0</c:v>
                </c:pt>
                <c:pt idx="3235">
                  <c:v>0</c:v>
                </c:pt>
                <c:pt idx="3236">
                  <c:v>0</c:v>
                </c:pt>
                <c:pt idx="3237">
                  <c:v>0</c:v>
                </c:pt>
                <c:pt idx="3238">
                  <c:v>0</c:v>
                </c:pt>
                <c:pt idx="3239">
                  <c:v>0</c:v>
                </c:pt>
                <c:pt idx="3240">
                  <c:v>0</c:v>
                </c:pt>
                <c:pt idx="3241">
                  <c:v>0</c:v>
                </c:pt>
                <c:pt idx="3242">
                  <c:v>0</c:v>
                </c:pt>
                <c:pt idx="3243">
                  <c:v>0</c:v>
                </c:pt>
                <c:pt idx="3244">
                  <c:v>0</c:v>
                </c:pt>
                <c:pt idx="3245">
                  <c:v>0</c:v>
                </c:pt>
                <c:pt idx="3246">
                  <c:v>0</c:v>
                </c:pt>
                <c:pt idx="3247">
                  <c:v>0</c:v>
                </c:pt>
                <c:pt idx="3248">
                  <c:v>0</c:v>
                </c:pt>
                <c:pt idx="3249">
                  <c:v>0</c:v>
                </c:pt>
                <c:pt idx="3250">
                  <c:v>0</c:v>
                </c:pt>
                <c:pt idx="3251">
                  <c:v>0</c:v>
                </c:pt>
                <c:pt idx="3252">
                  <c:v>0</c:v>
                </c:pt>
                <c:pt idx="3253">
                  <c:v>0</c:v>
                </c:pt>
                <c:pt idx="3254">
                  <c:v>0</c:v>
                </c:pt>
                <c:pt idx="3255">
                  <c:v>0</c:v>
                </c:pt>
                <c:pt idx="3256">
                  <c:v>0</c:v>
                </c:pt>
                <c:pt idx="3257">
                  <c:v>0</c:v>
                </c:pt>
                <c:pt idx="3258">
                  <c:v>0</c:v>
                </c:pt>
                <c:pt idx="3259">
                  <c:v>0</c:v>
                </c:pt>
                <c:pt idx="3260">
                  <c:v>0</c:v>
                </c:pt>
                <c:pt idx="3261">
                  <c:v>0</c:v>
                </c:pt>
                <c:pt idx="3262">
                  <c:v>0</c:v>
                </c:pt>
                <c:pt idx="3263">
                  <c:v>0</c:v>
                </c:pt>
                <c:pt idx="3264">
                  <c:v>0</c:v>
                </c:pt>
                <c:pt idx="3265">
                  <c:v>0</c:v>
                </c:pt>
                <c:pt idx="3266">
                  <c:v>0</c:v>
                </c:pt>
                <c:pt idx="3267">
                  <c:v>0</c:v>
                </c:pt>
                <c:pt idx="3268">
                  <c:v>0</c:v>
                </c:pt>
                <c:pt idx="3269">
                  <c:v>0</c:v>
                </c:pt>
                <c:pt idx="3270">
                  <c:v>0</c:v>
                </c:pt>
                <c:pt idx="3271">
                  <c:v>0</c:v>
                </c:pt>
                <c:pt idx="3272">
                  <c:v>0</c:v>
                </c:pt>
                <c:pt idx="3273">
                  <c:v>0</c:v>
                </c:pt>
                <c:pt idx="3274">
                  <c:v>0</c:v>
                </c:pt>
                <c:pt idx="3275">
                  <c:v>0</c:v>
                </c:pt>
                <c:pt idx="3276">
                  <c:v>0</c:v>
                </c:pt>
                <c:pt idx="3277">
                  <c:v>0</c:v>
                </c:pt>
                <c:pt idx="3278">
                  <c:v>0</c:v>
                </c:pt>
                <c:pt idx="3279">
                  <c:v>0</c:v>
                </c:pt>
                <c:pt idx="3280">
                  <c:v>0</c:v>
                </c:pt>
                <c:pt idx="3281">
                  <c:v>0</c:v>
                </c:pt>
                <c:pt idx="3282">
                  <c:v>0</c:v>
                </c:pt>
                <c:pt idx="3283">
                  <c:v>0</c:v>
                </c:pt>
                <c:pt idx="3284">
                  <c:v>0</c:v>
                </c:pt>
                <c:pt idx="3285">
                  <c:v>0</c:v>
                </c:pt>
                <c:pt idx="3286">
                  <c:v>0</c:v>
                </c:pt>
                <c:pt idx="3287">
                  <c:v>0</c:v>
                </c:pt>
                <c:pt idx="3288">
                  <c:v>0</c:v>
                </c:pt>
                <c:pt idx="3289">
                  <c:v>0</c:v>
                </c:pt>
                <c:pt idx="3290">
                  <c:v>0</c:v>
                </c:pt>
                <c:pt idx="3291">
                  <c:v>0</c:v>
                </c:pt>
                <c:pt idx="3292">
                  <c:v>0</c:v>
                </c:pt>
                <c:pt idx="3293">
                  <c:v>0</c:v>
                </c:pt>
                <c:pt idx="3294">
                  <c:v>0</c:v>
                </c:pt>
                <c:pt idx="3295">
                  <c:v>0</c:v>
                </c:pt>
                <c:pt idx="3296">
                  <c:v>0</c:v>
                </c:pt>
                <c:pt idx="3297">
                  <c:v>0</c:v>
                </c:pt>
                <c:pt idx="3298">
                  <c:v>0</c:v>
                </c:pt>
                <c:pt idx="3299">
                  <c:v>0</c:v>
                </c:pt>
                <c:pt idx="3300">
                  <c:v>0</c:v>
                </c:pt>
                <c:pt idx="3301">
                  <c:v>0</c:v>
                </c:pt>
                <c:pt idx="3302">
                  <c:v>0</c:v>
                </c:pt>
                <c:pt idx="3303">
                  <c:v>0</c:v>
                </c:pt>
                <c:pt idx="3304">
                  <c:v>0</c:v>
                </c:pt>
                <c:pt idx="3305">
                  <c:v>0</c:v>
                </c:pt>
                <c:pt idx="3306">
                  <c:v>0</c:v>
                </c:pt>
                <c:pt idx="3307">
                  <c:v>0</c:v>
                </c:pt>
                <c:pt idx="3308">
                  <c:v>0</c:v>
                </c:pt>
                <c:pt idx="3309">
                  <c:v>0</c:v>
                </c:pt>
                <c:pt idx="3310">
                  <c:v>0</c:v>
                </c:pt>
                <c:pt idx="3311">
                  <c:v>0</c:v>
                </c:pt>
                <c:pt idx="3312">
                  <c:v>0</c:v>
                </c:pt>
                <c:pt idx="3313">
                  <c:v>0</c:v>
                </c:pt>
                <c:pt idx="3314">
                  <c:v>0</c:v>
                </c:pt>
                <c:pt idx="3315">
                  <c:v>0</c:v>
                </c:pt>
                <c:pt idx="3316">
                  <c:v>0</c:v>
                </c:pt>
                <c:pt idx="3317">
                  <c:v>0</c:v>
                </c:pt>
                <c:pt idx="3318">
                  <c:v>0</c:v>
                </c:pt>
                <c:pt idx="3319">
                  <c:v>0</c:v>
                </c:pt>
                <c:pt idx="3320">
                  <c:v>0</c:v>
                </c:pt>
                <c:pt idx="3321">
                  <c:v>0</c:v>
                </c:pt>
                <c:pt idx="3322">
                  <c:v>0</c:v>
                </c:pt>
                <c:pt idx="3323">
                  <c:v>0</c:v>
                </c:pt>
                <c:pt idx="3324">
                  <c:v>0</c:v>
                </c:pt>
                <c:pt idx="3325">
                  <c:v>0</c:v>
                </c:pt>
                <c:pt idx="3326">
                  <c:v>0</c:v>
                </c:pt>
                <c:pt idx="3327">
                  <c:v>0</c:v>
                </c:pt>
                <c:pt idx="3328">
                  <c:v>0</c:v>
                </c:pt>
                <c:pt idx="3329">
                  <c:v>0</c:v>
                </c:pt>
                <c:pt idx="3330">
                  <c:v>0</c:v>
                </c:pt>
                <c:pt idx="3331">
                  <c:v>0</c:v>
                </c:pt>
                <c:pt idx="3332">
                  <c:v>0</c:v>
                </c:pt>
                <c:pt idx="3333">
                  <c:v>0</c:v>
                </c:pt>
                <c:pt idx="3334">
                  <c:v>0</c:v>
                </c:pt>
                <c:pt idx="3335">
                  <c:v>0</c:v>
                </c:pt>
                <c:pt idx="3336">
                  <c:v>0</c:v>
                </c:pt>
                <c:pt idx="3337">
                  <c:v>0</c:v>
                </c:pt>
                <c:pt idx="3338">
                  <c:v>0</c:v>
                </c:pt>
                <c:pt idx="3339">
                  <c:v>0</c:v>
                </c:pt>
                <c:pt idx="3340">
                  <c:v>0</c:v>
                </c:pt>
                <c:pt idx="3341">
                  <c:v>0</c:v>
                </c:pt>
                <c:pt idx="3342">
                  <c:v>0</c:v>
                </c:pt>
                <c:pt idx="3343">
                  <c:v>0</c:v>
                </c:pt>
                <c:pt idx="3344">
                  <c:v>0</c:v>
                </c:pt>
                <c:pt idx="3345">
                  <c:v>0</c:v>
                </c:pt>
                <c:pt idx="3346">
                  <c:v>0</c:v>
                </c:pt>
                <c:pt idx="3347">
                  <c:v>0</c:v>
                </c:pt>
                <c:pt idx="3348">
                  <c:v>0</c:v>
                </c:pt>
                <c:pt idx="3349">
                  <c:v>0</c:v>
                </c:pt>
                <c:pt idx="3350">
                  <c:v>0</c:v>
                </c:pt>
                <c:pt idx="3351">
                  <c:v>0</c:v>
                </c:pt>
                <c:pt idx="3352">
                  <c:v>0</c:v>
                </c:pt>
                <c:pt idx="3353">
                  <c:v>0</c:v>
                </c:pt>
                <c:pt idx="3354">
                  <c:v>0</c:v>
                </c:pt>
                <c:pt idx="3355">
                  <c:v>0</c:v>
                </c:pt>
                <c:pt idx="3356">
                  <c:v>0</c:v>
                </c:pt>
                <c:pt idx="3357">
                  <c:v>0</c:v>
                </c:pt>
                <c:pt idx="3358">
                  <c:v>0</c:v>
                </c:pt>
                <c:pt idx="3359">
                  <c:v>0</c:v>
                </c:pt>
                <c:pt idx="3360">
                  <c:v>0</c:v>
                </c:pt>
                <c:pt idx="3361">
                  <c:v>0</c:v>
                </c:pt>
                <c:pt idx="3362">
                  <c:v>0</c:v>
                </c:pt>
                <c:pt idx="3363">
                  <c:v>0</c:v>
                </c:pt>
                <c:pt idx="3364">
                  <c:v>0</c:v>
                </c:pt>
                <c:pt idx="3365">
                  <c:v>0</c:v>
                </c:pt>
                <c:pt idx="3366">
                  <c:v>0</c:v>
                </c:pt>
                <c:pt idx="3367">
                  <c:v>0</c:v>
                </c:pt>
                <c:pt idx="3368">
                  <c:v>0</c:v>
                </c:pt>
                <c:pt idx="3369">
                  <c:v>0</c:v>
                </c:pt>
                <c:pt idx="3370">
                  <c:v>0</c:v>
                </c:pt>
                <c:pt idx="3371">
                  <c:v>0</c:v>
                </c:pt>
                <c:pt idx="3372">
                  <c:v>0</c:v>
                </c:pt>
                <c:pt idx="3373">
                  <c:v>0</c:v>
                </c:pt>
                <c:pt idx="3374">
                  <c:v>0</c:v>
                </c:pt>
                <c:pt idx="3375">
                  <c:v>0</c:v>
                </c:pt>
                <c:pt idx="3376">
                  <c:v>0</c:v>
                </c:pt>
                <c:pt idx="3377">
                  <c:v>0</c:v>
                </c:pt>
                <c:pt idx="3378">
                  <c:v>0</c:v>
                </c:pt>
                <c:pt idx="3379">
                  <c:v>0</c:v>
                </c:pt>
                <c:pt idx="3380">
                  <c:v>0</c:v>
                </c:pt>
                <c:pt idx="3381">
                  <c:v>0</c:v>
                </c:pt>
                <c:pt idx="3382">
                  <c:v>0</c:v>
                </c:pt>
                <c:pt idx="3383">
                  <c:v>0</c:v>
                </c:pt>
                <c:pt idx="3384">
                  <c:v>0</c:v>
                </c:pt>
                <c:pt idx="3385">
                  <c:v>0</c:v>
                </c:pt>
                <c:pt idx="3386">
                  <c:v>0</c:v>
                </c:pt>
                <c:pt idx="3387">
                  <c:v>0</c:v>
                </c:pt>
                <c:pt idx="3388">
                  <c:v>0</c:v>
                </c:pt>
                <c:pt idx="3389">
                  <c:v>0</c:v>
                </c:pt>
                <c:pt idx="3390">
                  <c:v>0</c:v>
                </c:pt>
                <c:pt idx="3391">
                  <c:v>0</c:v>
                </c:pt>
                <c:pt idx="3392">
                  <c:v>0</c:v>
                </c:pt>
                <c:pt idx="3393">
                  <c:v>0</c:v>
                </c:pt>
                <c:pt idx="3394">
                  <c:v>0</c:v>
                </c:pt>
                <c:pt idx="3395">
                  <c:v>0</c:v>
                </c:pt>
                <c:pt idx="3396">
                  <c:v>0</c:v>
                </c:pt>
                <c:pt idx="3397">
                  <c:v>0</c:v>
                </c:pt>
                <c:pt idx="3398">
                  <c:v>0</c:v>
                </c:pt>
                <c:pt idx="3399">
                  <c:v>0</c:v>
                </c:pt>
                <c:pt idx="3400">
                  <c:v>0</c:v>
                </c:pt>
                <c:pt idx="3401">
                  <c:v>0</c:v>
                </c:pt>
                <c:pt idx="3402">
                  <c:v>0</c:v>
                </c:pt>
                <c:pt idx="3403">
                  <c:v>0</c:v>
                </c:pt>
                <c:pt idx="3404">
                  <c:v>0</c:v>
                </c:pt>
                <c:pt idx="3405">
                  <c:v>0</c:v>
                </c:pt>
                <c:pt idx="3406">
                  <c:v>0</c:v>
                </c:pt>
                <c:pt idx="3407">
                  <c:v>0</c:v>
                </c:pt>
                <c:pt idx="3408">
                  <c:v>0</c:v>
                </c:pt>
                <c:pt idx="3409">
                  <c:v>0</c:v>
                </c:pt>
                <c:pt idx="3410">
                  <c:v>0</c:v>
                </c:pt>
                <c:pt idx="3411">
                  <c:v>0</c:v>
                </c:pt>
                <c:pt idx="3412">
                  <c:v>0</c:v>
                </c:pt>
                <c:pt idx="3413">
                  <c:v>0</c:v>
                </c:pt>
                <c:pt idx="3414">
                  <c:v>0</c:v>
                </c:pt>
                <c:pt idx="3415">
                  <c:v>0</c:v>
                </c:pt>
                <c:pt idx="3416">
                  <c:v>0</c:v>
                </c:pt>
                <c:pt idx="3417">
                  <c:v>0</c:v>
                </c:pt>
                <c:pt idx="3418">
                  <c:v>0</c:v>
                </c:pt>
                <c:pt idx="3419">
                  <c:v>0</c:v>
                </c:pt>
                <c:pt idx="3420">
                  <c:v>0</c:v>
                </c:pt>
                <c:pt idx="3421">
                  <c:v>0</c:v>
                </c:pt>
                <c:pt idx="3422">
                  <c:v>0</c:v>
                </c:pt>
                <c:pt idx="3423">
                  <c:v>0</c:v>
                </c:pt>
                <c:pt idx="3424">
                  <c:v>0</c:v>
                </c:pt>
                <c:pt idx="3425">
                  <c:v>0</c:v>
                </c:pt>
                <c:pt idx="3426">
                  <c:v>0</c:v>
                </c:pt>
                <c:pt idx="3427">
                  <c:v>0</c:v>
                </c:pt>
                <c:pt idx="3428">
                  <c:v>0</c:v>
                </c:pt>
                <c:pt idx="3429">
                  <c:v>0</c:v>
                </c:pt>
                <c:pt idx="3430">
                  <c:v>0</c:v>
                </c:pt>
                <c:pt idx="3431">
                  <c:v>0</c:v>
                </c:pt>
                <c:pt idx="3432">
                  <c:v>0</c:v>
                </c:pt>
                <c:pt idx="3433">
                  <c:v>0</c:v>
                </c:pt>
                <c:pt idx="3434">
                  <c:v>0</c:v>
                </c:pt>
                <c:pt idx="3435">
                  <c:v>0</c:v>
                </c:pt>
                <c:pt idx="3436">
                  <c:v>0</c:v>
                </c:pt>
                <c:pt idx="3437">
                  <c:v>0</c:v>
                </c:pt>
                <c:pt idx="3438">
                  <c:v>0</c:v>
                </c:pt>
                <c:pt idx="3439">
                  <c:v>0</c:v>
                </c:pt>
                <c:pt idx="3440">
                  <c:v>0</c:v>
                </c:pt>
                <c:pt idx="3441">
                  <c:v>0</c:v>
                </c:pt>
                <c:pt idx="3442">
                  <c:v>0</c:v>
                </c:pt>
                <c:pt idx="3443">
                  <c:v>0</c:v>
                </c:pt>
                <c:pt idx="3444">
                  <c:v>0</c:v>
                </c:pt>
                <c:pt idx="3445">
                  <c:v>0</c:v>
                </c:pt>
                <c:pt idx="3446">
                  <c:v>0</c:v>
                </c:pt>
                <c:pt idx="3447">
                  <c:v>0</c:v>
                </c:pt>
                <c:pt idx="3448">
                  <c:v>0</c:v>
                </c:pt>
                <c:pt idx="3449">
                  <c:v>0</c:v>
                </c:pt>
                <c:pt idx="3450">
                  <c:v>0</c:v>
                </c:pt>
                <c:pt idx="3451">
                  <c:v>0</c:v>
                </c:pt>
                <c:pt idx="3452">
                  <c:v>0</c:v>
                </c:pt>
                <c:pt idx="3453">
                  <c:v>0</c:v>
                </c:pt>
                <c:pt idx="3454">
                  <c:v>0</c:v>
                </c:pt>
                <c:pt idx="3455">
                  <c:v>0</c:v>
                </c:pt>
                <c:pt idx="3456">
                  <c:v>0</c:v>
                </c:pt>
                <c:pt idx="3457">
                  <c:v>0</c:v>
                </c:pt>
                <c:pt idx="3458">
                  <c:v>0</c:v>
                </c:pt>
                <c:pt idx="3459">
                  <c:v>0</c:v>
                </c:pt>
                <c:pt idx="3460">
                  <c:v>0</c:v>
                </c:pt>
                <c:pt idx="3461">
                  <c:v>0</c:v>
                </c:pt>
                <c:pt idx="3462">
                  <c:v>0</c:v>
                </c:pt>
                <c:pt idx="3463">
                  <c:v>0</c:v>
                </c:pt>
                <c:pt idx="3464">
                  <c:v>0</c:v>
                </c:pt>
                <c:pt idx="3465">
                  <c:v>0</c:v>
                </c:pt>
                <c:pt idx="3466">
                  <c:v>0</c:v>
                </c:pt>
                <c:pt idx="3467">
                  <c:v>0</c:v>
                </c:pt>
                <c:pt idx="3468">
                  <c:v>0</c:v>
                </c:pt>
                <c:pt idx="3469">
                  <c:v>0</c:v>
                </c:pt>
                <c:pt idx="3470">
                  <c:v>0</c:v>
                </c:pt>
                <c:pt idx="3471">
                  <c:v>0</c:v>
                </c:pt>
                <c:pt idx="3472">
                  <c:v>0</c:v>
                </c:pt>
                <c:pt idx="3473">
                  <c:v>0</c:v>
                </c:pt>
                <c:pt idx="3474">
                  <c:v>0</c:v>
                </c:pt>
                <c:pt idx="3475">
                  <c:v>0</c:v>
                </c:pt>
                <c:pt idx="3476">
                  <c:v>0</c:v>
                </c:pt>
                <c:pt idx="3477">
                  <c:v>0</c:v>
                </c:pt>
                <c:pt idx="3478">
                  <c:v>0</c:v>
                </c:pt>
                <c:pt idx="3479">
                  <c:v>0</c:v>
                </c:pt>
                <c:pt idx="3480">
                  <c:v>0</c:v>
                </c:pt>
                <c:pt idx="3481">
                  <c:v>0</c:v>
                </c:pt>
                <c:pt idx="3482">
                  <c:v>0</c:v>
                </c:pt>
                <c:pt idx="3483">
                  <c:v>0</c:v>
                </c:pt>
                <c:pt idx="3484">
                  <c:v>0</c:v>
                </c:pt>
                <c:pt idx="3485">
                  <c:v>0</c:v>
                </c:pt>
                <c:pt idx="3486">
                  <c:v>0</c:v>
                </c:pt>
                <c:pt idx="3487">
                  <c:v>0</c:v>
                </c:pt>
                <c:pt idx="3488">
                  <c:v>0</c:v>
                </c:pt>
                <c:pt idx="3489">
                  <c:v>0</c:v>
                </c:pt>
                <c:pt idx="3490">
                  <c:v>0</c:v>
                </c:pt>
                <c:pt idx="3491">
                  <c:v>0</c:v>
                </c:pt>
                <c:pt idx="3492">
                  <c:v>0</c:v>
                </c:pt>
                <c:pt idx="3493">
                  <c:v>0</c:v>
                </c:pt>
                <c:pt idx="3494">
                  <c:v>0</c:v>
                </c:pt>
                <c:pt idx="3495">
                  <c:v>0</c:v>
                </c:pt>
                <c:pt idx="3496">
                  <c:v>0</c:v>
                </c:pt>
                <c:pt idx="3497">
                  <c:v>0</c:v>
                </c:pt>
                <c:pt idx="3498">
                  <c:v>0</c:v>
                </c:pt>
                <c:pt idx="3499">
                  <c:v>0</c:v>
                </c:pt>
                <c:pt idx="3500">
                  <c:v>0</c:v>
                </c:pt>
                <c:pt idx="3501">
                  <c:v>0</c:v>
                </c:pt>
                <c:pt idx="3502">
                  <c:v>0</c:v>
                </c:pt>
                <c:pt idx="3503">
                  <c:v>0</c:v>
                </c:pt>
                <c:pt idx="3504">
                  <c:v>0</c:v>
                </c:pt>
                <c:pt idx="3505">
                  <c:v>0</c:v>
                </c:pt>
                <c:pt idx="3506">
                  <c:v>0</c:v>
                </c:pt>
                <c:pt idx="3507">
                  <c:v>0</c:v>
                </c:pt>
                <c:pt idx="3508">
                  <c:v>0</c:v>
                </c:pt>
                <c:pt idx="3509">
                  <c:v>0</c:v>
                </c:pt>
                <c:pt idx="3510">
                  <c:v>0</c:v>
                </c:pt>
                <c:pt idx="3511">
                  <c:v>0</c:v>
                </c:pt>
                <c:pt idx="3512">
                  <c:v>0</c:v>
                </c:pt>
                <c:pt idx="3513">
                  <c:v>0</c:v>
                </c:pt>
                <c:pt idx="3514">
                  <c:v>0</c:v>
                </c:pt>
                <c:pt idx="3515">
                  <c:v>0</c:v>
                </c:pt>
                <c:pt idx="3516">
                  <c:v>0</c:v>
                </c:pt>
                <c:pt idx="3517">
                  <c:v>0</c:v>
                </c:pt>
                <c:pt idx="3518">
                  <c:v>0</c:v>
                </c:pt>
                <c:pt idx="3519">
                  <c:v>0</c:v>
                </c:pt>
                <c:pt idx="3520">
                  <c:v>0</c:v>
                </c:pt>
                <c:pt idx="3521">
                  <c:v>0</c:v>
                </c:pt>
                <c:pt idx="3522">
                  <c:v>0</c:v>
                </c:pt>
                <c:pt idx="3523">
                  <c:v>0</c:v>
                </c:pt>
                <c:pt idx="3524">
                  <c:v>0</c:v>
                </c:pt>
                <c:pt idx="3525">
                  <c:v>0</c:v>
                </c:pt>
                <c:pt idx="3526">
                  <c:v>0</c:v>
                </c:pt>
                <c:pt idx="3527">
                  <c:v>0</c:v>
                </c:pt>
                <c:pt idx="3528">
                  <c:v>0</c:v>
                </c:pt>
                <c:pt idx="3529">
                  <c:v>0</c:v>
                </c:pt>
                <c:pt idx="3530">
                  <c:v>0</c:v>
                </c:pt>
                <c:pt idx="3531">
                  <c:v>0</c:v>
                </c:pt>
                <c:pt idx="3532">
                  <c:v>0</c:v>
                </c:pt>
                <c:pt idx="3533">
                  <c:v>0</c:v>
                </c:pt>
                <c:pt idx="3534">
                  <c:v>0</c:v>
                </c:pt>
                <c:pt idx="3535">
                  <c:v>0</c:v>
                </c:pt>
                <c:pt idx="3536">
                  <c:v>0</c:v>
                </c:pt>
                <c:pt idx="3537">
                  <c:v>0</c:v>
                </c:pt>
                <c:pt idx="3538">
                  <c:v>0</c:v>
                </c:pt>
                <c:pt idx="3539">
                  <c:v>0</c:v>
                </c:pt>
                <c:pt idx="3540">
                  <c:v>0</c:v>
                </c:pt>
                <c:pt idx="3541">
                  <c:v>0</c:v>
                </c:pt>
                <c:pt idx="3542">
                  <c:v>0</c:v>
                </c:pt>
                <c:pt idx="3543">
                  <c:v>0</c:v>
                </c:pt>
                <c:pt idx="3544">
                  <c:v>0</c:v>
                </c:pt>
                <c:pt idx="3545">
                  <c:v>0</c:v>
                </c:pt>
                <c:pt idx="3546">
                  <c:v>0</c:v>
                </c:pt>
                <c:pt idx="3547">
                  <c:v>0</c:v>
                </c:pt>
                <c:pt idx="3548">
                  <c:v>0</c:v>
                </c:pt>
                <c:pt idx="3549">
                  <c:v>0</c:v>
                </c:pt>
                <c:pt idx="3550">
                  <c:v>0</c:v>
                </c:pt>
                <c:pt idx="3551">
                  <c:v>0</c:v>
                </c:pt>
                <c:pt idx="3552">
                  <c:v>0</c:v>
                </c:pt>
                <c:pt idx="3553">
                  <c:v>0</c:v>
                </c:pt>
                <c:pt idx="3554">
                  <c:v>0</c:v>
                </c:pt>
                <c:pt idx="3555">
                  <c:v>0</c:v>
                </c:pt>
                <c:pt idx="3556">
                  <c:v>0</c:v>
                </c:pt>
                <c:pt idx="3557">
                  <c:v>0</c:v>
                </c:pt>
                <c:pt idx="3558">
                  <c:v>0</c:v>
                </c:pt>
                <c:pt idx="3559">
                  <c:v>0</c:v>
                </c:pt>
                <c:pt idx="3560">
                  <c:v>0</c:v>
                </c:pt>
                <c:pt idx="3561">
                  <c:v>0</c:v>
                </c:pt>
                <c:pt idx="3562">
                  <c:v>0</c:v>
                </c:pt>
                <c:pt idx="3563">
                  <c:v>0</c:v>
                </c:pt>
                <c:pt idx="3564">
                  <c:v>0</c:v>
                </c:pt>
                <c:pt idx="3565">
                  <c:v>0</c:v>
                </c:pt>
                <c:pt idx="3566">
                  <c:v>0</c:v>
                </c:pt>
                <c:pt idx="3567">
                  <c:v>0</c:v>
                </c:pt>
                <c:pt idx="3568">
                  <c:v>0</c:v>
                </c:pt>
                <c:pt idx="3569">
                  <c:v>0</c:v>
                </c:pt>
                <c:pt idx="3570">
                  <c:v>0</c:v>
                </c:pt>
                <c:pt idx="3571">
                  <c:v>0</c:v>
                </c:pt>
                <c:pt idx="3572">
                  <c:v>0</c:v>
                </c:pt>
                <c:pt idx="3573">
                  <c:v>0</c:v>
                </c:pt>
                <c:pt idx="3574">
                  <c:v>0</c:v>
                </c:pt>
                <c:pt idx="3575">
                  <c:v>0</c:v>
                </c:pt>
                <c:pt idx="3576">
                  <c:v>0</c:v>
                </c:pt>
                <c:pt idx="3577">
                  <c:v>0</c:v>
                </c:pt>
                <c:pt idx="3578">
                  <c:v>0</c:v>
                </c:pt>
                <c:pt idx="3579">
                  <c:v>0</c:v>
                </c:pt>
                <c:pt idx="3580">
                  <c:v>0</c:v>
                </c:pt>
                <c:pt idx="3581">
                  <c:v>0</c:v>
                </c:pt>
                <c:pt idx="3582">
                  <c:v>0</c:v>
                </c:pt>
                <c:pt idx="3583">
                  <c:v>0</c:v>
                </c:pt>
                <c:pt idx="3584">
                  <c:v>0</c:v>
                </c:pt>
                <c:pt idx="3585">
                  <c:v>0</c:v>
                </c:pt>
                <c:pt idx="3586">
                  <c:v>0</c:v>
                </c:pt>
                <c:pt idx="3587">
                  <c:v>0</c:v>
                </c:pt>
                <c:pt idx="3588">
                  <c:v>0</c:v>
                </c:pt>
                <c:pt idx="3589">
                  <c:v>0</c:v>
                </c:pt>
                <c:pt idx="3590">
                  <c:v>0</c:v>
                </c:pt>
                <c:pt idx="3591">
                  <c:v>0</c:v>
                </c:pt>
                <c:pt idx="3592">
                  <c:v>0</c:v>
                </c:pt>
                <c:pt idx="3593">
                  <c:v>0</c:v>
                </c:pt>
                <c:pt idx="3594">
                  <c:v>0</c:v>
                </c:pt>
                <c:pt idx="3595">
                  <c:v>0</c:v>
                </c:pt>
                <c:pt idx="3596">
                  <c:v>0</c:v>
                </c:pt>
                <c:pt idx="3597">
                  <c:v>0</c:v>
                </c:pt>
                <c:pt idx="3598">
                  <c:v>0</c:v>
                </c:pt>
                <c:pt idx="3599">
                  <c:v>0</c:v>
                </c:pt>
                <c:pt idx="3600">
                  <c:v>0</c:v>
                </c:pt>
                <c:pt idx="3601">
                  <c:v>0</c:v>
                </c:pt>
                <c:pt idx="3602">
                  <c:v>0</c:v>
                </c:pt>
                <c:pt idx="3603">
                  <c:v>0</c:v>
                </c:pt>
                <c:pt idx="3604">
                  <c:v>0</c:v>
                </c:pt>
                <c:pt idx="3605">
                  <c:v>0</c:v>
                </c:pt>
                <c:pt idx="3606">
                  <c:v>0</c:v>
                </c:pt>
                <c:pt idx="3607">
                  <c:v>0</c:v>
                </c:pt>
                <c:pt idx="3608">
                  <c:v>0</c:v>
                </c:pt>
                <c:pt idx="3609">
                  <c:v>0</c:v>
                </c:pt>
                <c:pt idx="3610">
                  <c:v>0</c:v>
                </c:pt>
                <c:pt idx="3611">
                  <c:v>0</c:v>
                </c:pt>
                <c:pt idx="3612">
                  <c:v>0</c:v>
                </c:pt>
                <c:pt idx="3613">
                  <c:v>0</c:v>
                </c:pt>
                <c:pt idx="3614">
                  <c:v>0</c:v>
                </c:pt>
                <c:pt idx="3615">
                  <c:v>0</c:v>
                </c:pt>
                <c:pt idx="3616">
                  <c:v>0</c:v>
                </c:pt>
                <c:pt idx="3617">
                  <c:v>0</c:v>
                </c:pt>
                <c:pt idx="3618">
                  <c:v>0</c:v>
                </c:pt>
                <c:pt idx="3619">
                  <c:v>0</c:v>
                </c:pt>
                <c:pt idx="3620">
                  <c:v>0</c:v>
                </c:pt>
                <c:pt idx="3621">
                  <c:v>0</c:v>
                </c:pt>
                <c:pt idx="3622">
                  <c:v>0</c:v>
                </c:pt>
                <c:pt idx="3623">
                  <c:v>0</c:v>
                </c:pt>
                <c:pt idx="3624">
                  <c:v>0</c:v>
                </c:pt>
                <c:pt idx="3625">
                  <c:v>0</c:v>
                </c:pt>
                <c:pt idx="3626">
                  <c:v>0</c:v>
                </c:pt>
                <c:pt idx="3627">
                  <c:v>0</c:v>
                </c:pt>
                <c:pt idx="3628">
                  <c:v>0</c:v>
                </c:pt>
                <c:pt idx="3629">
                  <c:v>0</c:v>
                </c:pt>
                <c:pt idx="3630">
                  <c:v>0</c:v>
                </c:pt>
                <c:pt idx="3631">
                  <c:v>0</c:v>
                </c:pt>
                <c:pt idx="3632">
                  <c:v>0</c:v>
                </c:pt>
                <c:pt idx="3633">
                  <c:v>0</c:v>
                </c:pt>
                <c:pt idx="3634">
                  <c:v>0</c:v>
                </c:pt>
                <c:pt idx="3635">
                  <c:v>0</c:v>
                </c:pt>
                <c:pt idx="3636">
                  <c:v>0</c:v>
                </c:pt>
                <c:pt idx="3637">
                  <c:v>0</c:v>
                </c:pt>
                <c:pt idx="3638">
                  <c:v>0</c:v>
                </c:pt>
                <c:pt idx="3639">
                  <c:v>0</c:v>
                </c:pt>
                <c:pt idx="3640">
                  <c:v>0</c:v>
                </c:pt>
                <c:pt idx="3641">
                  <c:v>0</c:v>
                </c:pt>
                <c:pt idx="3642">
                  <c:v>0</c:v>
                </c:pt>
                <c:pt idx="3643">
                  <c:v>0</c:v>
                </c:pt>
                <c:pt idx="3644">
                  <c:v>0</c:v>
                </c:pt>
                <c:pt idx="3645">
                  <c:v>0</c:v>
                </c:pt>
                <c:pt idx="3646">
                  <c:v>0</c:v>
                </c:pt>
                <c:pt idx="3647">
                  <c:v>0</c:v>
                </c:pt>
                <c:pt idx="3648">
                  <c:v>0</c:v>
                </c:pt>
                <c:pt idx="3649">
                  <c:v>0</c:v>
                </c:pt>
                <c:pt idx="3650">
                  <c:v>0</c:v>
                </c:pt>
                <c:pt idx="3651">
                  <c:v>0</c:v>
                </c:pt>
                <c:pt idx="3652">
                  <c:v>0</c:v>
                </c:pt>
                <c:pt idx="3653">
                  <c:v>0</c:v>
                </c:pt>
                <c:pt idx="3654">
                  <c:v>0</c:v>
                </c:pt>
                <c:pt idx="3655">
                  <c:v>0</c:v>
                </c:pt>
                <c:pt idx="3656">
                  <c:v>0</c:v>
                </c:pt>
                <c:pt idx="3657">
                  <c:v>0</c:v>
                </c:pt>
                <c:pt idx="3658">
                  <c:v>0</c:v>
                </c:pt>
                <c:pt idx="3659">
                  <c:v>0</c:v>
                </c:pt>
                <c:pt idx="3660">
                  <c:v>0</c:v>
                </c:pt>
                <c:pt idx="3661">
                  <c:v>0</c:v>
                </c:pt>
                <c:pt idx="3662">
                  <c:v>0</c:v>
                </c:pt>
                <c:pt idx="3663">
                  <c:v>0</c:v>
                </c:pt>
                <c:pt idx="3664">
                  <c:v>0</c:v>
                </c:pt>
                <c:pt idx="3665">
                  <c:v>0</c:v>
                </c:pt>
                <c:pt idx="3666">
                  <c:v>0</c:v>
                </c:pt>
                <c:pt idx="3667">
                  <c:v>0</c:v>
                </c:pt>
                <c:pt idx="3668">
                  <c:v>0</c:v>
                </c:pt>
                <c:pt idx="3669">
                  <c:v>0</c:v>
                </c:pt>
                <c:pt idx="3670">
                  <c:v>0</c:v>
                </c:pt>
                <c:pt idx="3671">
                  <c:v>0</c:v>
                </c:pt>
                <c:pt idx="3672">
                  <c:v>0</c:v>
                </c:pt>
                <c:pt idx="3673">
                  <c:v>0</c:v>
                </c:pt>
                <c:pt idx="3674">
                  <c:v>0</c:v>
                </c:pt>
                <c:pt idx="3675">
                  <c:v>0</c:v>
                </c:pt>
                <c:pt idx="3676">
                  <c:v>0</c:v>
                </c:pt>
                <c:pt idx="3677">
                  <c:v>0</c:v>
                </c:pt>
                <c:pt idx="3678">
                  <c:v>0</c:v>
                </c:pt>
                <c:pt idx="3679">
                  <c:v>0</c:v>
                </c:pt>
                <c:pt idx="3680">
                  <c:v>0</c:v>
                </c:pt>
                <c:pt idx="3681">
                  <c:v>0</c:v>
                </c:pt>
                <c:pt idx="3682">
                  <c:v>0</c:v>
                </c:pt>
                <c:pt idx="3683">
                  <c:v>0</c:v>
                </c:pt>
                <c:pt idx="3684">
                  <c:v>0</c:v>
                </c:pt>
                <c:pt idx="3685">
                  <c:v>0</c:v>
                </c:pt>
                <c:pt idx="3686">
                  <c:v>0</c:v>
                </c:pt>
                <c:pt idx="3687">
                  <c:v>0</c:v>
                </c:pt>
                <c:pt idx="3688">
                  <c:v>0</c:v>
                </c:pt>
                <c:pt idx="3689">
                  <c:v>0</c:v>
                </c:pt>
                <c:pt idx="3690">
                  <c:v>0</c:v>
                </c:pt>
                <c:pt idx="3691">
                  <c:v>0</c:v>
                </c:pt>
                <c:pt idx="3692">
                  <c:v>0</c:v>
                </c:pt>
                <c:pt idx="3693">
                  <c:v>0</c:v>
                </c:pt>
                <c:pt idx="3694">
                  <c:v>0</c:v>
                </c:pt>
                <c:pt idx="3695">
                  <c:v>0</c:v>
                </c:pt>
                <c:pt idx="3696">
                  <c:v>0</c:v>
                </c:pt>
                <c:pt idx="3697">
                  <c:v>0</c:v>
                </c:pt>
                <c:pt idx="3698">
                  <c:v>0</c:v>
                </c:pt>
                <c:pt idx="3699">
                  <c:v>0</c:v>
                </c:pt>
                <c:pt idx="3700">
                  <c:v>0</c:v>
                </c:pt>
                <c:pt idx="3701">
                  <c:v>0</c:v>
                </c:pt>
                <c:pt idx="3702">
                  <c:v>0</c:v>
                </c:pt>
                <c:pt idx="3703">
                  <c:v>0</c:v>
                </c:pt>
                <c:pt idx="3704">
                  <c:v>0</c:v>
                </c:pt>
                <c:pt idx="3705">
                  <c:v>0</c:v>
                </c:pt>
                <c:pt idx="3706">
                  <c:v>0</c:v>
                </c:pt>
                <c:pt idx="3707">
                  <c:v>0</c:v>
                </c:pt>
                <c:pt idx="3708">
                  <c:v>0</c:v>
                </c:pt>
                <c:pt idx="3709">
                  <c:v>0</c:v>
                </c:pt>
                <c:pt idx="3710">
                  <c:v>0</c:v>
                </c:pt>
                <c:pt idx="3711">
                  <c:v>0</c:v>
                </c:pt>
                <c:pt idx="3712">
                  <c:v>0</c:v>
                </c:pt>
                <c:pt idx="3713">
                  <c:v>0</c:v>
                </c:pt>
                <c:pt idx="3714">
                  <c:v>0</c:v>
                </c:pt>
                <c:pt idx="3715">
                  <c:v>0</c:v>
                </c:pt>
                <c:pt idx="3716">
                  <c:v>0</c:v>
                </c:pt>
                <c:pt idx="3717">
                  <c:v>0</c:v>
                </c:pt>
                <c:pt idx="3718">
                  <c:v>0</c:v>
                </c:pt>
                <c:pt idx="3719">
                  <c:v>0</c:v>
                </c:pt>
                <c:pt idx="3720">
                  <c:v>0</c:v>
                </c:pt>
                <c:pt idx="3721">
                  <c:v>0</c:v>
                </c:pt>
                <c:pt idx="3722">
                  <c:v>0</c:v>
                </c:pt>
                <c:pt idx="3723">
                  <c:v>0</c:v>
                </c:pt>
                <c:pt idx="3724">
                  <c:v>0</c:v>
                </c:pt>
                <c:pt idx="3725">
                  <c:v>0</c:v>
                </c:pt>
                <c:pt idx="3726">
                  <c:v>0</c:v>
                </c:pt>
                <c:pt idx="3727">
                  <c:v>0</c:v>
                </c:pt>
                <c:pt idx="3728">
                  <c:v>0</c:v>
                </c:pt>
                <c:pt idx="3729">
                  <c:v>0</c:v>
                </c:pt>
                <c:pt idx="3730">
                  <c:v>0</c:v>
                </c:pt>
                <c:pt idx="3731">
                  <c:v>0</c:v>
                </c:pt>
                <c:pt idx="3732">
                  <c:v>0</c:v>
                </c:pt>
                <c:pt idx="3733">
                  <c:v>0</c:v>
                </c:pt>
                <c:pt idx="3734">
                  <c:v>0</c:v>
                </c:pt>
                <c:pt idx="3735">
                  <c:v>0</c:v>
                </c:pt>
                <c:pt idx="3736">
                  <c:v>0</c:v>
                </c:pt>
                <c:pt idx="3737">
                  <c:v>0</c:v>
                </c:pt>
                <c:pt idx="3738">
                  <c:v>0</c:v>
                </c:pt>
                <c:pt idx="3739">
                  <c:v>0</c:v>
                </c:pt>
                <c:pt idx="3740">
                  <c:v>0</c:v>
                </c:pt>
                <c:pt idx="3741">
                  <c:v>0</c:v>
                </c:pt>
                <c:pt idx="3742">
                  <c:v>0</c:v>
                </c:pt>
                <c:pt idx="3743">
                  <c:v>0</c:v>
                </c:pt>
                <c:pt idx="3744">
                  <c:v>0</c:v>
                </c:pt>
                <c:pt idx="3745">
                  <c:v>0</c:v>
                </c:pt>
                <c:pt idx="3746">
                  <c:v>0</c:v>
                </c:pt>
                <c:pt idx="3747">
                  <c:v>0</c:v>
                </c:pt>
                <c:pt idx="3748">
                  <c:v>0</c:v>
                </c:pt>
                <c:pt idx="3749">
                  <c:v>0</c:v>
                </c:pt>
                <c:pt idx="3750">
                  <c:v>0</c:v>
                </c:pt>
                <c:pt idx="3751">
                  <c:v>0</c:v>
                </c:pt>
                <c:pt idx="3752">
                  <c:v>0</c:v>
                </c:pt>
                <c:pt idx="3753">
                  <c:v>0</c:v>
                </c:pt>
                <c:pt idx="3754">
                  <c:v>0</c:v>
                </c:pt>
                <c:pt idx="3755">
                  <c:v>0</c:v>
                </c:pt>
                <c:pt idx="3756">
                  <c:v>0</c:v>
                </c:pt>
                <c:pt idx="3757">
                  <c:v>0</c:v>
                </c:pt>
                <c:pt idx="3758">
                  <c:v>0</c:v>
                </c:pt>
                <c:pt idx="3759">
                  <c:v>0</c:v>
                </c:pt>
                <c:pt idx="3760">
                  <c:v>0</c:v>
                </c:pt>
                <c:pt idx="3761">
                  <c:v>0</c:v>
                </c:pt>
                <c:pt idx="3762">
                  <c:v>0</c:v>
                </c:pt>
                <c:pt idx="3763">
                  <c:v>0</c:v>
                </c:pt>
                <c:pt idx="3764">
                  <c:v>0</c:v>
                </c:pt>
                <c:pt idx="3765">
                  <c:v>0</c:v>
                </c:pt>
                <c:pt idx="3766">
                  <c:v>0</c:v>
                </c:pt>
                <c:pt idx="3767">
                  <c:v>0</c:v>
                </c:pt>
                <c:pt idx="3768">
                  <c:v>0</c:v>
                </c:pt>
                <c:pt idx="3769">
                  <c:v>0</c:v>
                </c:pt>
                <c:pt idx="3770">
                  <c:v>0</c:v>
                </c:pt>
                <c:pt idx="3771">
                  <c:v>0</c:v>
                </c:pt>
                <c:pt idx="3772">
                  <c:v>0</c:v>
                </c:pt>
                <c:pt idx="3773">
                  <c:v>0</c:v>
                </c:pt>
                <c:pt idx="3774">
                  <c:v>0</c:v>
                </c:pt>
                <c:pt idx="3775">
                  <c:v>0</c:v>
                </c:pt>
                <c:pt idx="3776">
                  <c:v>0</c:v>
                </c:pt>
                <c:pt idx="3777">
                  <c:v>0</c:v>
                </c:pt>
                <c:pt idx="3778">
                  <c:v>0</c:v>
                </c:pt>
                <c:pt idx="3779">
                  <c:v>0</c:v>
                </c:pt>
                <c:pt idx="3780">
                  <c:v>0</c:v>
                </c:pt>
                <c:pt idx="3781">
                  <c:v>0</c:v>
                </c:pt>
                <c:pt idx="3782">
                  <c:v>0</c:v>
                </c:pt>
                <c:pt idx="3783">
                  <c:v>0</c:v>
                </c:pt>
                <c:pt idx="3784">
                  <c:v>0</c:v>
                </c:pt>
                <c:pt idx="3785">
                  <c:v>0</c:v>
                </c:pt>
                <c:pt idx="3786">
                  <c:v>0</c:v>
                </c:pt>
                <c:pt idx="3787">
                  <c:v>0</c:v>
                </c:pt>
                <c:pt idx="3788">
                  <c:v>0</c:v>
                </c:pt>
                <c:pt idx="3789">
                  <c:v>0</c:v>
                </c:pt>
                <c:pt idx="3790">
                  <c:v>0</c:v>
                </c:pt>
                <c:pt idx="3791">
                  <c:v>0</c:v>
                </c:pt>
                <c:pt idx="3792">
                  <c:v>0</c:v>
                </c:pt>
                <c:pt idx="3793">
                  <c:v>0</c:v>
                </c:pt>
                <c:pt idx="3794">
                  <c:v>0</c:v>
                </c:pt>
                <c:pt idx="3795">
                  <c:v>0</c:v>
                </c:pt>
                <c:pt idx="3796">
                  <c:v>0</c:v>
                </c:pt>
                <c:pt idx="3797">
                  <c:v>0</c:v>
                </c:pt>
                <c:pt idx="3798">
                  <c:v>0</c:v>
                </c:pt>
                <c:pt idx="3799">
                  <c:v>0</c:v>
                </c:pt>
                <c:pt idx="3800">
                  <c:v>0</c:v>
                </c:pt>
                <c:pt idx="3801">
                  <c:v>0</c:v>
                </c:pt>
                <c:pt idx="3802">
                  <c:v>0</c:v>
                </c:pt>
                <c:pt idx="3803">
                  <c:v>0</c:v>
                </c:pt>
                <c:pt idx="3804">
                  <c:v>0</c:v>
                </c:pt>
                <c:pt idx="3805">
                  <c:v>0</c:v>
                </c:pt>
                <c:pt idx="3806">
                  <c:v>0</c:v>
                </c:pt>
                <c:pt idx="3807">
                  <c:v>0</c:v>
                </c:pt>
                <c:pt idx="3808">
                  <c:v>0</c:v>
                </c:pt>
                <c:pt idx="3809">
                  <c:v>0</c:v>
                </c:pt>
                <c:pt idx="3810">
                  <c:v>0</c:v>
                </c:pt>
                <c:pt idx="3811">
                  <c:v>0</c:v>
                </c:pt>
                <c:pt idx="3812">
                  <c:v>0</c:v>
                </c:pt>
                <c:pt idx="3813">
                  <c:v>0</c:v>
                </c:pt>
                <c:pt idx="3814">
                  <c:v>0</c:v>
                </c:pt>
                <c:pt idx="3815">
                  <c:v>0</c:v>
                </c:pt>
                <c:pt idx="3816">
                  <c:v>0</c:v>
                </c:pt>
                <c:pt idx="3817">
                  <c:v>0</c:v>
                </c:pt>
                <c:pt idx="3818">
                  <c:v>0</c:v>
                </c:pt>
                <c:pt idx="3819">
                  <c:v>0</c:v>
                </c:pt>
                <c:pt idx="3820">
                  <c:v>0</c:v>
                </c:pt>
                <c:pt idx="3821">
                  <c:v>0</c:v>
                </c:pt>
                <c:pt idx="3822">
                  <c:v>0</c:v>
                </c:pt>
                <c:pt idx="3823">
                  <c:v>0</c:v>
                </c:pt>
                <c:pt idx="3824">
                  <c:v>0</c:v>
                </c:pt>
                <c:pt idx="3825">
                  <c:v>0</c:v>
                </c:pt>
                <c:pt idx="3826">
                  <c:v>0</c:v>
                </c:pt>
                <c:pt idx="3827">
                  <c:v>0</c:v>
                </c:pt>
                <c:pt idx="3828">
                  <c:v>0</c:v>
                </c:pt>
                <c:pt idx="3829">
                  <c:v>0</c:v>
                </c:pt>
                <c:pt idx="3830">
                  <c:v>0</c:v>
                </c:pt>
                <c:pt idx="3831">
                  <c:v>0</c:v>
                </c:pt>
                <c:pt idx="3832">
                  <c:v>0</c:v>
                </c:pt>
                <c:pt idx="3833">
                  <c:v>0</c:v>
                </c:pt>
                <c:pt idx="3834">
                  <c:v>0</c:v>
                </c:pt>
                <c:pt idx="3835">
                  <c:v>0</c:v>
                </c:pt>
                <c:pt idx="3836">
                  <c:v>0</c:v>
                </c:pt>
                <c:pt idx="3837">
                  <c:v>0</c:v>
                </c:pt>
                <c:pt idx="3838">
                  <c:v>0</c:v>
                </c:pt>
                <c:pt idx="3839">
                  <c:v>0</c:v>
                </c:pt>
                <c:pt idx="3840">
                  <c:v>0</c:v>
                </c:pt>
                <c:pt idx="3841">
                  <c:v>0</c:v>
                </c:pt>
                <c:pt idx="3842">
                  <c:v>0</c:v>
                </c:pt>
                <c:pt idx="3843">
                  <c:v>0</c:v>
                </c:pt>
                <c:pt idx="3844">
                  <c:v>0</c:v>
                </c:pt>
                <c:pt idx="3845">
                  <c:v>0</c:v>
                </c:pt>
                <c:pt idx="3846">
                  <c:v>0</c:v>
                </c:pt>
                <c:pt idx="3847">
                  <c:v>0</c:v>
                </c:pt>
                <c:pt idx="3848">
                  <c:v>0</c:v>
                </c:pt>
                <c:pt idx="3849">
                  <c:v>0</c:v>
                </c:pt>
                <c:pt idx="3850">
                  <c:v>0</c:v>
                </c:pt>
                <c:pt idx="3851">
                  <c:v>0</c:v>
                </c:pt>
                <c:pt idx="3852">
                  <c:v>0</c:v>
                </c:pt>
                <c:pt idx="3853">
                  <c:v>0</c:v>
                </c:pt>
                <c:pt idx="3854">
                  <c:v>0</c:v>
                </c:pt>
                <c:pt idx="3855">
                  <c:v>0</c:v>
                </c:pt>
                <c:pt idx="3856">
                  <c:v>0</c:v>
                </c:pt>
                <c:pt idx="3857">
                  <c:v>0</c:v>
                </c:pt>
                <c:pt idx="3858">
                  <c:v>0</c:v>
                </c:pt>
                <c:pt idx="3859">
                  <c:v>0</c:v>
                </c:pt>
                <c:pt idx="3860">
                  <c:v>0</c:v>
                </c:pt>
                <c:pt idx="3861">
                  <c:v>0</c:v>
                </c:pt>
                <c:pt idx="3862">
                  <c:v>0</c:v>
                </c:pt>
                <c:pt idx="3863">
                  <c:v>0</c:v>
                </c:pt>
                <c:pt idx="3864">
                  <c:v>0</c:v>
                </c:pt>
                <c:pt idx="3865">
                  <c:v>0</c:v>
                </c:pt>
                <c:pt idx="3866">
                  <c:v>0</c:v>
                </c:pt>
                <c:pt idx="3867">
                  <c:v>0</c:v>
                </c:pt>
                <c:pt idx="3868">
                  <c:v>0</c:v>
                </c:pt>
                <c:pt idx="3869">
                  <c:v>0</c:v>
                </c:pt>
                <c:pt idx="3870">
                  <c:v>0</c:v>
                </c:pt>
                <c:pt idx="3871">
                  <c:v>0</c:v>
                </c:pt>
                <c:pt idx="3872">
                  <c:v>0</c:v>
                </c:pt>
                <c:pt idx="3873">
                  <c:v>0</c:v>
                </c:pt>
                <c:pt idx="3874">
                  <c:v>0</c:v>
                </c:pt>
                <c:pt idx="3875">
                  <c:v>0</c:v>
                </c:pt>
                <c:pt idx="3876">
                  <c:v>0</c:v>
                </c:pt>
                <c:pt idx="3877">
                  <c:v>0</c:v>
                </c:pt>
                <c:pt idx="3878">
                  <c:v>0</c:v>
                </c:pt>
                <c:pt idx="3879">
                  <c:v>0</c:v>
                </c:pt>
                <c:pt idx="3880">
                  <c:v>0</c:v>
                </c:pt>
                <c:pt idx="3881">
                  <c:v>0</c:v>
                </c:pt>
                <c:pt idx="3882">
                  <c:v>0</c:v>
                </c:pt>
                <c:pt idx="3883">
                  <c:v>0</c:v>
                </c:pt>
                <c:pt idx="3884">
                  <c:v>0</c:v>
                </c:pt>
                <c:pt idx="3885">
                  <c:v>0</c:v>
                </c:pt>
                <c:pt idx="3886">
                  <c:v>0</c:v>
                </c:pt>
                <c:pt idx="3887">
                  <c:v>0</c:v>
                </c:pt>
                <c:pt idx="3888">
                  <c:v>0</c:v>
                </c:pt>
                <c:pt idx="3889">
                  <c:v>0</c:v>
                </c:pt>
                <c:pt idx="3890">
                  <c:v>0</c:v>
                </c:pt>
                <c:pt idx="3891">
                  <c:v>0</c:v>
                </c:pt>
                <c:pt idx="3892">
                  <c:v>0</c:v>
                </c:pt>
                <c:pt idx="3893">
                  <c:v>0</c:v>
                </c:pt>
                <c:pt idx="3894">
                  <c:v>0</c:v>
                </c:pt>
                <c:pt idx="3895">
                  <c:v>0</c:v>
                </c:pt>
                <c:pt idx="3896">
                  <c:v>0</c:v>
                </c:pt>
                <c:pt idx="3897">
                  <c:v>0</c:v>
                </c:pt>
                <c:pt idx="3898">
                  <c:v>0</c:v>
                </c:pt>
                <c:pt idx="3899">
                  <c:v>0</c:v>
                </c:pt>
                <c:pt idx="3900">
                  <c:v>0</c:v>
                </c:pt>
                <c:pt idx="3901">
                  <c:v>0</c:v>
                </c:pt>
                <c:pt idx="3902">
                  <c:v>0</c:v>
                </c:pt>
                <c:pt idx="3903">
                  <c:v>0</c:v>
                </c:pt>
                <c:pt idx="3904">
                  <c:v>0</c:v>
                </c:pt>
                <c:pt idx="3905">
                  <c:v>0</c:v>
                </c:pt>
                <c:pt idx="3906">
                  <c:v>0</c:v>
                </c:pt>
                <c:pt idx="3907">
                  <c:v>0</c:v>
                </c:pt>
                <c:pt idx="3908">
                  <c:v>0</c:v>
                </c:pt>
                <c:pt idx="3909">
                  <c:v>0</c:v>
                </c:pt>
                <c:pt idx="3910">
                  <c:v>0</c:v>
                </c:pt>
                <c:pt idx="3911">
                  <c:v>0</c:v>
                </c:pt>
                <c:pt idx="3912">
                  <c:v>0</c:v>
                </c:pt>
                <c:pt idx="3913">
                  <c:v>0</c:v>
                </c:pt>
                <c:pt idx="3914">
                  <c:v>0</c:v>
                </c:pt>
                <c:pt idx="3915">
                  <c:v>0</c:v>
                </c:pt>
                <c:pt idx="3916">
                  <c:v>0</c:v>
                </c:pt>
                <c:pt idx="3917">
                  <c:v>0</c:v>
                </c:pt>
                <c:pt idx="3918">
                  <c:v>0</c:v>
                </c:pt>
                <c:pt idx="3919">
                  <c:v>0</c:v>
                </c:pt>
                <c:pt idx="3920">
                  <c:v>0</c:v>
                </c:pt>
                <c:pt idx="3921">
                  <c:v>0</c:v>
                </c:pt>
                <c:pt idx="3922">
                  <c:v>0</c:v>
                </c:pt>
                <c:pt idx="3923">
                  <c:v>0</c:v>
                </c:pt>
                <c:pt idx="3924">
                  <c:v>0</c:v>
                </c:pt>
                <c:pt idx="3925">
                  <c:v>0</c:v>
                </c:pt>
                <c:pt idx="3926">
                  <c:v>0</c:v>
                </c:pt>
                <c:pt idx="3927">
                  <c:v>0</c:v>
                </c:pt>
                <c:pt idx="3928">
                  <c:v>0</c:v>
                </c:pt>
                <c:pt idx="3929">
                  <c:v>0</c:v>
                </c:pt>
                <c:pt idx="3930">
                  <c:v>0</c:v>
                </c:pt>
                <c:pt idx="3931">
                  <c:v>0</c:v>
                </c:pt>
                <c:pt idx="3932">
                  <c:v>0</c:v>
                </c:pt>
                <c:pt idx="3933">
                  <c:v>0</c:v>
                </c:pt>
                <c:pt idx="3934">
                  <c:v>0</c:v>
                </c:pt>
                <c:pt idx="3935">
                  <c:v>0</c:v>
                </c:pt>
                <c:pt idx="3936">
                  <c:v>0</c:v>
                </c:pt>
                <c:pt idx="3937">
                  <c:v>0</c:v>
                </c:pt>
                <c:pt idx="3938">
                  <c:v>0</c:v>
                </c:pt>
                <c:pt idx="3939">
                  <c:v>0</c:v>
                </c:pt>
                <c:pt idx="3940">
                  <c:v>0</c:v>
                </c:pt>
                <c:pt idx="3941">
                  <c:v>0</c:v>
                </c:pt>
                <c:pt idx="3942">
                  <c:v>0</c:v>
                </c:pt>
                <c:pt idx="3943">
                  <c:v>0</c:v>
                </c:pt>
                <c:pt idx="3944">
                  <c:v>0</c:v>
                </c:pt>
                <c:pt idx="3945">
                  <c:v>0</c:v>
                </c:pt>
                <c:pt idx="3946">
                  <c:v>0</c:v>
                </c:pt>
                <c:pt idx="3947">
                  <c:v>0</c:v>
                </c:pt>
                <c:pt idx="3948">
                  <c:v>0</c:v>
                </c:pt>
                <c:pt idx="3949">
                  <c:v>0</c:v>
                </c:pt>
                <c:pt idx="3950">
                  <c:v>0</c:v>
                </c:pt>
                <c:pt idx="3951">
                  <c:v>0</c:v>
                </c:pt>
                <c:pt idx="3952">
                  <c:v>0</c:v>
                </c:pt>
                <c:pt idx="3953">
                  <c:v>0</c:v>
                </c:pt>
                <c:pt idx="3954">
                  <c:v>0</c:v>
                </c:pt>
                <c:pt idx="3955">
                  <c:v>0</c:v>
                </c:pt>
                <c:pt idx="3956">
                  <c:v>0</c:v>
                </c:pt>
                <c:pt idx="3957">
                  <c:v>0</c:v>
                </c:pt>
                <c:pt idx="3958">
                  <c:v>0</c:v>
                </c:pt>
                <c:pt idx="3959">
                  <c:v>0</c:v>
                </c:pt>
                <c:pt idx="3960">
                  <c:v>0</c:v>
                </c:pt>
                <c:pt idx="3961">
                  <c:v>0</c:v>
                </c:pt>
                <c:pt idx="3962">
                  <c:v>0</c:v>
                </c:pt>
                <c:pt idx="3963">
                  <c:v>0</c:v>
                </c:pt>
                <c:pt idx="3964">
                  <c:v>0</c:v>
                </c:pt>
                <c:pt idx="3965">
                  <c:v>0</c:v>
                </c:pt>
                <c:pt idx="3966">
                  <c:v>0</c:v>
                </c:pt>
                <c:pt idx="3967">
                  <c:v>0</c:v>
                </c:pt>
                <c:pt idx="3968">
                  <c:v>0</c:v>
                </c:pt>
                <c:pt idx="3969">
                  <c:v>0</c:v>
                </c:pt>
                <c:pt idx="3970">
                  <c:v>0</c:v>
                </c:pt>
                <c:pt idx="3971">
                  <c:v>0</c:v>
                </c:pt>
                <c:pt idx="3972">
                  <c:v>0</c:v>
                </c:pt>
                <c:pt idx="3973">
                  <c:v>0</c:v>
                </c:pt>
                <c:pt idx="3974">
                  <c:v>0</c:v>
                </c:pt>
                <c:pt idx="3975">
                  <c:v>0</c:v>
                </c:pt>
                <c:pt idx="3976">
                  <c:v>0</c:v>
                </c:pt>
                <c:pt idx="3977">
                  <c:v>0</c:v>
                </c:pt>
                <c:pt idx="3978">
                  <c:v>0</c:v>
                </c:pt>
                <c:pt idx="3979">
                  <c:v>0</c:v>
                </c:pt>
                <c:pt idx="3980">
                  <c:v>0</c:v>
                </c:pt>
                <c:pt idx="3981">
                  <c:v>0</c:v>
                </c:pt>
                <c:pt idx="3982">
                  <c:v>0</c:v>
                </c:pt>
                <c:pt idx="3983">
                  <c:v>0</c:v>
                </c:pt>
                <c:pt idx="3984">
                  <c:v>0</c:v>
                </c:pt>
                <c:pt idx="3985">
                  <c:v>0</c:v>
                </c:pt>
                <c:pt idx="3986">
                  <c:v>0</c:v>
                </c:pt>
                <c:pt idx="3987">
                  <c:v>0</c:v>
                </c:pt>
                <c:pt idx="3988">
                  <c:v>0</c:v>
                </c:pt>
                <c:pt idx="3989">
                  <c:v>0</c:v>
                </c:pt>
                <c:pt idx="3990">
                  <c:v>0</c:v>
                </c:pt>
                <c:pt idx="3991">
                  <c:v>0</c:v>
                </c:pt>
                <c:pt idx="3992">
                  <c:v>0</c:v>
                </c:pt>
                <c:pt idx="3993">
                  <c:v>0</c:v>
                </c:pt>
                <c:pt idx="3994">
                  <c:v>0</c:v>
                </c:pt>
                <c:pt idx="3995">
                  <c:v>0</c:v>
                </c:pt>
                <c:pt idx="3996">
                  <c:v>0</c:v>
                </c:pt>
                <c:pt idx="3997">
                  <c:v>0</c:v>
                </c:pt>
                <c:pt idx="3998">
                  <c:v>0</c:v>
                </c:pt>
                <c:pt idx="3999">
                  <c:v>0</c:v>
                </c:pt>
                <c:pt idx="4000">
                  <c:v>0</c:v>
                </c:pt>
                <c:pt idx="4001">
                  <c:v>0</c:v>
                </c:pt>
                <c:pt idx="4002">
                  <c:v>0</c:v>
                </c:pt>
                <c:pt idx="4003">
                  <c:v>0</c:v>
                </c:pt>
                <c:pt idx="4004">
                  <c:v>0</c:v>
                </c:pt>
                <c:pt idx="4005">
                  <c:v>0</c:v>
                </c:pt>
                <c:pt idx="4006">
                  <c:v>0</c:v>
                </c:pt>
                <c:pt idx="4007">
                  <c:v>0</c:v>
                </c:pt>
                <c:pt idx="4008">
                  <c:v>0</c:v>
                </c:pt>
                <c:pt idx="4009">
                  <c:v>0</c:v>
                </c:pt>
                <c:pt idx="4010">
                  <c:v>0</c:v>
                </c:pt>
                <c:pt idx="4011">
                  <c:v>0</c:v>
                </c:pt>
                <c:pt idx="4012">
                  <c:v>0</c:v>
                </c:pt>
                <c:pt idx="4013">
                  <c:v>0</c:v>
                </c:pt>
                <c:pt idx="4014">
                  <c:v>0</c:v>
                </c:pt>
                <c:pt idx="4015">
                  <c:v>0</c:v>
                </c:pt>
                <c:pt idx="4016">
                  <c:v>0</c:v>
                </c:pt>
                <c:pt idx="4017">
                  <c:v>0</c:v>
                </c:pt>
                <c:pt idx="4018">
                  <c:v>0</c:v>
                </c:pt>
                <c:pt idx="4019">
                  <c:v>0</c:v>
                </c:pt>
                <c:pt idx="4020">
                  <c:v>0</c:v>
                </c:pt>
                <c:pt idx="4021">
                  <c:v>0</c:v>
                </c:pt>
                <c:pt idx="4022">
                  <c:v>0</c:v>
                </c:pt>
                <c:pt idx="4023">
                  <c:v>0</c:v>
                </c:pt>
                <c:pt idx="4024">
                  <c:v>0</c:v>
                </c:pt>
                <c:pt idx="4025">
                  <c:v>0</c:v>
                </c:pt>
                <c:pt idx="4026">
                  <c:v>0</c:v>
                </c:pt>
                <c:pt idx="4027">
                  <c:v>0</c:v>
                </c:pt>
                <c:pt idx="4028">
                  <c:v>0</c:v>
                </c:pt>
                <c:pt idx="4029">
                  <c:v>0</c:v>
                </c:pt>
                <c:pt idx="4030">
                  <c:v>0</c:v>
                </c:pt>
                <c:pt idx="4031">
                  <c:v>0</c:v>
                </c:pt>
                <c:pt idx="4032">
                  <c:v>0</c:v>
                </c:pt>
                <c:pt idx="4033">
                  <c:v>0</c:v>
                </c:pt>
                <c:pt idx="4034">
                  <c:v>0</c:v>
                </c:pt>
                <c:pt idx="4035">
                  <c:v>0</c:v>
                </c:pt>
                <c:pt idx="4036">
                  <c:v>0</c:v>
                </c:pt>
                <c:pt idx="4037">
                  <c:v>0</c:v>
                </c:pt>
                <c:pt idx="4038">
                  <c:v>0</c:v>
                </c:pt>
                <c:pt idx="4039">
                  <c:v>0</c:v>
                </c:pt>
                <c:pt idx="4040">
                  <c:v>0</c:v>
                </c:pt>
                <c:pt idx="4041">
                  <c:v>0</c:v>
                </c:pt>
                <c:pt idx="4042">
                  <c:v>0</c:v>
                </c:pt>
                <c:pt idx="4043">
                  <c:v>0</c:v>
                </c:pt>
                <c:pt idx="4044">
                  <c:v>0</c:v>
                </c:pt>
                <c:pt idx="4045">
                  <c:v>0</c:v>
                </c:pt>
                <c:pt idx="4046">
                  <c:v>0</c:v>
                </c:pt>
                <c:pt idx="4047">
                  <c:v>0</c:v>
                </c:pt>
                <c:pt idx="4048">
                  <c:v>0</c:v>
                </c:pt>
                <c:pt idx="4049">
                  <c:v>0</c:v>
                </c:pt>
                <c:pt idx="4050">
                  <c:v>0</c:v>
                </c:pt>
                <c:pt idx="4051">
                  <c:v>0</c:v>
                </c:pt>
                <c:pt idx="4052">
                  <c:v>0</c:v>
                </c:pt>
                <c:pt idx="4053">
                  <c:v>0</c:v>
                </c:pt>
                <c:pt idx="4054">
                  <c:v>0</c:v>
                </c:pt>
                <c:pt idx="4055">
                  <c:v>0</c:v>
                </c:pt>
                <c:pt idx="4056">
                  <c:v>0</c:v>
                </c:pt>
                <c:pt idx="4057">
                  <c:v>0</c:v>
                </c:pt>
                <c:pt idx="4058">
                  <c:v>0</c:v>
                </c:pt>
                <c:pt idx="4059">
                  <c:v>0</c:v>
                </c:pt>
                <c:pt idx="4060">
                  <c:v>0</c:v>
                </c:pt>
                <c:pt idx="4061">
                  <c:v>0</c:v>
                </c:pt>
                <c:pt idx="4062">
                  <c:v>0</c:v>
                </c:pt>
                <c:pt idx="4063">
                  <c:v>0</c:v>
                </c:pt>
                <c:pt idx="4064">
                  <c:v>0</c:v>
                </c:pt>
                <c:pt idx="4065">
                  <c:v>0</c:v>
                </c:pt>
                <c:pt idx="4066">
                  <c:v>0</c:v>
                </c:pt>
                <c:pt idx="4067">
                  <c:v>0</c:v>
                </c:pt>
                <c:pt idx="4068">
                  <c:v>0</c:v>
                </c:pt>
                <c:pt idx="4069">
                  <c:v>0</c:v>
                </c:pt>
                <c:pt idx="4070">
                  <c:v>0</c:v>
                </c:pt>
                <c:pt idx="4071">
                  <c:v>0</c:v>
                </c:pt>
                <c:pt idx="4072">
                  <c:v>0</c:v>
                </c:pt>
                <c:pt idx="4073">
                  <c:v>0</c:v>
                </c:pt>
                <c:pt idx="4074">
                  <c:v>0</c:v>
                </c:pt>
                <c:pt idx="4075">
                  <c:v>0</c:v>
                </c:pt>
                <c:pt idx="4076">
                  <c:v>0</c:v>
                </c:pt>
                <c:pt idx="4077">
                  <c:v>0</c:v>
                </c:pt>
                <c:pt idx="4078">
                  <c:v>0</c:v>
                </c:pt>
                <c:pt idx="4079">
                  <c:v>0</c:v>
                </c:pt>
                <c:pt idx="4080">
                  <c:v>0</c:v>
                </c:pt>
                <c:pt idx="4081">
                  <c:v>0</c:v>
                </c:pt>
                <c:pt idx="4082">
                  <c:v>0</c:v>
                </c:pt>
                <c:pt idx="4083">
                  <c:v>0</c:v>
                </c:pt>
                <c:pt idx="4084">
                  <c:v>0</c:v>
                </c:pt>
                <c:pt idx="4085">
                  <c:v>0</c:v>
                </c:pt>
                <c:pt idx="4086">
                  <c:v>0</c:v>
                </c:pt>
                <c:pt idx="4087">
                  <c:v>0</c:v>
                </c:pt>
                <c:pt idx="4088">
                  <c:v>0</c:v>
                </c:pt>
                <c:pt idx="4089">
                  <c:v>0</c:v>
                </c:pt>
                <c:pt idx="4090">
                  <c:v>0</c:v>
                </c:pt>
                <c:pt idx="4091">
                  <c:v>0</c:v>
                </c:pt>
                <c:pt idx="4092">
                  <c:v>0</c:v>
                </c:pt>
                <c:pt idx="4093">
                  <c:v>0</c:v>
                </c:pt>
                <c:pt idx="4094">
                  <c:v>0</c:v>
                </c:pt>
                <c:pt idx="4095">
                  <c:v>0</c:v>
                </c:pt>
                <c:pt idx="4096">
                  <c:v>0</c:v>
                </c:pt>
                <c:pt idx="4097">
                  <c:v>0</c:v>
                </c:pt>
                <c:pt idx="4098">
                  <c:v>0</c:v>
                </c:pt>
                <c:pt idx="4099">
                  <c:v>0</c:v>
                </c:pt>
                <c:pt idx="4100">
                  <c:v>0</c:v>
                </c:pt>
                <c:pt idx="4101">
                  <c:v>0</c:v>
                </c:pt>
                <c:pt idx="4102">
                  <c:v>0</c:v>
                </c:pt>
                <c:pt idx="4103">
                  <c:v>0</c:v>
                </c:pt>
                <c:pt idx="4104">
                  <c:v>0</c:v>
                </c:pt>
                <c:pt idx="4105">
                  <c:v>0</c:v>
                </c:pt>
                <c:pt idx="4106">
                  <c:v>0</c:v>
                </c:pt>
                <c:pt idx="4107">
                  <c:v>0</c:v>
                </c:pt>
                <c:pt idx="4108">
                  <c:v>0</c:v>
                </c:pt>
                <c:pt idx="4109">
                  <c:v>0</c:v>
                </c:pt>
                <c:pt idx="4110">
                  <c:v>0</c:v>
                </c:pt>
                <c:pt idx="4111">
                  <c:v>0</c:v>
                </c:pt>
                <c:pt idx="4112">
                  <c:v>0</c:v>
                </c:pt>
                <c:pt idx="4113">
                  <c:v>0</c:v>
                </c:pt>
                <c:pt idx="4114">
                  <c:v>0</c:v>
                </c:pt>
                <c:pt idx="4115">
                  <c:v>0</c:v>
                </c:pt>
                <c:pt idx="4116">
                  <c:v>0</c:v>
                </c:pt>
                <c:pt idx="4117">
                  <c:v>0</c:v>
                </c:pt>
                <c:pt idx="4118">
                  <c:v>0</c:v>
                </c:pt>
                <c:pt idx="4119">
                  <c:v>0</c:v>
                </c:pt>
                <c:pt idx="4120">
                  <c:v>0</c:v>
                </c:pt>
                <c:pt idx="4121">
                  <c:v>0</c:v>
                </c:pt>
                <c:pt idx="4122">
                  <c:v>0</c:v>
                </c:pt>
                <c:pt idx="4123">
                  <c:v>0</c:v>
                </c:pt>
                <c:pt idx="4124">
                  <c:v>0</c:v>
                </c:pt>
                <c:pt idx="4125">
                  <c:v>0</c:v>
                </c:pt>
                <c:pt idx="4126">
                  <c:v>0</c:v>
                </c:pt>
                <c:pt idx="4127">
                  <c:v>0</c:v>
                </c:pt>
                <c:pt idx="4128">
                  <c:v>0</c:v>
                </c:pt>
                <c:pt idx="4129">
                  <c:v>0</c:v>
                </c:pt>
                <c:pt idx="4130">
                  <c:v>0</c:v>
                </c:pt>
                <c:pt idx="4131">
                  <c:v>0</c:v>
                </c:pt>
                <c:pt idx="4132">
                  <c:v>0</c:v>
                </c:pt>
                <c:pt idx="4133">
                  <c:v>0</c:v>
                </c:pt>
                <c:pt idx="4134">
                  <c:v>0</c:v>
                </c:pt>
                <c:pt idx="4135">
                  <c:v>0</c:v>
                </c:pt>
                <c:pt idx="4136">
                  <c:v>0</c:v>
                </c:pt>
                <c:pt idx="4137">
                  <c:v>0</c:v>
                </c:pt>
                <c:pt idx="4138">
                  <c:v>0</c:v>
                </c:pt>
                <c:pt idx="4139">
                  <c:v>0</c:v>
                </c:pt>
                <c:pt idx="4140">
                  <c:v>0</c:v>
                </c:pt>
                <c:pt idx="4141">
                  <c:v>0</c:v>
                </c:pt>
                <c:pt idx="4142">
                  <c:v>0</c:v>
                </c:pt>
                <c:pt idx="4143">
                  <c:v>0</c:v>
                </c:pt>
                <c:pt idx="4144">
                  <c:v>0</c:v>
                </c:pt>
                <c:pt idx="4145">
                  <c:v>0</c:v>
                </c:pt>
                <c:pt idx="4146">
                  <c:v>0</c:v>
                </c:pt>
                <c:pt idx="4147">
                  <c:v>0</c:v>
                </c:pt>
                <c:pt idx="4148">
                  <c:v>0</c:v>
                </c:pt>
                <c:pt idx="4149">
                  <c:v>0</c:v>
                </c:pt>
                <c:pt idx="4150">
                  <c:v>0</c:v>
                </c:pt>
                <c:pt idx="4151">
                  <c:v>0</c:v>
                </c:pt>
                <c:pt idx="4152">
                  <c:v>0</c:v>
                </c:pt>
                <c:pt idx="4153">
                  <c:v>0</c:v>
                </c:pt>
                <c:pt idx="4154">
                  <c:v>0</c:v>
                </c:pt>
                <c:pt idx="4155">
                  <c:v>0</c:v>
                </c:pt>
                <c:pt idx="4156">
                  <c:v>0</c:v>
                </c:pt>
                <c:pt idx="4157">
                  <c:v>0</c:v>
                </c:pt>
                <c:pt idx="4158">
                  <c:v>0</c:v>
                </c:pt>
                <c:pt idx="4159">
                  <c:v>0</c:v>
                </c:pt>
                <c:pt idx="4160">
                  <c:v>0</c:v>
                </c:pt>
                <c:pt idx="4161">
                  <c:v>0</c:v>
                </c:pt>
                <c:pt idx="4162">
                  <c:v>0</c:v>
                </c:pt>
                <c:pt idx="4163">
                  <c:v>0</c:v>
                </c:pt>
                <c:pt idx="4164">
                  <c:v>0</c:v>
                </c:pt>
                <c:pt idx="4165">
                  <c:v>0</c:v>
                </c:pt>
                <c:pt idx="4166">
                  <c:v>0</c:v>
                </c:pt>
                <c:pt idx="4167">
                  <c:v>0</c:v>
                </c:pt>
                <c:pt idx="4168">
                  <c:v>0</c:v>
                </c:pt>
                <c:pt idx="4169">
                  <c:v>0</c:v>
                </c:pt>
                <c:pt idx="4170">
                  <c:v>0</c:v>
                </c:pt>
                <c:pt idx="4171">
                  <c:v>0</c:v>
                </c:pt>
                <c:pt idx="4172">
                  <c:v>0</c:v>
                </c:pt>
                <c:pt idx="4173">
                  <c:v>0</c:v>
                </c:pt>
                <c:pt idx="4174">
                  <c:v>0</c:v>
                </c:pt>
                <c:pt idx="4175">
                  <c:v>0</c:v>
                </c:pt>
                <c:pt idx="4176">
                  <c:v>0</c:v>
                </c:pt>
                <c:pt idx="4177">
                  <c:v>0</c:v>
                </c:pt>
                <c:pt idx="4178">
                  <c:v>0</c:v>
                </c:pt>
                <c:pt idx="4179">
                  <c:v>0</c:v>
                </c:pt>
                <c:pt idx="4180">
                  <c:v>0</c:v>
                </c:pt>
                <c:pt idx="4181">
                  <c:v>0</c:v>
                </c:pt>
                <c:pt idx="4182">
                  <c:v>0</c:v>
                </c:pt>
                <c:pt idx="4183">
                  <c:v>0</c:v>
                </c:pt>
                <c:pt idx="4184">
                  <c:v>0</c:v>
                </c:pt>
                <c:pt idx="4185">
                  <c:v>0</c:v>
                </c:pt>
                <c:pt idx="4186">
                  <c:v>0</c:v>
                </c:pt>
                <c:pt idx="4187">
                  <c:v>0</c:v>
                </c:pt>
                <c:pt idx="4188">
                  <c:v>0</c:v>
                </c:pt>
                <c:pt idx="4189">
                  <c:v>0</c:v>
                </c:pt>
                <c:pt idx="4190">
                  <c:v>0</c:v>
                </c:pt>
                <c:pt idx="4191">
                  <c:v>0</c:v>
                </c:pt>
                <c:pt idx="4192">
                  <c:v>0</c:v>
                </c:pt>
                <c:pt idx="4193">
                  <c:v>0</c:v>
                </c:pt>
                <c:pt idx="4194">
                  <c:v>0</c:v>
                </c:pt>
                <c:pt idx="4195">
                  <c:v>0</c:v>
                </c:pt>
                <c:pt idx="4196">
                  <c:v>0</c:v>
                </c:pt>
                <c:pt idx="4197">
                  <c:v>0</c:v>
                </c:pt>
                <c:pt idx="4198">
                  <c:v>0</c:v>
                </c:pt>
                <c:pt idx="4199">
                  <c:v>0</c:v>
                </c:pt>
                <c:pt idx="4200">
                  <c:v>0</c:v>
                </c:pt>
                <c:pt idx="4201">
                  <c:v>0</c:v>
                </c:pt>
                <c:pt idx="4202">
                  <c:v>0</c:v>
                </c:pt>
                <c:pt idx="4203">
                  <c:v>0</c:v>
                </c:pt>
                <c:pt idx="4204">
                  <c:v>0</c:v>
                </c:pt>
                <c:pt idx="4205">
                  <c:v>0</c:v>
                </c:pt>
                <c:pt idx="4206">
                  <c:v>0</c:v>
                </c:pt>
                <c:pt idx="4207">
                  <c:v>0</c:v>
                </c:pt>
                <c:pt idx="4208">
                  <c:v>0</c:v>
                </c:pt>
                <c:pt idx="4209">
                  <c:v>0</c:v>
                </c:pt>
                <c:pt idx="4210">
                  <c:v>0</c:v>
                </c:pt>
                <c:pt idx="4211">
                  <c:v>0</c:v>
                </c:pt>
                <c:pt idx="4212">
                  <c:v>0</c:v>
                </c:pt>
                <c:pt idx="4213">
                  <c:v>0</c:v>
                </c:pt>
                <c:pt idx="4214">
                  <c:v>0</c:v>
                </c:pt>
                <c:pt idx="4215">
                  <c:v>0</c:v>
                </c:pt>
                <c:pt idx="4216">
                  <c:v>0</c:v>
                </c:pt>
                <c:pt idx="4217">
                  <c:v>0</c:v>
                </c:pt>
                <c:pt idx="4218">
                  <c:v>0</c:v>
                </c:pt>
                <c:pt idx="4219">
                  <c:v>0</c:v>
                </c:pt>
                <c:pt idx="4220">
                  <c:v>0</c:v>
                </c:pt>
                <c:pt idx="4221">
                  <c:v>0</c:v>
                </c:pt>
                <c:pt idx="4222">
                  <c:v>0</c:v>
                </c:pt>
                <c:pt idx="4223">
                  <c:v>0</c:v>
                </c:pt>
                <c:pt idx="4224">
                  <c:v>0</c:v>
                </c:pt>
                <c:pt idx="4225">
                  <c:v>0</c:v>
                </c:pt>
                <c:pt idx="4226">
                  <c:v>0</c:v>
                </c:pt>
                <c:pt idx="4227">
                  <c:v>0</c:v>
                </c:pt>
                <c:pt idx="4228">
                  <c:v>0</c:v>
                </c:pt>
                <c:pt idx="4229">
                  <c:v>0</c:v>
                </c:pt>
                <c:pt idx="4230">
                  <c:v>0</c:v>
                </c:pt>
                <c:pt idx="4231">
                  <c:v>0</c:v>
                </c:pt>
                <c:pt idx="4232">
                  <c:v>0</c:v>
                </c:pt>
                <c:pt idx="4233">
                  <c:v>0</c:v>
                </c:pt>
                <c:pt idx="4234">
                  <c:v>0</c:v>
                </c:pt>
                <c:pt idx="4235">
                  <c:v>0</c:v>
                </c:pt>
                <c:pt idx="4236">
                  <c:v>0</c:v>
                </c:pt>
                <c:pt idx="4237">
                  <c:v>0</c:v>
                </c:pt>
                <c:pt idx="4238">
                  <c:v>0</c:v>
                </c:pt>
                <c:pt idx="4239">
                  <c:v>0</c:v>
                </c:pt>
                <c:pt idx="4240">
                  <c:v>0</c:v>
                </c:pt>
                <c:pt idx="4241">
                  <c:v>0</c:v>
                </c:pt>
                <c:pt idx="4242">
                  <c:v>0</c:v>
                </c:pt>
                <c:pt idx="4243">
                  <c:v>0</c:v>
                </c:pt>
                <c:pt idx="4244">
                  <c:v>0</c:v>
                </c:pt>
                <c:pt idx="4245">
                  <c:v>0</c:v>
                </c:pt>
                <c:pt idx="4246">
                  <c:v>0</c:v>
                </c:pt>
                <c:pt idx="4247">
                  <c:v>0</c:v>
                </c:pt>
                <c:pt idx="4248">
                  <c:v>0</c:v>
                </c:pt>
                <c:pt idx="4249">
                  <c:v>0</c:v>
                </c:pt>
                <c:pt idx="4250">
                  <c:v>0</c:v>
                </c:pt>
                <c:pt idx="4251">
                  <c:v>0</c:v>
                </c:pt>
                <c:pt idx="4252">
                  <c:v>0</c:v>
                </c:pt>
                <c:pt idx="4253">
                  <c:v>0</c:v>
                </c:pt>
                <c:pt idx="4254">
                  <c:v>0</c:v>
                </c:pt>
                <c:pt idx="4255">
                  <c:v>0</c:v>
                </c:pt>
                <c:pt idx="4256">
                  <c:v>0</c:v>
                </c:pt>
                <c:pt idx="4257">
                  <c:v>0</c:v>
                </c:pt>
                <c:pt idx="4258">
                  <c:v>0</c:v>
                </c:pt>
                <c:pt idx="4259">
                  <c:v>0</c:v>
                </c:pt>
                <c:pt idx="4260">
                  <c:v>0</c:v>
                </c:pt>
                <c:pt idx="4261">
                  <c:v>0</c:v>
                </c:pt>
                <c:pt idx="4262">
                  <c:v>0</c:v>
                </c:pt>
                <c:pt idx="4263">
                  <c:v>0</c:v>
                </c:pt>
                <c:pt idx="4264">
                  <c:v>0</c:v>
                </c:pt>
                <c:pt idx="4265">
                  <c:v>0</c:v>
                </c:pt>
                <c:pt idx="4266">
                  <c:v>0</c:v>
                </c:pt>
                <c:pt idx="4267">
                  <c:v>0</c:v>
                </c:pt>
                <c:pt idx="4268">
                  <c:v>0</c:v>
                </c:pt>
                <c:pt idx="4269">
                  <c:v>0</c:v>
                </c:pt>
                <c:pt idx="4270">
                  <c:v>0</c:v>
                </c:pt>
                <c:pt idx="4271">
                  <c:v>0</c:v>
                </c:pt>
                <c:pt idx="4272">
                  <c:v>0</c:v>
                </c:pt>
                <c:pt idx="4273">
                  <c:v>0</c:v>
                </c:pt>
                <c:pt idx="4274">
                  <c:v>0</c:v>
                </c:pt>
                <c:pt idx="4275">
                  <c:v>0</c:v>
                </c:pt>
                <c:pt idx="4276">
                  <c:v>0</c:v>
                </c:pt>
                <c:pt idx="4277">
                  <c:v>0</c:v>
                </c:pt>
                <c:pt idx="4278">
                  <c:v>0</c:v>
                </c:pt>
                <c:pt idx="4279">
                  <c:v>0</c:v>
                </c:pt>
                <c:pt idx="4280">
                  <c:v>0</c:v>
                </c:pt>
                <c:pt idx="4281">
                  <c:v>0</c:v>
                </c:pt>
                <c:pt idx="4282">
                  <c:v>0</c:v>
                </c:pt>
                <c:pt idx="4283">
                  <c:v>0</c:v>
                </c:pt>
                <c:pt idx="4284">
                  <c:v>0</c:v>
                </c:pt>
                <c:pt idx="4285">
                  <c:v>0</c:v>
                </c:pt>
                <c:pt idx="4286">
                  <c:v>0</c:v>
                </c:pt>
                <c:pt idx="4287">
                  <c:v>0</c:v>
                </c:pt>
                <c:pt idx="4288">
                  <c:v>0</c:v>
                </c:pt>
                <c:pt idx="4289">
                  <c:v>0</c:v>
                </c:pt>
                <c:pt idx="4290">
                  <c:v>0</c:v>
                </c:pt>
                <c:pt idx="4291">
                  <c:v>0</c:v>
                </c:pt>
                <c:pt idx="4292">
                  <c:v>0</c:v>
                </c:pt>
                <c:pt idx="4293">
                  <c:v>0</c:v>
                </c:pt>
                <c:pt idx="4294">
                  <c:v>0</c:v>
                </c:pt>
                <c:pt idx="4295">
                  <c:v>0</c:v>
                </c:pt>
                <c:pt idx="4296">
                  <c:v>0</c:v>
                </c:pt>
                <c:pt idx="4297">
                  <c:v>0</c:v>
                </c:pt>
                <c:pt idx="4298">
                  <c:v>0</c:v>
                </c:pt>
                <c:pt idx="4299">
                  <c:v>0</c:v>
                </c:pt>
                <c:pt idx="4300">
                  <c:v>0</c:v>
                </c:pt>
                <c:pt idx="4301">
                  <c:v>0</c:v>
                </c:pt>
                <c:pt idx="4302">
                  <c:v>0</c:v>
                </c:pt>
                <c:pt idx="4303">
                  <c:v>0</c:v>
                </c:pt>
                <c:pt idx="4304">
                  <c:v>0</c:v>
                </c:pt>
                <c:pt idx="4305">
                  <c:v>0</c:v>
                </c:pt>
                <c:pt idx="4306">
                  <c:v>0</c:v>
                </c:pt>
                <c:pt idx="4307">
                  <c:v>0</c:v>
                </c:pt>
                <c:pt idx="4308">
                  <c:v>0</c:v>
                </c:pt>
                <c:pt idx="4309">
                  <c:v>0</c:v>
                </c:pt>
                <c:pt idx="4310">
                  <c:v>0</c:v>
                </c:pt>
                <c:pt idx="4311">
                  <c:v>0</c:v>
                </c:pt>
                <c:pt idx="4312">
                  <c:v>0</c:v>
                </c:pt>
                <c:pt idx="4313">
                  <c:v>0</c:v>
                </c:pt>
                <c:pt idx="4314">
                  <c:v>0</c:v>
                </c:pt>
                <c:pt idx="4315">
                  <c:v>0</c:v>
                </c:pt>
                <c:pt idx="4316">
                  <c:v>0</c:v>
                </c:pt>
                <c:pt idx="4317">
                  <c:v>0</c:v>
                </c:pt>
                <c:pt idx="4318">
                  <c:v>0</c:v>
                </c:pt>
                <c:pt idx="4319">
                  <c:v>0</c:v>
                </c:pt>
                <c:pt idx="4320">
                  <c:v>0</c:v>
                </c:pt>
                <c:pt idx="4321">
                  <c:v>0</c:v>
                </c:pt>
                <c:pt idx="4322">
                  <c:v>0</c:v>
                </c:pt>
                <c:pt idx="4323">
                  <c:v>0</c:v>
                </c:pt>
                <c:pt idx="4324">
                  <c:v>0</c:v>
                </c:pt>
                <c:pt idx="4325">
                  <c:v>0</c:v>
                </c:pt>
                <c:pt idx="4326">
                  <c:v>0</c:v>
                </c:pt>
                <c:pt idx="4327">
                  <c:v>0</c:v>
                </c:pt>
                <c:pt idx="4328">
                  <c:v>0</c:v>
                </c:pt>
                <c:pt idx="4329">
                  <c:v>0</c:v>
                </c:pt>
                <c:pt idx="4330">
                  <c:v>0</c:v>
                </c:pt>
                <c:pt idx="4331">
                  <c:v>0</c:v>
                </c:pt>
                <c:pt idx="4332">
                  <c:v>0</c:v>
                </c:pt>
                <c:pt idx="4333">
                  <c:v>0</c:v>
                </c:pt>
                <c:pt idx="4334">
                  <c:v>0</c:v>
                </c:pt>
                <c:pt idx="4335">
                  <c:v>0</c:v>
                </c:pt>
                <c:pt idx="4336">
                  <c:v>0</c:v>
                </c:pt>
                <c:pt idx="4337">
                  <c:v>0</c:v>
                </c:pt>
                <c:pt idx="4338">
                  <c:v>0</c:v>
                </c:pt>
                <c:pt idx="4339">
                  <c:v>0</c:v>
                </c:pt>
                <c:pt idx="4340">
                  <c:v>0</c:v>
                </c:pt>
                <c:pt idx="4341">
                  <c:v>0</c:v>
                </c:pt>
                <c:pt idx="4342">
                  <c:v>0</c:v>
                </c:pt>
                <c:pt idx="4343">
                  <c:v>0</c:v>
                </c:pt>
                <c:pt idx="4344">
                  <c:v>0</c:v>
                </c:pt>
                <c:pt idx="4345">
                  <c:v>0</c:v>
                </c:pt>
                <c:pt idx="4346">
                  <c:v>0</c:v>
                </c:pt>
                <c:pt idx="4347">
                  <c:v>0</c:v>
                </c:pt>
                <c:pt idx="4348">
                  <c:v>0</c:v>
                </c:pt>
                <c:pt idx="4349">
                  <c:v>0</c:v>
                </c:pt>
                <c:pt idx="4350">
                  <c:v>0</c:v>
                </c:pt>
                <c:pt idx="4351">
                  <c:v>0</c:v>
                </c:pt>
                <c:pt idx="4352">
                  <c:v>0</c:v>
                </c:pt>
                <c:pt idx="4353">
                  <c:v>0</c:v>
                </c:pt>
                <c:pt idx="4354">
                  <c:v>0</c:v>
                </c:pt>
                <c:pt idx="4355">
                  <c:v>0</c:v>
                </c:pt>
                <c:pt idx="4356">
                  <c:v>0</c:v>
                </c:pt>
                <c:pt idx="4357">
                  <c:v>0</c:v>
                </c:pt>
                <c:pt idx="4358">
                  <c:v>0</c:v>
                </c:pt>
                <c:pt idx="4359">
                  <c:v>0</c:v>
                </c:pt>
                <c:pt idx="4360">
                  <c:v>0</c:v>
                </c:pt>
                <c:pt idx="4361">
                  <c:v>0</c:v>
                </c:pt>
                <c:pt idx="4362">
                  <c:v>0</c:v>
                </c:pt>
                <c:pt idx="4363">
                  <c:v>0</c:v>
                </c:pt>
                <c:pt idx="4364">
                  <c:v>0</c:v>
                </c:pt>
                <c:pt idx="4365">
                  <c:v>0</c:v>
                </c:pt>
                <c:pt idx="4366">
                  <c:v>0</c:v>
                </c:pt>
                <c:pt idx="4367">
                  <c:v>0</c:v>
                </c:pt>
                <c:pt idx="4368">
                  <c:v>0</c:v>
                </c:pt>
                <c:pt idx="4369">
                  <c:v>0</c:v>
                </c:pt>
                <c:pt idx="4370">
                  <c:v>0</c:v>
                </c:pt>
                <c:pt idx="4371">
                  <c:v>0</c:v>
                </c:pt>
                <c:pt idx="4372">
                  <c:v>0</c:v>
                </c:pt>
                <c:pt idx="4373">
                  <c:v>0</c:v>
                </c:pt>
                <c:pt idx="4374">
                  <c:v>0</c:v>
                </c:pt>
                <c:pt idx="4375">
                  <c:v>0</c:v>
                </c:pt>
                <c:pt idx="4376">
                  <c:v>0</c:v>
                </c:pt>
                <c:pt idx="4377">
                  <c:v>0</c:v>
                </c:pt>
                <c:pt idx="4378">
                  <c:v>0</c:v>
                </c:pt>
                <c:pt idx="4379">
                  <c:v>0</c:v>
                </c:pt>
                <c:pt idx="4380">
                  <c:v>0</c:v>
                </c:pt>
                <c:pt idx="4381">
                  <c:v>0</c:v>
                </c:pt>
                <c:pt idx="4382">
                  <c:v>0</c:v>
                </c:pt>
                <c:pt idx="4383">
                  <c:v>0</c:v>
                </c:pt>
                <c:pt idx="4384">
                  <c:v>0</c:v>
                </c:pt>
                <c:pt idx="4385">
                  <c:v>0</c:v>
                </c:pt>
                <c:pt idx="4386">
                  <c:v>0</c:v>
                </c:pt>
                <c:pt idx="4387">
                  <c:v>0</c:v>
                </c:pt>
                <c:pt idx="4388">
                  <c:v>0</c:v>
                </c:pt>
                <c:pt idx="4389">
                  <c:v>0</c:v>
                </c:pt>
                <c:pt idx="4390">
                  <c:v>0</c:v>
                </c:pt>
                <c:pt idx="4391">
                  <c:v>0</c:v>
                </c:pt>
                <c:pt idx="4392">
                  <c:v>0</c:v>
                </c:pt>
                <c:pt idx="4393">
                  <c:v>0</c:v>
                </c:pt>
                <c:pt idx="4394">
                  <c:v>0</c:v>
                </c:pt>
                <c:pt idx="4395">
                  <c:v>0</c:v>
                </c:pt>
                <c:pt idx="4396">
                  <c:v>0</c:v>
                </c:pt>
                <c:pt idx="4397">
                  <c:v>0</c:v>
                </c:pt>
                <c:pt idx="4398">
                  <c:v>0</c:v>
                </c:pt>
                <c:pt idx="4399">
                  <c:v>0</c:v>
                </c:pt>
                <c:pt idx="4400">
                  <c:v>0</c:v>
                </c:pt>
                <c:pt idx="4401">
                  <c:v>0</c:v>
                </c:pt>
                <c:pt idx="4402">
                  <c:v>0</c:v>
                </c:pt>
                <c:pt idx="4403">
                  <c:v>0</c:v>
                </c:pt>
                <c:pt idx="4404">
                  <c:v>0</c:v>
                </c:pt>
                <c:pt idx="4405">
                  <c:v>0</c:v>
                </c:pt>
                <c:pt idx="4406">
                  <c:v>0</c:v>
                </c:pt>
                <c:pt idx="4407">
                  <c:v>0</c:v>
                </c:pt>
                <c:pt idx="4408">
                  <c:v>0</c:v>
                </c:pt>
                <c:pt idx="4409">
                  <c:v>0</c:v>
                </c:pt>
                <c:pt idx="4410">
                  <c:v>0</c:v>
                </c:pt>
                <c:pt idx="4411">
                  <c:v>0</c:v>
                </c:pt>
                <c:pt idx="4412">
                  <c:v>0</c:v>
                </c:pt>
                <c:pt idx="4413">
                  <c:v>0</c:v>
                </c:pt>
                <c:pt idx="4414">
                  <c:v>0</c:v>
                </c:pt>
                <c:pt idx="4415">
                  <c:v>0</c:v>
                </c:pt>
                <c:pt idx="4416">
                  <c:v>0</c:v>
                </c:pt>
                <c:pt idx="4417">
                  <c:v>0</c:v>
                </c:pt>
                <c:pt idx="4418">
                  <c:v>0</c:v>
                </c:pt>
                <c:pt idx="4419">
                  <c:v>0</c:v>
                </c:pt>
                <c:pt idx="4420">
                  <c:v>0</c:v>
                </c:pt>
                <c:pt idx="4421">
                  <c:v>0</c:v>
                </c:pt>
                <c:pt idx="4422">
                  <c:v>0</c:v>
                </c:pt>
                <c:pt idx="4423">
                  <c:v>0</c:v>
                </c:pt>
                <c:pt idx="4424">
                  <c:v>0</c:v>
                </c:pt>
                <c:pt idx="4425">
                  <c:v>0</c:v>
                </c:pt>
                <c:pt idx="4426">
                  <c:v>0</c:v>
                </c:pt>
                <c:pt idx="4427">
                  <c:v>0</c:v>
                </c:pt>
                <c:pt idx="4428">
                  <c:v>0</c:v>
                </c:pt>
                <c:pt idx="4429">
                  <c:v>0</c:v>
                </c:pt>
                <c:pt idx="4430">
                  <c:v>0</c:v>
                </c:pt>
                <c:pt idx="4431">
                  <c:v>0</c:v>
                </c:pt>
                <c:pt idx="4432">
                  <c:v>0</c:v>
                </c:pt>
                <c:pt idx="4433">
                  <c:v>0</c:v>
                </c:pt>
                <c:pt idx="4434">
                  <c:v>0</c:v>
                </c:pt>
                <c:pt idx="4435">
                  <c:v>0</c:v>
                </c:pt>
                <c:pt idx="4436">
                  <c:v>0</c:v>
                </c:pt>
                <c:pt idx="4437">
                  <c:v>0</c:v>
                </c:pt>
                <c:pt idx="4438">
                  <c:v>0</c:v>
                </c:pt>
                <c:pt idx="4439">
                  <c:v>0</c:v>
                </c:pt>
                <c:pt idx="4440">
                  <c:v>0</c:v>
                </c:pt>
                <c:pt idx="4441">
                  <c:v>0</c:v>
                </c:pt>
                <c:pt idx="4442">
                  <c:v>0</c:v>
                </c:pt>
                <c:pt idx="4443">
                  <c:v>0</c:v>
                </c:pt>
                <c:pt idx="4444">
                  <c:v>0</c:v>
                </c:pt>
                <c:pt idx="4445">
                  <c:v>0</c:v>
                </c:pt>
                <c:pt idx="4446">
                  <c:v>0</c:v>
                </c:pt>
                <c:pt idx="4447">
                  <c:v>0</c:v>
                </c:pt>
                <c:pt idx="4448">
                  <c:v>0</c:v>
                </c:pt>
                <c:pt idx="4449">
                  <c:v>0</c:v>
                </c:pt>
                <c:pt idx="4450">
                  <c:v>0</c:v>
                </c:pt>
                <c:pt idx="4451">
                  <c:v>0</c:v>
                </c:pt>
                <c:pt idx="4452">
                  <c:v>0</c:v>
                </c:pt>
                <c:pt idx="4453">
                  <c:v>0</c:v>
                </c:pt>
                <c:pt idx="4454">
                  <c:v>0</c:v>
                </c:pt>
                <c:pt idx="4455">
                  <c:v>0</c:v>
                </c:pt>
                <c:pt idx="4456">
                  <c:v>0</c:v>
                </c:pt>
                <c:pt idx="4457">
                  <c:v>0</c:v>
                </c:pt>
                <c:pt idx="4458">
                  <c:v>0</c:v>
                </c:pt>
                <c:pt idx="4459">
                  <c:v>0</c:v>
                </c:pt>
                <c:pt idx="4460">
                  <c:v>0</c:v>
                </c:pt>
                <c:pt idx="4461">
                  <c:v>0</c:v>
                </c:pt>
                <c:pt idx="4462">
                  <c:v>0</c:v>
                </c:pt>
                <c:pt idx="4463">
                  <c:v>0</c:v>
                </c:pt>
                <c:pt idx="4464">
                  <c:v>0</c:v>
                </c:pt>
                <c:pt idx="4465">
                  <c:v>0</c:v>
                </c:pt>
                <c:pt idx="4466">
                  <c:v>0</c:v>
                </c:pt>
                <c:pt idx="4467">
                  <c:v>0</c:v>
                </c:pt>
                <c:pt idx="4468">
                  <c:v>0</c:v>
                </c:pt>
                <c:pt idx="4469">
                  <c:v>0</c:v>
                </c:pt>
                <c:pt idx="4470">
                  <c:v>0</c:v>
                </c:pt>
                <c:pt idx="4471">
                  <c:v>0</c:v>
                </c:pt>
                <c:pt idx="4472">
                  <c:v>0</c:v>
                </c:pt>
                <c:pt idx="4473">
                  <c:v>0</c:v>
                </c:pt>
                <c:pt idx="4474">
                  <c:v>0</c:v>
                </c:pt>
                <c:pt idx="4475">
                  <c:v>0</c:v>
                </c:pt>
                <c:pt idx="4476">
                  <c:v>0</c:v>
                </c:pt>
                <c:pt idx="4477">
                  <c:v>0</c:v>
                </c:pt>
                <c:pt idx="4478">
                  <c:v>0</c:v>
                </c:pt>
                <c:pt idx="4479">
                  <c:v>0</c:v>
                </c:pt>
                <c:pt idx="4480">
                  <c:v>0</c:v>
                </c:pt>
                <c:pt idx="4481">
                  <c:v>0</c:v>
                </c:pt>
                <c:pt idx="4482">
                  <c:v>0</c:v>
                </c:pt>
                <c:pt idx="4483">
                  <c:v>0</c:v>
                </c:pt>
                <c:pt idx="4484">
                  <c:v>0</c:v>
                </c:pt>
                <c:pt idx="4485">
                  <c:v>0</c:v>
                </c:pt>
                <c:pt idx="4486">
                  <c:v>0</c:v>
                </c:pt>
                <c:pt idx="4487">
                  <c:v>0</c:v>
                </c:pt>
                <c:pt idx="4488">
                  <c:v>0</c:v>
                </c:pt>
                <c:pt idx="4489">
                  <c:v>0</c:v>
                </c:pt>
                <c:pt idx="4490">
                  <c:v>0</c:v>
                </c:pt>
                <c:pt idx="4491">
                  <c:v>0</c:v>
                </c:pt>
                <c:pt idx="4492">
                  <c:v>0</c:v>
                </c:pt>
                <c:pt idx="4493">
                  <c:v>0</c:v>
                </c:pt>
                <c:pt idx="4494">
                  <c:v>0</c:v>
                </c:pt>
                <c:pt idx="4495">
                  <c:v>0</c:v>
                </c:pt>
                <c:pt idx="4496">
                  <c:v>0</c:v>
                </c:pt>
                <c:pt idx="4497">
                  <c:v>0</c:v>
                </c:pt>
                <c:pt idx="4498">
                  <c:v>0</c:v>
                </c:pt>
                <c:pt idx="4499">
                  <c:v>0</c:v>
                </c:pt>
                <c:pt idx="4500">
                  <c:v>0</c:v>
                </c:pt>
                <c:pt idx="4501">
                  <c:v>0</c:v>
                </c:pt>
                <c:pt idx="4502">
                  <c:v>0</c:v>
                </c:pt>
                <c:pt idx="4503">
                  <c:v>0</c:v>
                </c:pt>
                <c:pt idx="4504">
                  <c:v>0</c:v>
                </c:pt>
                <c:pt idx="4505">
                  <c:v>0</c:v>
                </c:pt>
                <c:pt idx="4506">
                  <c:v>0</c:v>
                </c:pt>
                <c:pt idx="4507">
                  <c:v>0</c:v>
                </c:pt>
                <c:pt idx="4508">
                  <c:v>0</c:v>
                </c:pt>
                <c:pt idx="4509">
                  <c:v>0</c:v>
                </c:pt>
                <c:pt idx="4510">
                  <c:v>0</c:v>
                </c:pt>
                <c:pt idx="4511">
                  <c:v>0</c:v>
                </c:pt>
                <c:pt idx="4512">
                  <c:v>0</c:v>
                </c:pt>
                <c:pt idx="4513">
                  <c:v>0</c:v>
                </c:pt>
                <c:pt idx="4514">
                  <c:v>0</c:v>
                </c:pt>
                <c:pt idx="4515">
                  <c:v>0</c:v>
                </c:pt>
                <c:pt idx="4516">
                  <c:v>0</c:v>
                </c:pt>
                <c:pt idx="4517">
                  <c:v>0</c:v>
                </c:pt>
                <c:pt idx="4518">
                  <c:v>0</c:v>
                </c:pt>
                <c:pt idx="4519">
                  <c:v>0</c:v>
                </c:pt>
                <c:pt idx="4520">
                  <c:v>0</c:v>
                </c:pt>
                <c:pt idx="4521">
                  <c:v>0</c:v>
                </c:pt>
                <c:pt idx="4522">
                  <c:v>0</c:v>
                </c:pt>
                <c:pt idx="4523">
                  <c:v>0</c:v>
                </c:pt>
                <c:pt idx="4524">
                  <c:v>0</c:v>
                </c:pt>
                <c:pt idx="4525">
                  <c:v>0</c:v>
                </c:pt>
                <c:pt idx="4526">
                  <c:v>0</c:v>
                </c:pt>
                <c:pt idx="4527">
                  <c:v>0</c:v>
                </c:pt>
                <c:pt idx="4528">
                  <c:v>0</c:v>
                </c:pt>
                <c:pt idx="4529">
                  <c:v>0</c:v>
                </c:pt>
                <c:pt idx="4530">
                  <c:v>0</c:v>
                </c:pt>
                <c:pt idx="4531">
                  <c:v>0</c:v>
                </c:pt>
                <c:pt idx="4532">
                  <c:v>0</c:v>
                </c:pt>
                <c:pt idx="4533">
                  <c:v>0</c:v>
                </c:pt>
                <c:pt idx="4534">
                  <c:v>0</c:v>
                </c:pt>
                <c:pt idx="4535">
                  <c:v>0</c:v>
                </c:pt>
                <c:pt idx="4536">
                  <c:v>0</c:v>
                </c:pt>
                <c:pt idx="4537">
                  <c:v>0</c:v>
                </c:pt>
                <c:pt idx="4538">
                  <c:v>0</c:v>
                </c:pt>
                <c:pt idx="4539">
                  <c:v>0</c:v>
                </c:pt>
                <c:pt idx="4540">
                  <c:v>0</c:v>
                </c:pt>
                <c:pt idx="4541">
                  <c:v>0</c:v>
                </c:pt>
                <c:pt idx="4542">
                  <c:v>0</c:v>
                </c:pt>
                <c:pt idx="4543">
                  <c:v>0</c:v>
                </c:pt>
                <c:pt idx="4544">
                  <c:v>0</c:v>
                </c:pt>
                <c:pt idx="4545">
                  <c:v>0</c:v>
                </c:pt>
                <c:pt idx="4546">
                  <c:v>0</c:v>
                </c:pt>
                <c:pt idx="4547">
                  <c:v>0</c:v>
                </c:pt>
                <c:pt idx="4548">
                  <c:v>0</c:v>
                </c:pt>
                <c:pt idx="4549">
                  <c:v>0</c:v>
                </c:pt>
                <c:pt idx="4550">
                  <c:v>0</c:v>
                </c:pt>
                <c:pt idx="4551">
                  <c:v>0</c:v>
                </c:pt>
                <c:pt idx="4552">
                  <c:v>0</c:v>
                </c:pt>
                <c:pt idx="4553">
                  <c:v>0</c:v>
                </c:pt>
                <c:pt idx="4554">
                  <c:v>0</c:v>
                </c:pt>
                <c:pt idx="4555">
                  <c:v>0</c:v>
                </c:pt>
                <c:pt idx="4556">
                  <c:v>0</c:v>
                </c:pt>
                <c:pt idx="4557">
                  <c:v>0</c:v>
                </c:pt>
                <c:pt idx="4558">
                  <c:v>0</c:v>
                </c:pt>
                <c:pt idx="4559">
                  <c:v>0</c:v>
                </c:pt>
                <c:pt idx="4560">
                  <c:v>0</c:v>
                </c:pt>
                <c:pt idx="4561">
                  <c:v>0</c:v>
                </c:pt>
                <c:pt idx="4562">
                  <c:v>0</c:v>
                </c:pt>
                <c:pt idx="4563">
                  <c:v>0</c:v>
                </c:pt>
                <c:pt idx="4564">
                  <c:v>0</c:v>
                </c:pt>
                <c:pt idx="4565">
                  <c:v>0</c:v>
                </c:pt>
                <c:pt idx="4566">
                  <c:v>0</c:v>
                </c:pt>
                <c:pt idx="4567">
                  <c:v>0</c:v>
                </c:pt>
                <c:pt idx="4568">
                  <c:v>0</c:v>
                </c:pt>
                <c:pt idx="4569">
                  <c:v>0</c:v>
                </c:pt>
                <c:pt idx="4570">
                  <c:v>0</c:v>
                </c:pt>
                <c:pt idx="4571">
                  <c:v>0</c:v>
                </c:pt>
                <c:pt idx="4572">
                  <c:v>0</c:v>
                </c:pt>
                <c:pt idx="4573">
                  <c:v>0</c:v>
                </c:pt>
                <c:pt idx="4574">
                  <c:v>0</c:v>
                </c:pt>
                <c:pt idx="4575">
                  <c:v>0</c:v>
                </c:pt>
                <c:pt idx="4576">
                  <c:v>0</c:v>
                </c:pt>
                <c:pt idx="4577">
                  <c:v>0</c:v>
                </c:pt>
                <c:pt idx="4578">
                  <c:v>0</c:v>
                </c:pt>
                <c:pt idx="4579">
                  <c:v>0</c:v>
                </c:pt>
                <c:pt idx="4580">
                  <c:v>0</c:v>
                </c:pt>
                <c:pt idx="4581">
                  <c:v>0</c:v>
                </c:pt>
                <c:pt idx="4582">
                  <c:v>0</c:v>
                </c:pt>
                <c:pt idx="4583">
                  <c:v>0</c:v>
                </c:pt>
                <c:pt idx="4584">
                  <c:v>0</c:v>
                </c:pt>
                <c:pt idx="4585">
                  <c:v>0</c:v>
                </c:pt>
                <c:pt idx="4586">
                  <c:v>0</c:v>
                </c:pt>
                <c:pt idx="4587">
                  <c:v>0</c:v>
                </c:pt>
                <c:pt idx="4588">
                  <c:v>0</c:v>
                </c:pt>
                <c:pt idx="4589">
                  <c:v>0</c:v>
                </c:pt>
                <c:pt idx="4590">
                  <c:v>0</c:v>
                </c:pt>
                <c:pt idx="4591">
                  <c:v>0</c:v>
                </c:pt>
                <c:pt idx="4592">
                  <c:v>0</c:v>
                </c:pt>
                <c:pt idx="4593">
                  <c:v>0</c:v>
                </c:pt>
                <c:pt idx="4594">
                  <c:v>0</c:v>
                </c:pt>
                <c:pt idx="4595">
                  <c:v>0</c:v>
                </c:pt>
                <c:pt idx="4596">
                  <c:v>0</c:v>
                </c:pt>
                <c:pt idx="4597">
                  <c:v>0</c:v>
                </c:pt>
                <c:pt idx="4598">
                  <c:v>0</c:v>
                </c:pt>
                <c:pt idx="4599">
                  <c:v>0</c:v>
                </c:pt>
                <c:pt idx="4600">
                  <c:v>0</c:v>
                </c:pt>
                <c:pt idx="4601">
                  <c:v>0</c:v>
                </c:pt>
                <c:pt idx="4602">
                  <c:v>0</c:v>
                </c:pt>
                <c:pt idx="4603">
                  <c:v>0</c:v>
                </c:pt>
                <c:pt idx="4604">
                  <c:v>0</c:v>
                </c:pt>
                <c:pt idx="4605">
                  <c:v>0</c:v>
                </c:pt>
                <c:pt idx="4606">
                  <c:v>0</c:v>
                </c:pt>
                <c:pt idx="4607">
                  <c:v>0</c:v>
                </c:pt>
                <c:pt idx="4608">
                  <c:v>0</c:v>
                </c:pt>
                <c:pt idx="4609">
                  <c:v>0</c:v>
                </c:pt>
                <c:pt idx="4610">
                  <c:v>0</c:v>
                </c:pt>
                <c:pt idx="4611">
                  <c:v>0</c:v>
                </c:pt>
                <c:pt idx="4612">
                  <c:v>0</c:v>
                </c:pt>
                <c:pt idx="4613">
                  <c:v>0</c:v>
                </c:pt>
                <c:pt idx="4614">
                  <c:v>0</c:v>
                </c:pt>
                <c:pt idx="4615">
                  <c:v>0</c:v>
                </c:pt>
                <c:pt idx="4616">
                  <c:v>0</c:v>
                </c:pt>
                <c:pt idx="4617">
                  <c:v>0</c:v>
                </c:pt>
                <c:pt idx="4618">
                  <c:v>0</c:v>
                </c:pt>
                <c:pt idx="4619">
                  <c:v>0</c:v>
                </c:pt>
                <c:pt idx="4620">
                  <c:v>0</c:v>
                </c:pt>
                <c:pt idx="4621">
                  <c:v>0</c:v>
                </c:pt>
                <c:pt idx="4622">
                  <c:v>0</c:v>
                </c:pt>
                <c:pt idx="4623">
                  <c:v>0</c:v>
                </c:pt>
                <c:pt idx="4624">
                  <c:v>0</c:v>
                </c:pt>
                <c:pt idx="4625">
                  <c:v>0</c:v>
                </c:pt>
                <c:pt idx="4626">
                  <c:v>0</c:v>
                </c:pt>
                <c:pt idx="4627">
                  <c:v>0</c:v>
                </c:pt>
                <c:pt idx="4628">
                  <c:v>0</c:v>
                </c:pt>
                <c:pt idx="4629">
                  <c:v>0</c:v>
                </c:pt>
                <c:pt idx="4630">
                  <c:v>0</c:v>
                </c:pt>
                <c:pt idx="4631">
                  <c:v>0</c:v>
                </c:pt>
                <c:pt idx="4632">
                  <c:v>0</c:v>
                </c:pt>
                <c:pt idx="4633">
                  <c:v>0</c:v>
                </c:pt>
                <c:pt idx="4634">
                  <c:v>0</c:v>
                </c:pt>
                <c:pt idx="4635">
                  <c:v>0</c:v>
                </c:pt>
                <c:pt idx="4636">
                  <c:v>0</c:v>
                </c:pt>
                <c:pt idx="4637">
                  <c:v>0</c:v>
                </c:pt>
                <c:pt idx="4638">
                  <c:v>0</c:v>
                </c:pt>
                <c:pt idx="4639">
                  <c:v>0</c:v>
                </c:pt>
                <c:pt idx="4640">
                  <c:v>0</c:v>
                </c:pt>
                <c:pt idx="4641">
                  <c:v>0</c:v>
                </c:pt>
                <c:pt idx="4642">
                  <c:v>0</c:v>
                </c:pt>
                <c:pt idx="4643">
                  <c:v>0</c:v>
                </c:pt>
                <c:pt idx="4644">
                  <c:v>0</c:v>
                </c:pt>
                <c:pt idx="4645">
                  <c:v>0</c:v>
                </c:pt>
                <c:pt idx="4646">
                  <c:v>0</c:v>
                </c:pt>
                <c:pt idx="4647">
                  <c:v>0</c:v>
                </c:pt>
                <c:pt idx="4648">
                  <c:v>0</c:v>
                </c:pt>
                <c:pt idx="4649">
                  <c:v>0</c:v>
                </c:pt>
                <c:pt idx="4650">
                  <c:v>0</c:v>
                </c:pt>
                <c:pt idx="4651">
                  <c:v>0</c:v>
                </c:pt>
                <c:pt idx="4652">
                  <c:v>0</c:v>
                </c:pt>
                <c:pt idx="4653">
                  <c:v>0</c:v>
                </c:pt>
                <c:pt idx="4654">
                  <c:v>0</c:v>
                </c:pt>
                <c:pt idx="4655">
                  <c:v>0</c:v>
                </c:pt>
                <c:pt idx="4656">
                  <c:v>0</c:v>
                </c:pt>
                <c:pt idx="4657">
                  <c:v>0</c:v>
                </c:pt>
                <c:pt idx="4658">
                  <c:v>0</c:v>
                </c:pt>
                <c:pt idx="4659">
                  <c:v>0</c:v>
                </c:pt>
                <c:pt idx="4660">
                  <c:v>0</c:v>
                </c:pt>
                <c:pt idx="4661">
                  <c:v>0</c:v>
                </c:pt>
                <c:pt idx="4662">
                  <c:v>0</c:v>
                </c:pt>
                <c:pt idx="4663">
                  <c:v>0</c:v>
                </c:pt>
                <c:pt idx="4664">
                  <c:v>0</c:v>
                </c:pt>
                <c:pt idx="4665">
                  <c:v>0</c:v>
                </c:pt>
                <c:pt idx="4666">
                  <c:v>0</c:v>
                </c:pt>
                <c:pt idx="4667">
                  <c:v>0</c:v>
                </c:pt>
                <c:pt idx="4668">
                  <c:v>0</c:v>
                </c:pt>
                <c:pt idx="4669">
                  <c:v>0</c:v>
                </c:pt>
                <c:pt idx="4670">
                  <c:v>0</c:v>
                </c:pt>
                <c:pt idx="4671">
                  <c:v>0</c:v>
                </c:pt>
                <c:pt idx="4672">
                  <c:v>0</c:v>
                </c:pt>
                <c:pt idx="4673">
                  <c:v>0</c:v>
                </c:pt>
                <c:pt idx="4674">
                  <c:v>0</c:v>
                </c:pt>
                <c:pt idx="4675">
                  <c:v>0</c:v>
                </c:pt>
                <c:pt idx="4676">
                  <c:v>0</c:v>
                </c:pt>
                <c:pt idx="4677">
                  <c:v>0</c:v>
                </c:pt>
                <c:pt idx="4678">
                  <c:v>0</c:v>
                </c:pt>
                <c:pt idx="4679">
                  <c:v>0</c:v>
                </c:pt>
                <c:pt idx="4680">
                  <c:v>0</c:v>
                </c:pt>
                <c:pt idx="4681">
                  <c:v>0</c:v>
                </c:pt>
                <c:pt idx="4682">
                  <c:v>0</c:v>
                </c:pt>
                <c:pt idx="4683">
                  <c:v>0</c:v>
                </c:pt>
                <c:pt idx="4684">
                  <c:v>0</c:v>
                </c:pt>
                <c:pt idx="4685">
                  <c:v>0</c:v>
                </c:pt>
                <c:pt idx="4686">
                  <c:v>0</c:v>
                </c:pt>
                <c:pt idx="4687">
                  <c:v>0</c:v>
                </c:pt>
                <c:pt idx="4688">
                  <c:v>0</c:v>
                </c:pt>
                <c:pt idx="4689">
                  <c:v>0</c:v>
                </c:pt>
                <c:pt idx="4690">
                  <c:v>0</c:v>
                </c:pt>
                <c:pt idx="4691">
                  <c:v>0</c:v>
                </c:pt>
                <c:pt idx="4692">
                  <c:v>0</c:v>
                </c:pt>
                <c:pt idx="4693">
                  <c:v>0</c:v>
                </c:pt>
                <c:pt idx="4694">
                  <c:v>0</c:v>
                </c:pt>
                <c:pt idx="4695">
                  <c:v>0</c:v>
                </c:pt>
                <c:pt idx="4696">
                  <c:v>0</c:v>
                </c:pt>
                <c:pt idx="4697">
                  <c:v>0</c:v>
                </c:pt>
                <c:pt idx="4698">
                  <c:v>0</c:v>
                </c:pt>
                <c:pt idx="4699">
                  <c:v>0</c:v>
                </c:pt>
                <c:pt idx="4700">
                  <c:v>0</c:v>
                </c:pt>
                <c:pt idx="4701">
                  <c:v>0</c:v>
                </c:pt>
                <c:pt idx="4702">
                  <c:v>0</c:v>
                </c:pt>
                <c:pt idx="4703">
                  <c:v>0</c:v>
                </c:pt>
                <c:pt idx="4704">
                  <c:v>0</c:v>
                </c:pt>
                <c:pt idx="4705">
                  <c:v>0</c:v>
                </c:pt>
                <c:pt idx="4706">
                  <c:v>0</c:v>
                </c:pt>
                <c:pt idx="4707">
                  <c:v>0</c:v>
                </c:pt>
                <c:pt idx="4708">
                  <c:v>0</c:v>
                </c:pt>
                <c:pt idx="4709">
                  <c:v>0</c:v>
                </c:pt>
                <c:pt idx="4710">
                  <c:v>0</c:v>
                </c:pt>
                <c:pt idx="4711">
                  <c:v>0</c:v>
                </c:pt>
                <c:pt idx="4712">
                  <c:v>0</c:v>
                </c:pt>
                <c:pt idx="4713">
                  <c:v>0</c:v>
                </c:pt>
                <c:pt idx="4714">
                  <c:v>0</c:v>
                </c:pt>
                <c:pt idx="4715">
                  <c:v>0</c:v>
                </c:pt>
                <c:pt idx="4716">
                  <c:v>0</c:v>
                </c:pt>
                <c:pt idx="4717">
                  <c:v>0</c:v>
                </c:pt>
                <c:pt idx="4718">
                  <c:v>0</c:v>
                </c:pt>
                <c:pt idx="4719">
                  <c:v>0</c:v>
                </c:pt>
                <c:pt idx="4720">
                  <c:v>0</c:v>
                </c:pt>
                <c:pt idx="4721">
                  <c:v>0</c:v>
                </c:pt>
                <c:pt idx="4722">
                  <c:v>0</c:v>
                </c:pt>
                <c:pt idx="4723">
                  <c:v>0</c:v>
                </c:pt>
                <c:pt idx="4724">
                  <c:v>0</c:v>
                </c:pt>
                <c:pt idx="4725">
                  <c:v>0</c:v>
                </c:pt>
                <c:pt idx="4726">
                  <c:v>0</c:v>
                </c:pt>
                <c:pt idx="4727">
                  <c:v>0</c:v>
                </c:pt>
                <c:pt idx="4728">
                  <c:v>0</c:v>
                </c:pt>
                <c:pt idx="4729">
                  <c:v>0</c:v>
                </c:pt>
                <c:pt idx="4730">
                  <c:v>0</c:v>
                </c:pt>
                <c:pt idx="4731">
                  <c:v>0</c:v>
                </c:pt>
                <c:pt idx="4732">
                  <c:v>0</c:v>
                </c:pt>
                <c:pt idx="4733">
                  <c:v>0</c:v>
                </c:pt>
                <c:pt idx="4734">
                  <c:v>0</c:v>
                </c:pt>
                <c:pt idx="4735">
                  <c:v>0</c:v>
                </c:pt>
                <c:pt idx="4736">
                  <c:v>0</c:v>
                </c:pt>
                <c:pt idx="4737">
                  <c:v>0</c:v>
                </c:pt>
                <c:pt idx="4738">
                  <c:v>0</c:v>
                </c:pt>
                <c:pt idx="4739">
                  <c:v>0</c:v>
                </c:pt>
                <c:pt idx="4740">
                  <c:v>0</c:v>
                </c:pt>
                <c:pt idx="4741">
                  <c:v>0</c:v>
                </c:pt>
                <c:pt idx="4742">
                  <c:v>0</c:v>
                </c:pt>
                <c:pt idx="4743">
                  <c:v>0</c:v>
                </c:pt>
                <c:pt idx="4744">
                  <c:v>0</c:v>
                </c:pt>
                <c:pt idx="4745">
                  <c:v>0</c:v>
                </c:pt>
                <c:pt idx="4746">
                  <c:v>0</c:v>
                </c:pt>
                <c:pt idx="4747">
                  <c:v>0</c:v>
                </c:pt>
                <c:pt idx="4748">
                  <c:v>0</c:v>
                </c:pt>
                <c:pt idx="4749">
                  <c:v>0</c:v>
                </c:pt>
                <c:pt idx="4750">
                  <c:v>0</c:v>
                </c:pt>
                <c:pt idx="4751">
                  <c:v>0</c:v>
                </c:pt>
                <c:pt idx="4752">
                  <c:v>0</c:v>
                </c:pt>
                <c:pt idx="4753">
                  <c:v>0</c:v>
                </c:pt>
                <c:pt idx="4754">
                  <c:v>0</c:v>
                </c:pt>
                <c:pt idx="4755">
                  <c:v>0</c:v>
                </c:pt>
                <c:pt idx="4756">
                  <c:v>0</c:v>
                </c:pt>
                <c:pt idx="4757">
                  <c:v>0</c:v>
                </c:pt>
                <c:pt idx="4758">
                  <c:v>0</c:v>
                </c:pt>
                <c:pt idx="4759">
                  <c:v>0</c:v>
                </c:pt>
                <c:pt idx="4760">
                  <c:v>0</c:v>
                </c:pt>
                <c:pt idx="4761">
                  <c:v>0</c:v>
                </c:pt>
                <c:pt idx="4762">
                  <c:v>0</c:v>
                </c:pt>
                <c:pt idx="4763">
                  <c:v>0</c:v>
                </c:pt>
                <c:pt idx="4764">
                  <c:v>0</c:v>
                </c:pt>
                <c:pt idx="4765">
                  <c:v>0</c:v>
                </c:pt>
                <c:pt idx="4766">
                  <c:v>0</c:v>
                </c:pt>
                <c:pt idx="4767">
                  <c:v>0</c:v>
                </c:pt>
                <c:pt idx="4768">
                  <c:v>0</c:v>
                </c:pt>
                <c:pt idx="4769">
                  <c:v>0</c:v>
                </c:pt>
                <c:pt idx="4770">
                  <c:v>0</c:v>
                </c:pt>
                <c:pt idx="4771">
                  <c:v>0</c:v>
                </c:pt>
                <c:pt idx="4772">
                  <c:v>0</c:v>
                </c:pt>
                <c:pt idx="4773">
                  <c:v>0</c:v>
                </c:pt>
                <c:pt idx="4774">
                  <c:v>0</c:v>
                </c:pt>
                <c:pt idx="4775">
                  <c:v>0</c:v>
                </c:pt>
                <c:pt idx="4776">
                  <c:v>0</c:v>
                </c:pt>
                <c:pt idx="4777">
                  <c:v>0</c:v>
                </c:pt>
                <c:pt idx="4778">
                  <c:v>0</c:v>
                </c:pt>
                <c:pt idx="4779">
                  <c:v>0</c:v>
                </c:pt>
                <c:pt idx="4780">
                  <c:v>0</c:v>
                </c:pt>
                <c:pt idx="4781">
                  <c:v>0</c:v>
                </c:pt>
                <c:pt idx="4782">
                  <c:v>0</c:v>
                </c:pt>
                <c:pt idx="4783">
                  <c:v>0</c:v>
                </c:pt>
                <c:pt idx="4784">
                  <c:v>0</c:v>
                </c:pt>
                <c:pt idx="4785">
                  <c:v>0</c:v>
                </c:pt>
                <c:pt idx="4786">
                  <c:v>0</c:v>
                </c:pt>
                <c:pt idx="4787">
                  <c:v>0</c:v>
                </c:pt>
                <c:pt idx="4788">
                  <c:v>0</c:v>
                </c:pt>
                <c:pt idx="4789">
                  <c:v>0</c:v>
                </c:pt>
                <c:pt idx="4790">
                  <c:v>0</c:v>
                </c:pt>
                <c:pt idx="4791">
                  <c:v>0</c:v>
                </c:pt>
                <c:pt idx="4792">
                  <c:v>0</c:v>
                </c:pt>
                <c:pt idx="4793">
                  <c:v>0</c:v>
                </c:pt>
                <c:pt idx="4794">
                  <c:v>0</c:v>
                </c:pt>
                <c:pt idx="4795">
                  <c:v>0</c:v>
                </c:pt>
                <c:pt idx="4796">
                  <c:v>0</c:v>
                </c:pt>
                <c:pt idx="4797">
                  <c:v>0</c:v>
                </c:pt>
                <c:pt idx="4798">
                  <c:v>0</c:v>
                </c:pt>
                <c:pt idx="4799">
                  <c:v>0</c:v>
                </c:pt>
                <c:pt idx="4800">
                  <c:v>0</c:v>
                </c:pt>
                <c:pt idx="4801">
                  <c:v>0</c:v>
                </c:pt>
                <c:pt idx="4802">
                  <c:v>0</c:v>
                </c:pt>
                <c:pt idx="4803">
                  <c:v>0</c:v>
                </c:pt>
                <c:pt idx="4804">
                  <c:v>0</c:v>
                </c:pt>
                <c:pt idx="4805">
                  <c:v>0</c:v>
                </c:pt>
                <c:pt idx="4806">
                  <c:v>0</c:v>
                </c:pt>
                <c:pt idx="4807">
                  <c:v>0</c:v>
                </c:pt>
                <c:pt idx="4808">
                  <c:v>0</c:v>
                </c:pt>
                <c:pt idx="4809">
                  <c:v>0</c:v>
                </c:pt>
                <c:pt idx="4810">
                  <c:v>0</c:v>
                </c:pt>
                <c:pt idx="4811">
                  <c:v>0</c:v>
                </c:pt>
                <c:pt idx="4812">
                  <c:v>0</c:v>
                </c:pt>
                <c:pt idx="4813">
                  <c:v>0</c:v>
                </c:pt>
                <c:pt idx="4814">
                  <c:v>0</c:v>
                </c:pt>
                <c:pt idx="4815">
                  <c:v>0</c:v>
                </c:pt>
                <c:pt idx="4816">
                  <c:v>0</c:v>
                </c:pt>
                <c:pt idx="4817">
                  <c:v>0</c:v>
                </c:pt>
                <c:pt idx="4818">
                  <c:v>0</c:v>
                </c:pt>
                <c:pt idx="4819">
                  <c:v>0</c:v>
                </c:pt>
                <c:pt idx="4820">
                  <c:v>0</c:v>
                </c:pt>
                <c:pt idx="4821">
                  <c:v>0</c:v>
                </c:pt>
                <c:pt idx="4822">
                  <c:v>0</c:v>
                </c:pt>
                <c:pt idx="4823">
                  <c:v>0</c:v>
                </c:pt>
                <c:pt idx="4824">
                  <c:v>0</c:v>
                </c:pt>
                <c:pt idx="4825">
                  <c:v>0</c:v>
                </c:pt>
                <c:pt idx="4826">
                  <c:v>0</c:v>
                </c:pt>
                <c:pt idx="4827">
                  <c:v>0</c:v>
                </c:pt>
                <c:pt idx="4828">
                  <c:v>0</c:v>
                </c:pt>
                <c:pt idx="4829">
                  <c:v>0</c:v>
                </c:pt>
                <c:pt idx="4830">
                  <c:v>0</c:v>
                </c:pt>
                <c:pt idx="4831">
                  <c:v>0</c:v>
                </c:pt>
                <c:pt idx="4832">
                  <c:v>0</c:v>
                </c:pt>
                <c:pt idx="4833">
                  <c:v>0</c:v>
                </c:pt>
                <c:pt idx="4834">
                  <c:v>0</c:v>
                </c:pt>
                <c:pt idx="4835">
                  <c:v>0</c:v>
                </c:pt>
                <c:pt idx="4836">
                  <c:v>0</c:v>
                </c:pt>
                <c:pt idx="4837">
                  <c:v>0</c:v>
                </c:pt>
                <c:pt idx="4838">
                  <c:v>0</c:v>
                </c:pt>
                <c:pt idx="4839">
                  <c:v>0</c:v>
                </c:pt>
                <c:pt idx="4840">
                  <c:v>0</c:v>
                </c:pt>
                <c:pt idx="4841">
                  <c:v>0</c:v>
                </c:pt>
                <c:pt idx="4842">
                  <c:v>0</c:v>
                </c:pt>
                <c:pt idx="4843">
                  <c:v>0</c:v>
                </c:pt>
                <c:pt idx="4844">
                  <c:v>0</c:v>
                </c:pt>
                <c:pt idx="4845">
                  <c:v>0</c:v>
                </c:pt>
                <c:pt idx="4846">
                  <c:v>0</c:v>
                </c:pt>
                <c:pt idx="4847">
                  <c:v>0</c:v>
                </c:pt>
                <c:pt idx="4848">
                  <c:v>0</c:v>
                </c:pt>
                <c:pt idx="4849">
                  <c:v>0</c:v>
                </c:pt>
                <c:pt idx="4850">
                  <c:v>0</c:v>
                </c:pt>
                <c:pt idx="4851">
                  <c:v>0</c:v>
                </c:pt>
                <c:pt idx="4852">
                  <c:v>0</c:v>
                </c:pt>
                <c:pt idx="4853">
                  <c:v>0</c:v>
                </c:pt>
                <c:pt idx="4854">
                  <c:v>0</c:v>
                </c:pt>
                <c:pt idx="4855">
                  <c:v>0</c:v>
                </c:pt>
                <c:pt idx="4856">
                  <c:v>0</c:v>
                </c:pt>
                <c:pt idx="4857">
                  <c:v>0</c:v>
                </c:pt>
                <c:pt idx="4858">
                  <c:v>0</c:v>
                </c:pt>
                <c:pt idx="4859">
                  <c:v>0</c:v>
                </c:pt>
                <c:pt idx="4860">
                  <c:v>0</c:v>
                </c:pt>
                <c:pt idx="4861">
                  <c:v>0</c:v>
                </c:pt>
                <c:pt idx="4862">
                  <c:v>0</c:v>
                </c:pt>
                <c:pt idx="4863">
                  <c:v>0</c:v>
                </c:pt>
                <c:pt idx="4864">
                  <c:v>0</c:v>
                </c:pt>
                <c:pt idx="4865">
                  <c:v>0</c:v>
                </c:pt>
                <c:pt idx="4866">
                  <c:v>0</c:v>
                </c:pt>
                <c:pt idx="4867">
                  <c:v>0</c:v>
                </c:pt>
                <c:pt idx="4868">
                  <c:v>0</c:v>
                </c:pt>
                <c:pt idx="4869">
                  <c:v>0</c:v>
                </c:pt>
                <c:pt idx="4870">
                  <c:v>0</c:v>
                </c:pt>
                <c:pt idx="4871">
                  <c:v>0</c:v>
                </c:pt>
                <c:pt idx="4872">
                  <c:v>0</c:v>
                </c:pt>
                <c:pt idx="4873">
                  <c:v>0</c:v>
                </c:pt>
                <c:pt idx="4874">
                  <c:v>0</c:v>
                </c:pt>
                <c:pt idx="4875">
                  <c:v>0</c:v>
                </c:pt>
                <c:pt idx="4876">
                  <c:v>0</c:v>
                </c:pt>
                <c:pt idx="4877">
                  <c:v>0</c:v>
                </c:pt>
                <c:pt idx="4878">
                  <c:v>0</c:v>
                </c:pt>
                <c:pt idx="4879">
                  <c:v>0</c:v>
                </c:pt>
                <c:pt idx="4880">
                  <c:v>0</c:v>
                </c:pt>
                <c:pt idx="4881">
                  <c:v>0</c:v>
                </c:pt>
                <c:pt idx="4882">
                  <c:v>0</c:v>
                </c:pt>
                <c:pt idx="4883">
                  <c:v>0</c:v>
                </c:pt>
                <c:pt idx="4884">
                  <c:v>0</c:v>
                </c:pt>
                <c:pt idx="4885">
                  <c:v>0</c:v>
                </c:pt>
                <c:pt idx="4886">
                  <c:v>0</c:v>
                </c:pt>
                <c:pt idx="4887">
                  <c:v>0</c:v>
                </c:pt>
                <c:pt idx="4888">
                  <c:v>0</c:v>
                </c:pt>
                <c:pt idx="4889">
                  <c:v>0</c:v>
                </c:pt>
                <c:pt idx="4890">
                  <c:v>0</c:v>
                </c:pt>
                <c:pt idx="4891">
                  <c:v>0</c:v>
                </c:pt>
                <c:pt idx="4892">
                  <c:v>0</c:v>
                </c:pt>
                <c:pt idx="4893">
                  <c:v>0</c:v>
                </c:pt>
                <c:pt idx="4894">
                  <c:v>0</c:v>
                </c:pt>
                <c:pt idx="4895">
                  <c:v>0</c:v>
                </c:pt>
                <c:pt idx="4896">
                  <c:v>0</c:v>
                </c:pt>
                <c:pt idx="4897">
                  <c:v>0</c:v>
                </c:pt>
                <c:pt idx="4898">
                  <c:v>0</c:v>
                </c:pt>
                <c:pt idx="4899">
                  <c:v>0</c:v>
                </c:pt>
                <c:pt idx="4900">
                  <c:v>0</c:v>
                </c:pt>
                <c:pt idx="4901">
                  <c:v>0</c:v>
                </c:pt>
                <c:pt idx="4902">
                  <c:v>0</c:v>
                </c:pt>
                <c:pt idx="4903">
                  <c:v>0</c:v>
                </c:pt>
                <c:pt idx="4904">
                  <c:v>0</c:v>
                </c:pt>
                <c:pt idx="4905">
                  <c:v>0</c:v>
                </c:pt>
                <c:pt idx="4906">
                  <c:v>0</c:v>
                </c:pt>
                <c:pt idx="4907">
                  <c:v>0</c:v>
                </c:pt>
                <c:pt idx="4908">
                  <c:v>0</c:v>
                </c:pt>
                <c:pt idx="4909">
                  <c:v>0</c:v>
                </c:pt>
                <c:pt idx="4910">
                  <c:v>0</c:v>
                </c:pt>
                <c:pt idx="4911">
                  <c:v>0</c:v>
                </c:pt>
                <c:pt idx="4912">
                  <c:v>0</c:v>
                </c:pt>
                <c:pt idx="4913">
                  <c:v>0</c:v>
                </c:pt>
                <c:pt idx="4914">
                  <c:v>0</c:v>
                </c:pt>
                <c:pt idx="4915">
                  <c:v>0</c:v>
                </c:pt>
                <c:pt idx="4916">
                  <c:v>0</c:v>
                </c:pt>
                <c:pt idx="4917">
                  <c:v>0</c:v>
                </c:pt>
                <c:pt idx="4918">
                  <c:v>0</c:v>
                </c:pt>
                <c:pt idx="4919">
                  <c:v>0</c:v>
                </c:pt>
                <c:pt idx="4920">
                  <c:v>0</c:v>
                </c:pt>
                <c:pt idx="4921">
                  <c:v>0</c:v>
                </c:pt>
                <c:pt idx="4922">
                  <c:v>0</c:v>
                </c:pt>
                <c:pt idx="4923">
                  <c:v>0</c:v>
                </c:pt>
                <c:pt idx="4924">
                  <c:v>0</c:v>
                </c:pt>
                <c:pt idx="4925">
                  <c:v>0</c:v>
                </c:pt>
                <c:pt idx="4926">
                  <c:v>0</c:v>
                </c:pt>
                <c:pt idx="4927">
                  <c:v>0</c:v>
                </c:pt>
                <c:pt idx="4928">
                  <c:v>0</c:v>
                </c:pt>
                <c:pt idx="4929">
                  <c:v>0</c:v>
                </c:pt>
                <c:pt idx="4930">
                  <c:v>0</c:v>
                </c:pt>
                <c:pt idx="4931">
                  <c:v>0</c:v>
                </c:pt>
                <c:pt idx="4932">
                  <c:v>0</c:v>
                </c:pt>
                <c:pt idx="4933">
                  <c:v>0</c:v>
                </c:pt>
                <c:pt idx="4934">
                  <c:v>0</c:v>
                </c:pt>
                <c:pt idx="4935">
                  <c:v>0</c:v>
                </c:pt>
                <c:pt idx="4936">
                  <c:v>0</c:v>
                </c:pt>
                <c:pt idx="4937">
                  <c:v>0</c:v>
                </c:pt>
                <c:pt idx="4938">
                  <c:v>0</c:v>
                </c:pt>
                <c:pt idx="4939">
                  <c:v>0</c:v>
                </c:pt>
                <c:pt idx="4940">
                  <c:v>0</c:v>
                </c:pt>
                <c:pt idx="4941">
                  <c:v>0</c:v>
                </c:pt>
                <c:pt idx="4942">
                  <c:v>0</c:v>
                </c:pt>
                <c:pt idx="4943">
                  <c:v>0</c:v>
                </c:pt>
                <c:pt idx="4944">
                  <c:v>0</c:v>
                </c:pt>
                <c:pt idx="4945">
                  <c:v>0</c:v>
                </c:pt>
                <c:pt idx="4946">
                  <c:v>0</c:v>
                </c:pt>
                <c:pt idx="4947">
                  <c:v>0</c:v>
                </c:pt>
                <c:pt idx="4948">
                  <c:v>0</c:v>
                </c:pt>
                <c:pt idx="4949">
                  <c:v>0</c:v>
                </c:pt>
                <c:pt idx="4950">
                  <c:v>0</c:v>
                </c:pt>
                <c:pt idx="4951">
                  <c:v>0</c:v>
                </c:pt>
                <c:pt idx="4952">
                  <c:v>0</c:v>
                </c:pt>
                <c:pt idx="4953">
                  <c:v>0</c:v>
                </c:pt>
                <c:pt idx="4954">
                  <c:v>0</c:v>
                </c:pt>
                <c:pt idx="4955">
                  <c:v>0</c:v>
                </c:pt>
                <c:pt idx="4956">
                  <c:v>0</c:v>
                </c:pt>
                <c:pt idx="4957">
                  <c:v>0</c:v>
                </c:pt>
                <c:pt idx="4958">
                  <c:v>0</c:v>
                </c:pt>
                <c:pt idx="4959">
                  <c:v>0</c:v>
                </c:pt>
                <c:pt idx="4960">
                  <c:v>0</c:v>
                </c:pt>
                <c:pt idx="4961">
                  <c:v>0</c:v>
                </c:pt>
                <c:pt idx="4962">
                  <c:v>0</c:v>
                </c:pt>
                <c:pt idx="4963">
                  <c:v>0</c:v>
                </c:pt>
                <c:pt idx="4964">
                  <c:v>0</c:v>
                </c:pt>
                <c:pt idx="4965">
                  <c:v>0</c:v>
                </c:pt>
                <c:pt idx="4966">
                  <c:v>0</c:v>
                </c:pt>
                <c:pt idx="4967">
                  <c:v>0</c:v>
                </c:pt>
                <c:pt idx="4968">
                  <c:v>0</c:v>
                </c:pt>
                <c:pt idx="4969">
                  <c:v>0</c:v>
                </c:pt>
                <c:pt idx="4970">
                  <c:v>0</c:v>
                </c:pt>
                <c:pt idx="4971">
                  <c:v>0</c:v>
                </c:pt>
                <c:pt idx="4972">
                  <c:v>0</c:v>
                </c:pt>
                <c:pt idx="4973">
                  <c:v>0</c:v>
                </c:pt>
                <c:pt idx="4974">
                  <c:v>0</c:v>
                </c:pt>
                <c:pt idx="4975">
                  <c:v>0</c:v>
                </c:pt>
                <c:pt idx="4976">
                  <c:v>0</c:v>
                </c:pt>
                <c:pt idx="4977">
                  <c:v>0</c:v>
                </c:pt>
                <c:pt idx="4978">
                  <c:v>0</c:v>
                </c:pt>
                <c:pt idx="4979">
                  <c:v>0</c:v>
                </c:pt>
                <c:pt idx="4980">
                  <c:v>0</c:v>
                </c:pt>
                <c:pt idx="4981">
                  <c:v>0</c:v>
                </c:pt>
                <c:pt idx="4982">
                  <c:v>0</c:v>
                </c:pt>
                <c:pt idx="4983">
                  <c:v>0</c:v>
                </c:pt>
                <c:pt idx="4984">
                  <c:v>0</c:v>
                </c:pt>
                <c:pt idx="4985">
                  <c:v>0</c:v>
                </c:pt>
                <c:pt idx="4986">
                  <c:v>0</c:v>
                </c:pt>
                <c:pt idx="4987">
                  <c:v>0</c:v>
                </c:pt>
                <c:pt idx="4988">
                  <c:v>0</c:v>
                </c:pt>
                <c:pt idx="4989">
                  <c:v>0</c:v>
                </c:pt>
                <c:pt idx="4990">
                  <c:v>0</c:v>
                </c:pt>
                <c:pt idx="4991">
                  <c:v>0</c:v>
                </c:pt>
                <c:pt idx="4992">
                  <c:v>0</c:v>
                </c:pt>
                <c:pt idx="4993">
                  <c:v>0</c:v>
                </c:pt>
                <c:pt idx="4994">
                  <c:v>0</c:v>
                </c:pt>
                <c:pt idx="4995">
                  <c:v>0</c:v>
                </c:pt>
                <c:pt idx="4996">
                  <c:v>0</c:v>
                </c:pt>
                <c:pt idx="4997">
                  <c:v>0</c:v>
                </c:pt>
                <c:pt idx="4998">
                  <c:v>0</c:v>
                </c:pt>
                <c:pt idx="4999">
                  <c:v>0</c:v>
                </c:pt>
                <c:pt idx="5000">
                  <c:v>0</c:v>
                </c:pt>
                <c:pt idx="5001">
                  <c:v>0</c:v>
                </c:pt>
                <c:pt idx="5002">
                  <c:v>0</c:v>
                </c:pt>
                <c:pt idx="5003">
                  <c:v>0</c:v>
                </c:pt>
                <c:pt idx="5004">
                  <c:v>0</c:v>
                </c:pt>
                <c:pt idx="5005">
                  <c:v>0</c:v>
                </c:pt>
                <c:pt idx="5006">
                  <c:v>0</c:v>
                </c:pt>
                <c:pt idx="5007">
                  <c:v>0</c:v>
                </c:pt>
                <c:pt idx="5008">
                  <c:v>0</c:v>
                </c:pt>
                <c:pt idx="5009">
                  <c:v>0</c:v>
                </c:pt>
                <c:pt idx="5010">
                  <c:v>0</c:v>
                </c:pt>
                <c:pt idx="5011">
                  <c:v>0</c:v>
                </c:pt>
                <c:pt idx="5012">
                  <c:v>0</c:v>
                </c:pt>
                <c:pt idx="5013">
                  <c:v>0</c:v>
                </c:pt>
                <c:pt idx="5014">
                  <c:v>0</c:v>
                </c:pt>
                <c:pt idx="5015">
                  <c:v>0</c:v>
                </c:pt>
                <c:pt idx="5016">
                  <c:v>0</c:v>
                </c:pt>
                <c:pt idx="5017">
                  <c:v>0</c:v>
                </c:pt>
                <c:pt idx="5018">
                  <c:v>0</c:v>
                </c:pt>
                <c:pt idx="5019">
                  <c:v>0</c:v>
                </c:pt>
                <c:pt idx="5020">
                  <c:v>0</c:v>
                </c:pt>
                <c:pt idx="5021">
                  <c:v>0</c:v>
                </c:pt>
                <c:pt idx="5022">
                  <c:v>0</c:v>
                </c:pt>
                <c:pt idx="5023">
                  <c:v>0</c:v>
                </c:pt>
                <c:pt idx="5024">
                  <c:v>0</c:v>
                </c:pt>
                <c:pt idx="5025">
                  <c:v>0</c:v>
                </c:pt>
                <c:pt idx="5026">
                  <c:v>0</c:v>
                </c:pt>
                <c:pt idx="5027">
                  <c:v>0</c:v>
                </c:pt>
                <c:pt idx="5028">
                  <c:v>0</c:v>
                </c:pt>
                <c:pt idx="5029">
                  <c:v>0</c:v>
                </c:pt>
                <c:pt idx="5030">
                  <c:v>0</c:v>
                </c:pt>
                <c:pt idx="5031">
                  <c:v>0</c:v>
                </c:pt>
                <c:pt idx="5032">
                  <c:v>0</c:v>
                </c:pt>
                <c:pt idx="5033">
                  <c:v>0</c:v>
                </c:pt>
                <c:pt idx="5034">
                  <c:v>0</c:v>
                </c:pt>
                <c:pt idx="5035">
                  <c:v>0</c:v>
                </c:pt>
                <c:pt idx="5036">
                  <c:v>0</c:v>
                </c:pt>
                <c:pt idx="5037">
                  <c:v>0</c:v>
                </c:pt>
                <c:pt idx="5038">
                  <c:v>0</c:v>
                </c:pt>
                <c:pt idx="5039">
                  <c:v>0</c:v>
                </c:pt>
                <c:pt idx="5040">
                  <c:v>0</c:v>
                </c:pt>
                <c:pt idx="5041">
                  <c:v>0</c:v>
                </c:pt>
                <c:pt idx="5042">
                  <c:v>0</c:v>
                </c:pt>
                <c:pt idx="5043">
                  <c:v>0</c:v>
                </c:pt>
                <c:pt idx="5044">
                  <c:v>0</c:v>
                </c:pt>
                <c:pt idx="5045">
                  <c:v>0</c:v>
                </c:pt>
                <c:pt idx="5046">
                  <c:v>0</c:v>
                </c:pt>
                <c:pt idx="5047">
                  <c:v>0</c:v>
                </c:pt>
                <c:pt idx="5048">
                  <c:v>0</c:v>
                </c:pt>
                <c:pt idx="5049">
                  <c:v>0</c:v>
                </c:pt>
                <c:pt idx="5050">
                  <c:v>0</c:v>
                </c:pt>
                <c:pt idx="5051">
                  <c:v>0</c:v>
                </c:pt>
                <c:pt idx="5052">
                  <c:v>0</c:v>
                </c:pt>
                <c:pt idx="5053">
                  <c:v>0</c:v>
                </c:pt>
                <c:pt idx="5054">
                  <c:v>0</c:v>
                </c:pt>
                <c:pt idx="5055">
                  <c:v>0</c:v>
                </c:pt>
                <c:pt idx="5056">
                  <c:v>0</c:v>
                </c:pt>
                <c:pt idx="5057">
                  <c:v>0</c:v>
                </c:pt>
                <c:pt idx="5058">
                  <c:v>0</c:v>
                </c:pt>
                <c:pt idx="5059">
                  <c:v>0</c:v>
                </c:pt>
                <c:pt idx="5060">
                  <c:v>0</c:v>
                </c:pt>
                <c:pt idx="5061">
                  <c:v>0</c:v>
                </c:pt>
                <c:pt idx="5062">
                  <c:v>0</c:v>
                </c:pt>
                <c:pt idx="5063">
                  <c:v>0</c:v>
                </c:pt>
                <c:pt idx="5064">
                  <c:v>0</c:v>
                </c:pt>
                <c:pt idx="5065">
                  <c:v>0</c:v>
                </c:pt>
                <c:pt idx="5066">
                  <c:v>0</c:v>
                </c:pt>
                <c:pt idx="5067">
                  <c:v>0</c:v>
                </c:pt>
                <c:pt idx="5068">
                  <c:v>0</c:v>
                </c:pt>
                <c:pt idx="5069">
                  <c:v>0</c:v>
                </c:pt>
                <c:pt idx="5070">
                  <c:v>0</c:v>
                </c:pt>
                <c:pt idx="5071">
                  <c:v>0</c:v>
                </c:pt>
                <c:pt idx="5072">
                  <c:v>0</c:v>
                </c:pt>
                <c:pt idx="5073">
                  <c:v>0</c:v>
                </c:pt>
                <c:pt idx="5074">
                  <c:v>0</c:v>
                </c:pt>
                <c:pt idx="5075">
                  <c:v>0</c:v>
                </c:pt>
                <c:pt idx="5076">
                  <c:v>0</c:v>
                </c:pt>
                <c:pt idx="5077">
                  <c:v>0</c:v>
                </c:pt>
                <c:pt idx="5078">
                  <c:v>0</c:v>
                </c:pt>
                <c:pt idx="5079">
                  <c:v>0</c:v>
                </c:pt>
                <c:pt idx="5080">
                  <c:v>0</c:v>
                </c:pt>
                <c:pt idx="5081">
                  <c:v>0</c:v>
                </c:pt>
                <c:pt idx="5082">
                  <c:v>0</c:v>
                </c:pt>
                <c:pt idx="5083">
                  <c:v>0</c:v>
                </c:pt>
                <c:pt idx="5084">
                  <c:v>0</c:v>
                </c:pt>
                <c:pt idx="5085">
                  <c:v>0</c:v>
                </c:pt>
                <c:pt idx="5086">
                  <c:v>0</c:v>
                </c:pt>
                <c:pt idx="5087">
                  <c:v>0</c:v>
                </c:pt>
                <c:pt idx="5088">
                  <c:v>0</c:v>
                </c:pt>
                <c:pt idx="5089">
                  <c:v>0</c:v>
                </c:pt>
                <c:pt idx="5090">
                  <c:v>0</c:v>
                </c:pt>
                <c:pt idx="5091">
                  <c:v>0</c:v>
                </c:pt>
                <c:pt idx="5092">
                  <c:v>0</c:v>
                </c:pt>
                <c:pt idx="5093">
                  <c:v>0</c:v>
                </c:pt>
                <c:pt idx="5094">
                  <c:v>0</c:v>
                </c:pt>
                <c:pt idx="5095">
                  <c:v>0</c:v>
                </c:pt>
                <c:pt idx="5096">
                  <c:v>0</c:v>
                </c:pt>
                <c:pt idx="5097">
                  <c:v>0</c:v>
                </c:pt>
                <c:pt idx="5098">
                  <c:v>0</c:v>
                </c:pt>
                <c:pt idx="5099">
                  <c:v>0</c:v>
                </c:pt>
                <c:pt idx="5100">
                  <c:v>0</c:v>
                </c:pt>
                <c:pt idx="5101">
                  <c:v>0</c:v>
                </c:pt>
                <c:pt idx="5102">
                  <c:v>0</c:v>
                </c:pt>
                <c:pt idx="5103">
                  <c:v>0</c:v>
                </c:pt>
                <c:pt idx="5104">
                  <c:v>0</c:v>
                </c:pt>
                <c:pt idx="5105">
                  <c:v>0</c:v>
                </c:pt>
                <c:pt idx="5106">
                  <c:v>0</c:v>
                </c:pt>
                <c:pt idx="5107">
                  <c:v>0</c:v>
                </c:pt>
                <c:pt idx="5108">
                  <c:v>0</c:v>
                </c:pt>
                <c:pt idx="5109">
                  <c:v>0</c:v>
                </c:pt>
                <c:pt idx="5110">
                  <c:v>0</c:v>
                </c:pt>
                <c:pt idx="5111">
                  <c:v>0</c:v>
                </c:pt>
                <c:pt idx="5112">
                  <c:v>0</c:v>
                </c:pt>
                <c:pt idx="5113">
                  <c:v>0</c:v>
                </c:pt>
                <c:pt idx="5114">
                  <c:v>0</c:v>
                </c:pt>
                <c:pt idx="5115">
                  <c:v>0</c:v>
                </c:pt>
                <c:pt idx="5116">
                  <c:v>0</c:v>
                </c:pt>
                <c:pt idx="5117">
                  <c:v>0</c:v>
                </c:pt>
                <c:pt idx="5118">
                  <c:v>0</c:v>
                </c:pt>
                <c:pt idx="5119">
                  <c:v>0</c:v>
                </c:pt>
                <c:pt idx="5120">
                  <c:v>0</c:v>
                </c:pt>
                <c:pt idx="5121">
                  <c:v>0</c:v>
                </c:pt>
                <c:pt idx="5122">
                  <c:v>0</c:v>
                </c:pt>
                <c:pt idx="5123">
                  <c:v>0</c:v>
                </c:pt>
                <c:pt idx="5124">
                  <c:v>0</c:v>
                </c:pt>
                <c:pt idx="5125">
                  <c:v>0</c:v>
                </c:pt>
                <c:pt idx="5126">
                  <c:v>0</c:v>
                </c:pt>
                <c:pt idx="5127">
                  <c:v>0</c:v>
                </c:pt>
                <c:pt idx="5128">
                  <c:v>0</c:v>
                </c:pt>
                <c:pt idx="5129">
                  <c:v>0</c:v>
                </c:pt>
                <c:pt idx="5130">
                  <c:v>0</c:v>
                </c:pt>
                <c:pt idx="5131">
                  <c:v>0</c:v>
                </c:pt>
                <c:pt idx="5132">
                  <c:v>0</c:v>
                </c:pt>
                <c:pt idx="5133">
                  <c:v>0</c:v>
                </c:pt>
                <c:pt idx="5134">
                  <c:v>0</c:v>
                </c:pt>
                <c:pt idx="5135">
                  <c:v>0</c:v>
                </c:pt>
                <c:pt idx="5136">
                  <c:v>0</c:v>
                </c:pt>
                <c:pt idx="5137">
                  <c:v>0</c:v>
                </c:pt>
                <c:pt idx="5138">
                  <c:v>0</c:v>
                </c:pt>
                <c:pt idx="5139">
                  <c:v>0</c:v>
                </c:pt>
                <c:pt idx="5140">
                  <c:v>0</c:v>
                </c:pt>
                <c:pt idx="5141">
                  <c:v>0</c:v>
                </c:pt>
                <c:pt idx="5142">
                  <c:v>0</c:v>
                </c:pt>
                <c:pt idx="5143">
                  <c:v>0</c:v>
                </c:pt>
                <c:pt idx="5144">
                  <c:v>0</c:v>
                </c:pt>
                <c:pt idx="5145">
                  <c:v>0</c:v>
                </c:pt>
                <c:pt idx="5146">
                  <c:v>0</c:v>
                </c:pt>
                <c:pt idx="5147">
                  <c:v>0</c:v>
                </c:pt>
                <c:pt idx="5148">
                  <c:v>0</c:v>
                </c:pt>
                <c:pt idx="5149">
                  <c:v>0</c:v>
                </c:pt>
                <c:pt idx="5150">
                  <c:v>0</c:v>
                </c:pt>
                <c:pt idx="5151">
                  <c:v>0</c:v>
                </c:pt>
                <c:pt idx="5152">
                  <c:v>0</c:v>
                </c:pt>
                <c:pt idx="5153">
                  <c:v>0</c:v>
                </c:pt>
                <c:pt idx="5154">
                  <c:v>0</c:v>
                </c:pt>
                <c:pt idx="5155">
                  <c:v>0</c:v>
                </c:pt>
                <c:pt idx="5156">
                  <c:v>0</c:v>
                </c:pt>
                <c:pt idx="5157">
                  <c:v>0</c:v>
                </c:pt>
                <c:pt idx="5158">
                  <c:v>0</c:v>
                </c:pt>
                <c:pt idx="5159">
                  <c:v>0</c:v>
                </c:pt>
                <c:pt idx="5160">
                  <c:v>0</c:v>
                </c:pt>
                <c:pt idx="5161">
                  <c:v>0</c:v>
                </c:pt>
                <c:pt idx="5162">
                  <c:v>0</c:v>
                </c:pt>
                <c:pt idx="5163">
                  <c:v>0</c:v>
                </c:pt>
                <c:pt idx="5164">
                  <c:v>0</c:v>
                </c:pt>
                <c:pt idx="5165">
                  <c:v>0</c:v>
                </c:pt>
                <c:pt idx="5166">
                  <c:v>0</c:v>
                </c:pt>
                <c:pt idx="5167">
                  <c:v>0</c:v>
                </c:pt>
                <c:pt idx="5168">
                  <c:v>0</c:v>
                </c:pt>
                <c:pt idx="5169">
                  <c:v>0</c:v>
                </c:pt>
                <c:pt idx="5170">
                  <c:v>0</c:v>
                </c:pt>
                <c:pt idx="5171">
                  <c:v>0</c:v>
                </c:pt>
                <c:pt idx="5172">
                  <c:v>0</c:v>
                </c:pt>
                <c:pt idx="5173">
                  <c:v>0</c:v>
                </c:pt>
                <c:pt idx="5174">
                  <c:v>0</c:v>
                </c:pt>
                <c:pt idx="5175">
                  <c:v>0</c:v>
                </c:pt>
                <c:pt idx="5176">
                  <c:v>0</c:v>
                </c:pt>
                <c:pt idx="5177">
                  <c:v>0</c:v>
                </c:pt>
                <c:pt idx="5178">
                  <c:v>0</c:v>
                </c:pt>
                <c:pt idx="5179">
                  <c:v>0</c:v>
                </c:pt>
                <c:pt idx="5180">
                  <c:v>0</c:v>
                </c:pt>
                <c:pt idx="5181">
                  <c:v>0</c:v>
                </c:pt>
                <c:pt idx="5182">
                  <c:v>0</c:v>
                </c:pt>
                <c:pt idx="5183">
                  <c:v>0</c:v>
                </c:pt>
                <c:pt idx="5184">
                  <c:v>0</c:v>
                </c:pt>
                <c:pt idx="5185">
                  <c:v>0</c:v>
                </c:pt>
                <c:pt idx="5186">
                  <c:v>0</c:v>
                </c:pt>
                <c:pt idx="5187">
                  <c:v>0</c:v>
                </c:pt>
                <c:pt idx="5188">
                  <c:v>0</c:v>
                </c:pt>
                <c:pt idx="5189">
                  <c:v>0</c:v>
                </c:pt>
                <c:pt idx="5190">
                  <c:v>0</c:v>
                </c:pt>
                <c:pt idx="5191">
                  <c:v>0</c:v>
                </c:pt>
                <c:pt idx="5192">
                  <c:v>0</c:v>
                </c:pt>
                <c:pt idx="5193">
                  <c:v>0</c:v>
                </c:pt>
                <c:pt idx="5194">
                  <c:v>0</c:v>
                </c:pt>
                <c:pt idx="5195">
                  <c:v>0</c:v>
                </c:pt>
                <c:pt idx="5196">
                  <c:v>0</c:v>
                </c:pt>
                <c:pt idx="5197">
                  <c:v>0</c:v>
                </c:pt>
                <c:pt idx="5198">
                  <c:v>0</c:v>
                </c:pt>
                <c:pt idx="5199">
                  <c:v>0</c:v>
                </c:pt>
                <c:pt idx="5200">
                  <c:v>0</c:v>
                </c:pt>
                <c:pt idx="5201">
                  <c:v>0</c:v>
                </c:pt>
                <c:pt idx="5202">
                  <c:v>0</c:v>
                </c:pt>
                <c:pt idx="5203">
                  <c:v>0</c:v>
                </c:pt>
                <c:pt idx="5204">
                  <c:v>0</c:v>
                </c:pt>
                <c:pt idx="5205">
                  <c:v>0</c:v>
                </c:pt>
                <c:pt idx="5206">
                  <c:v>0</c:v>
                </c:pt>
                <c:pt idx="5207">
                  <c:v>0</c:v>
                </c:pt>
                <c:pt idx="5208">
                  <c:v>0</c:v>
                </c:pt>
                <c:pt idx="5209">
                  <c:v>0</c:v>
                </c:pt>
                <c:pt idx="5210">
                  <c:v>0</c:v>
                </c:pt>
                <c:pt idx="5211">
                  <c:v>0</c:v>
                </c:pt>
                <c:pt idx="5212">
                  <c:v>0</c:v>
                </c:pt>
                <c:pt idx="5213">
                  <c:v>0</c:v>
                </c:pt>
                <c:pt idx="5214">
                  <c:v>0</c:v>
                </c:pt>
                <c:pt idx="5215">
                  <c:v>0</c:v>
                </c:pt>
                <c:pt idx="5216">
                  <c:v>0</c:v>
                </c:pt>
                <c:pt idx="5217">
                  <c:v>0</c:v>
                </c:pt>
                <c:pt idx="5218">
                  <c:v>0</c:v>
                </c:pt>
                <c:pt idx="5219">
                  <c:v>0</c:v>
                </c:pt>
                <c:pt idx="5220">
                  <c:v>0</c:v>
                </c:pt>
                <c:pt idx="5221">
                  <c:v>0</c:v>
                </c:pt>
                <c:pt idx="5222">
                  <c:v>0</c:v>
                </c:pt>
                <c:pt idx="5223">
                  <c:v>0</c:v>
                </c:pt>
                <c:pt idx="5224">
                  <c:v>0</c:v>
                </c:pt>
                <c:pt idx="5225">
                  <c:v>0</c:v>
                </c:pt>
                <c:pt idx="5226">
                  <c:v>0</c:v>
                </c:pt>
                <c:pt idx="5227">
                  <c:v>0</c:v>
                </c:pt>
                <c:pt idx="5228">
                  <c:v>0</c:v>
                </c:pt>
                <c:pt idx="5229">
                  <c:v>0</c:v>
                </c:pt>
                <c:pt idx="5230">
                  <c:v>0</c:v>
                </c:pt>
                <c:pt idx="5231">
                  <c:v>0</c:v>
                </c:pt>
                <c:pt idx="5232">
                  <c:v>0</c:v>
                </c:pt>
                <c:pt idx="5233">
                  <c:v>0</c:v>
                </c:pt>
                <c:pt idx="5234">
                  <c:v>0</c:v>
                </c:pt>
                <c:pt idx="5235">
                  <c:v>0</c:v>
                </c:pt>
                <c:pt idx="5236">
                  <c:v>0</c:v>
                </c:pt>
                <c:pt idx="5237">
                  <c:v>0</c:v>
                </c:pt>
                <c:pt idx="5238">
                  <c:v>0</c:v>
                </c:pt>
                <c:pt idx="5239">
                  <c:v>0</c:v>
                </c:pt>
                <c:pt idx="5240">
                  <c:v>0</c:v>
                </c:pt>
                <c:pt idx="5241">
                  <c:v>0</c:v>
                </c:pt>
                <c:pt idx="5242">
                  <c:v>0</c:v>
                </c:pt>
                <c:pt idx="5243">
                  <c:v>0</c:v>
                </c:pt>
                <c:pt idx="5244">
                  <c:v>0</c:v>
                </c:pt>
                <c:pt idx="5245">
                  <c:v>0</c:v>
                </c:pt>
                <c:pt idx="5246">
                  <c:v>0</c:v>
                </c:pt>
                <c:pt idx="5247">
                  <c:v>0</c:v>
                </c:pt>
                <c:pt idx="5248">
                  <c:v>0</c:v>
                </c:pt>
                <c:pt idx="5249">
                  <c:v>0</c:v>
                </c:pt>
                <c:pt idx="5250">
                  <c:v>0</c:v>
                </c:pt>
                <c:pt idx="5251">
                  <c:v>0</c:v>
                </c:pt>
                <c:pt idx="5252">
                  <c:v>0</c:v>
                </c:pt>
                <c:pt idx="5253">
                  <c:v>0</c:v>
                </c:pt>
                <c:pt idx="5254">
                  <c:v>0</c:v>
                </c:pt>
                <c:pt idx="5255">
                  <c:v>0</c:v>
                </c:pt>
                <c:pt idx="5256">
                  <c:v>0</c:v>
                </c:pt>
                <c:pt idx="5257">
                  <c:v>0</c:v>
                </c:pt>
                <c:pt idx="5258">
                  <c:v>0</c:v>
                </c:pt>
                <c:pt idx="5259">
                  <c:v>0</c:v>
                </c:pt>
                <c:pt idx="5260">
                  <c:v>0</c:v>
                </c:pt>
                <c:pt idx="5261">
                  <c:v>0</c:v>
                </c:pt>
                <c:pt idx="5262">
                  <c:v>0</c:v>
                </c:pt>
                <c:pt idx="5263">
                  <c:v>0</c:v>
                </c:pt>
                <c:pt idx="5264">
                  <c:v>0</c:v>
                </c:pt>
                <c:pt idx="5265">
                  <c:v>0</c:v>
                </c:pt>
                <c:pt idx="5266">
                  <c:v>0</c:v>
                </c:pt>
                <c:pt idx="5267">
                  <c:v>0</c:v>
                </c:pt>
                <c:pt idx="5268">
                  <c:v>0</c:v>
                </c:pt>
                <c:pt idx="5269">
                  <c:v>0</c:v>
                </c:pt>
                <c:pt idx="5270">
                  <c:v>0</c:v>
                </c:pt>
                <c:pt idx="5271">
                  <c:v>0</c:v>
                </c:pt>
                <c:pt idx="5272">
                  <c:v>0</c:v>
                </c:pt>
                <c:pt idx="5273">
                  <c:v>0</c:v>
                </c:pt>
                <c:pt idx="5274">
                  <c:v>0</c:v>
                </c:pt>
                <c:pt idx="5275">
                  <c:v>0</c:v>
                </c:pt>
                <c:pt idx="5276">
                  <c:v>0</c:v>
                </c:pt>
                <c:pt idx="5277">
                  <c:v>0</c:v>
                </c:pt>
                <c:pt idx="5278">
                  <c:v>0</c:v>
                </c:pt>
                <c:pt idx="5279">
                  <c:v>0</c:v>
                </c:pt>
                <c:pt idx="5280">
                  <c:v>0</c:v>
                </c:pt>
                <c:pt idx="5281">
                  <c:v>0</c:v>
                </c:pt>
                <c:pt idx="5282">
                  <c:v>0</c:v>
                </c:pt>
                <c:pt idx="5283">
                  <c:v>0</c:v>
                </c:pt>
                <c:pt idx="5284">
                  <c:v>0</c:v>
                </c:pt>
                <c:pt idx="5285">
                  <c:v>0</c:v>
                </c:pt>
                <c:pt idx="5286">
                  <c:v>0</c:v>
                </c:pt>
                <c:pt idx="5287">
                  <c:v>0</c:v>
                </c:pt>
                <c:pt idx="5288">
                  <c:v>0</c:v>
                </c:pt>
                <c:pt idx="5289">
                  <c:v>0</c:v>
                </c:pt>
                <c:pt idx="5290">
                  <c:v>0</c:v>
                </c:pt>
                <c:pt idx="5291">
                  <c:v>0</c:v>
                </c:pt>
                <c:pt idx="5292">
                  <c:v>0</c:v>
                </c:pt>
                <c:pt idx="5293">
                  <c:v>0</c:v>
                </c:pt>
                <c:pt idx="5294">
                  <c:v>0</c:v>
                </c:pt>
                <c:pt idx="5295">
                  <c:v>0</c:v>
                </c:pt>
                <c:pt idx="5296">
                  <c:v>0</c:v>
                </c:pt>
                <c:pt idx="5297">
                  <c:v>0</c:v>
                </c:pt>
                <c:pt idx="5298">
                  <c:v>0</c:v>
                </c:pt>
                <c:pt idx="5299">
                  <c:v>0</c:v>
                </c:pt>
                <c:pt idx="5300">
                  <c:v>0</c:v>
                </c:pt>
                <c:pt idx="5301">
                  <c:v>0</c:v>
                </c:pt>
                <c:pt idx="5302">
                  <c:v>0</c:v>
                </c:pt>
                <c:pt idx="5303">
                  <c:v>0</c:v>
                </c:pt>
                <c:pt idx="5304">
                  <c:v>0</c:v>
                </c:pt>
                <c:pt idx="5305">
                  <c:v>0</c:v>
                </c:pt>
                <c:pt idx="5306">
                  <c:v>0</c:v>
                </c:pt>
                <c:pt idx="5307">
                  <c:v>0</c:v>
                </c:pt>
                <c:pt idx="5308">
                  <c:v>0</c:v>
                </c:pt>
                <c:pt idx="5309">
                  <c:v>0</c:v>
                </c:pt>
                <c:pt idx="5310">
                  <c:v>0</c:v>
                </c:pt>
                <c:pt idx="5311">
                  <c:v>0</c:v>
                </c:pt>
                <c:pt idx="5312">
                  <c:v>0</c:v>
                </c:pt>
                <c:pt idx="5313">
                  <c:v>0</c:v>
                </c:pt>
                <c:pt idx="5314">
                  <c:v>0</c:v>
                </c:pt>
                <c:pt idx="5315">
                  <c:v>0</c:v>
                </c:pt>
                <c:pt idx="5316">
                  <c:v>0</c:v>
                </c:pt>
                <c:pt idx="5317">
                  <c:v>0</c:v>
                </c:pt>
                <c:pt idx="5318">
                  <c:v>0</c:v>
                </c:pt>
                <c:pt idx="5319">
                  <c:v>0</c:v>
                </c:pt>
                <c:pt idx="5320">
                  <c:v>0</c:v>
                </c:pt>
                <c:pt idx="5321">
                  <c:v>0</c:v>
                </c:pt>
                <c:pt idx="5322">
                  <c:v>0</c:v>
                </c:pt>
                <c:pt idx="5323">
                  <c:v>0</c:v>
                </c:pt>
                <c:pt idx="5324">
                  <c:v>0</c:v>
                </c:pt>
                <c:pt idx="5325">
                  <c:v>0</c:v>
                </c:pt>
                <c:pt idx="5326">
                  <c:v>0</c:v>
                </c:pt>
                <c:pt idx="5327">
                  <c:v>0</c:v>
                </c:pt>
                <c:pt idx="5328">
                  <c:v>0</c:v>
                </c:pt>
                <c:pt idx="5329">
                  <c:v>0</c:v>
                </c:pt>
                <c:pt idx="5330">
                  <c:v>0</c:v>
                </c:pt>
                <c:pt idx="5331">
                  <c:v>0</c:v>
                </c:pt>
                <c:pt idx="5332">
                  <c:v>0</c:v>
                </c:pt>
                <c:pt idx="5333">
                  <c:v>0</c:v>
                </c:pt>
                <c:pt idx="5334">
                  <c:v>0</c:v>
                </c:pt>
                <c:pt idx="5335">
                  <c:v>0</c:v>
                </c:pt>
                <c:pt idx="5336">
                  <c:v>0</c:v>
                </c:pt>
                <c:pt idx="5337">
                  <c:v>0</c:v>
                </c:pt>
                <c:pt idx="5338">
                  <c:v>0</c:v>
                </c:pt>
                <c:pt idx="5339">
                  <c:v>0</c:v>
                </c:pt>
                <c:pt idx="5340">
                  <c:v>0</c:v>
                </c:pt>
                <c:pt idx="5341">
                  <c:v>0</c:v>
                </c:pt>
                <c:pt idx="5342">
                  <c:v>0</c:v>
                </c:pt>
                <c:pt idx="5343">
                  <c:v>0</c:v>
                </c:pt>
                <c:pt idx="5344">
                  <c:v>0</c:v>
                </c:pt>
                <c:pt idx="5345">
                  <c:v>0</c:v>
                </c:pt>
                <c:pt idx="5346">
                  <c:v>0</c:v>
                </c:pt>
                <c:pt idx="5347">
                  <c:v>0</c:v>
                </c:pt>
                <c:pt idx="5348">
                  <c:v>0</c:v>
                </c:pt>
                <c:pt idx="5349">
                  <c:v>0</c:v>
                </c:pt>
                <c:pt idx="5350">
                  <c:v>0</c:v>
                </c:pt>
                <c:pt idx="5351">
                  <c:v>0</c:v>
                </c:pt>
                <c:pt idx="5352">
                  <c:v>0</c:v>
                </c:pt>
                <c:pt idx="5353">
                  <c:v>0</c:v>
                </c:pt>
                <c:pt idx="5354">
                  <c:v>0</c:v>
                </c:pt>
                <c:pt idx="5355">
                  <c:v>0</c:v>
                </c:pt>
                <c:pt idx="5356">
                  <c:v>0</c:v>
                </c:pt>
                <c:pt idx="5357">
                  <c:v>0</c:v>
                </c:pt>
                <c:pt idx="5358">
                  <c:v>0</c:v>
                </c:pt>
                <c:pt idx="5359">
                  <c:v>0</c:v>
                </c:pt>
                <c:pt idx="5360">
                  <c:v>0</c:v>
                </c:pt>
                <c:pt idx="5361">
                  <c:v>0</c:v>
                </c:pt>
                <c:pt idx="5362">
                  <c:v>0</c:v>
                </c:pt>
                <c:pt idx="5363">
                  <c:v>0</c:v>
                </c:pt>
                <c:pt idx="5364">
                  <c:v>0</c:v>
                </c:pt>
                <c:pt idx="5365">
                  <c:v>0</c:v>
                </c:pt>
                <c:pt idx="5366">
                  <c:v>0</c:v>
                </c:pt>
                <c:pt idx="5367">
                  <c:v>0</c:v>
                </c:pt>
                <c:pt idx="5368">
                  <c:v>0</c:v>
                </c:pt>
                <c:pt idx="5369">
                  <c:v>0</c:v>
                </c:pt>
                <c:pt idx="5370">
                  <c:v>0</c:v>
                </c:pt>
                <c:pt idx="5371">
                  <c:v>0</c:v>
                </c:pt>
                <c:pt idx="5372">
                  <c:v>0</c:v>
                </c:pt>
                <c:pt idx="5373">
                  <c:v>0</c:v>
                </c:pt>
                <c:pt idx="5374">
                  <c:v>0</c:v>
                </c:pt>
                <c:pt idx="5375">
                  <c:v>0</c:v>
                </c:pt>
                <c:pt idx="5376">
                  <c:v>0</c:v>
                </c:pt>
                <c:pt idx="5377">
                  <c:v>0</c:v>
                </c:pt>
                <c:pt idx="5378">
                  <c:v>0</c:v>
                </c:pt>
                <c:pt idx="5379">
                  <c:v>0</c:v>
                </c:pt>
                <c:pt idx="5380">
                  <c:v>0</c:v>
                </c:pt>
                <c:pt idx="5381">
                  <c:v>0</c:v>
                </c:pt>
                <c:pt idx="5382">
                  <c:v>0</c:v>
                </c:pt>
                <c:pt idx="5383">
                  <c:v>0</c:v>
                </c:pt>
                <c:pt idx="5384">
                  <c:v>0</c:v>
                </c:pt>
                <c:pt idx="5385">
                  <c:v>0</c:v>
                </c:pt>
                <c:pt idx="5386">
                  <c:v>0</c:v>
                </c:pt>
                <c:pt idx="5387">
                  <c:v>0</c:v>
                </c:pt>
                <c:pt idx="5388">
                  <c:v>0</c:v>
                </c:pt>
                <c:pt idx="5389">
                  <c:v>0</c:v>
                </c:pt>
                <c:pt idx="5390">
                  <c:v>0</c:v>
                </c:pt>
                <c:pt idx="5391">
                  <c:v>0</c:v>
                </c:pt>
                <c:pt idx="5392">
                  <c:v>0</c:v>
                </c:pt>
                <c:pt idx="5393">
                  <c:v>0</c:v>
                </c:pt>
                <c:pt idx="5394">
                  <c:v>0</c:v>
                </c:pt>
                <c:pt idx="5395">
                  <c:v>0</c:v>
                </c:pt>
                <c:pt idx="5396">
                  <c:v>0</c:v>
                </c:pt>
                <c:pt idx="5397">
                  <c:v>0</c:v>
                </c:pt>
                <c:pt idx="5398">
                  <c:v>0</c:v>
                </c:pt>
                <c:pt idx="5399">
                  <c:v>0</c:v>
                </c:pt>
                <c:pt idx="5400">
                  <c:v>0</c:v>
                </c:pt>
                <c:pt idx="5401">
                  <c:v>0</c:v>
                </c:pt>
                <c:pt idx="5402">
                  <c:v>0</c:v>
                </c:pt>
                <c:pt idx="5403">
                  <c:v>0</c:v>
                </c:pt>
                <c:pt idx="5404">
                  <c:v>0</c:v>
                </c:pt>
                <c:pt idx="5405">
                  <c:v>0</c:v>
                </c:pt>
                <c:pt idx="5406">
                  <c:v>0</c:v>
                </c:pt>
                <c:pt idx="5407">
                  <c:v>0</c:v>
                </c:pt>
                <c:pt idx="5408">
                  <c:v>0</c:v>
                </c:pt>
                <c:pt idx="5409">
                  <c:v>0</c:v>
                </c:pt>
                <c:pt idx="5410">
                  <c:v>0</c:v>
                </c:pt>
                <c:pt idx="5411">
                  <c:v>0</c:v>
                </c:pt>
                <c:pt idx="5412">
                  <c:v>0</c:v>
                </c:pt>
                <c:pt idx="5413">
                  <c:v>1</c:v>
                </c:pt>
                <c:pt idx="5414">
                  <c:v>1</c:v>
                </c:pt>
                <c:pt idx="5415">
                  <c:v>1</c:v>
                </c:pt>
                <c:pt idx="5416">
                  <c:v>1</c:v>
                </c:pt>
                <c:pt idx="5417">
                  <c:v>1</c:v>
                </c:pt>
                <c:pt idx="5418">
                  <c:v>1</c:v>
                </c:pt>
                <c:pt idx="5419">
                  <c:v>1</c:v>
                </c:pt>
                <c:pt idx="5420">
                  <c:v>1</c:v>
                </c:pt>
                <c:pt idx="5421">
                  <c:v>1</c:v>
                </c:pt>
                <c:pt idx="5422">
                  <c:v>1</c:v>
                </c:pt>
                <c:pt idx="5423">
                  <c:v>1</c:v>
                </c:pt>
                <c:pt idx="5424">
                  <c:v>1</c:v>
                </c:pt>
                <c:pt idx="5425">
                  <c:v>1</c:v>
                </c:pt>
                <c:pt idx="5426">
                  <c:v>1</c:v>
                </c:pt>
                <c:pt idx="5427">
                  <c:v>1</c:v>
                </c:pt>
                <c:pt idx="5428">
                  <c:v>1</c:v>
                </c:pt>
                <c:pt idx="5429">
                  <c:v>1</c:v>
                </c:pt>
                <c:pt idx="5430">
                  <c:v>1</c:v>
                </c:pt>
                <c:pt idx="5431">
                  <c:v>1</c:v>
                </c:pt>
                <c:pt idx="5432">
                  <c:v>1</c:v>
                </c:pt>
                <c:pt idx="5433">
                  <c:v>1</c:v>
                </c:pt>
                <c:pt idx="5434">
                  <c:v>1</c:v>
                </c:pt>
                <c:pt idx="5435">
                  <c:v>1</c:v>
                </c:pt>
                <c:pt idx="5436">
                  <c:v>1</c:v>
                </c:pt>
                <c:pt idx="5437">
                  <c:v>1</c:v>
                </c:pt>
                <c:pt idx="5438">
                  <c:v>1</c:v>
                </c:pt>
                <c:pt idx="5439">
                  <c:v>1</c:v>
                </c:pt>
                <c:pt idx="5440">
                  <c:v>1</c:v>
                </c:pt>
                <c:pt idx="5441">
                  <c:v>1</c:v>
                </c:pt>
                <c:pt idx="5442">
                  <c:v>1</c:v>
                </c:pt>
                <c:pt idx="5443">
                  <c:v>1</c:v>
                </c:pt>
                <c:pt idx="5444">
                  <c:v>1</c:v>
                </c:pt>
                <c:pt idx="5445">
                  <c:v>1</c:v>
                </c:pt>
                <c:pt idx="5446">
                  <c:v>1</c:v>
                </c:pt>
                <c:pt idx="5447">
                  <c:v>1</c:v>
                </c:pt>
                <c:pt idx="5448">
                  <c:v>1</c:v>
                </c:pt>
                <c:pt idx="5449">
                  <c:v>1</c:v>
                </c:pt>
                <c:pt idx="5450">
                  <c:v>1</c:v>
                </c:pt>
                <c:pt idx="5451">
                  <c:v>1</c:v>
                </c:pt>
                <c:pt idx="5452">
                  <c:v>1</c:v>
                </c:pt>
                <c:pt idx="5453">
                  <c:v>1</c:v>
                </c:pt>
                <c:pt idx="5454">
                  <c:v>1</c:v>
                </c:pt>
                <c:pt idx="5455">
                  <c:v>1</c:v>
                </c:pt>
                <c:pt idx="5456">
                  <c:v>1</c:v>
                </c:pt>
                <c:pt idx="5457">
                  <c:v>1</c:v>
                </c:pt>
                <c:pt idx="5458">
                  <c:v>1</c:v>
                </c:pt>
                <c:pt idx="5459">
                  <c:v>1</c:v>
                </c:pt>
                <c:pt idx="5460">
                  <c:v>1</c:v>
                </c:pt>
                <c:pt idx="5461">
                  <c:v>1</c:v>
                </c:pt>
                <c:pt idx="5462">
                  <c:v>1</c:v>
                </c:pt>
                <c:pt idx="5463">
                  <c:v>1</c:v>
                </c:pt>
                <c:pt idx="5464">
                  <c:v>1</c:v>
                </c:pt>
                <c:pt idx="5465">
                  <c:v>1</c:v>
                </c:pt>
                <c:pt idx="5466">
                  <c:v>1</c:v>
                </c:pt>
                <c:pt idx="5467">
                  <c:v>1</c:v>
                </c:pt>
                <c:pt idx="5468">
                  <c:v>1</c:v>
                </c:pt>
                <c:pt idx="5469">
                  <c:v>1</c:v>
                </c:pt>
                <c:pt idx="5470">
                  <c:v>1</c:v>
                </c:pt>
                <c:pt idx="5471">
                  <c:v>1</c:v>
                </c:pt>
                <c:pt idx="5472">
                  <c:v>1</c:v>
                </c:pt>
                <c:pt idx="5473">
                  <c:v>1</c:v>
                </c:pt>
                <c:pt idx="5474">
                  <c:v>1</c:v>
                </c:pt>
                <c:pt idx="5475">
                  <c:v>1</c:v>
                </c:pt>
                <c:pt idx="5476">
                  <c:v>1</c:v>
                </c:pt>
                <c:pt idx="5477">
                  <c:v>1</c:v>
                </c:pt>
                <c:pt idx="5478">
                  <c:v>0</c:v>
                </c:pt>
                <c:pt idx="5479">
                  <c:v>0</c:v>
                </c:pt>
                <c:pt idx="5480">
                  <c:v>0</c:v>
                </c:pt>
                <c:pt idx="5481">
                  <c:v>0</c:v>
                </c:pt>
                <c:pt idx="5482">
                  <c:v>0</c:v>
                </c:pt>
                <c:pt idx="5483">
                  <c:v>0</c:v>
                </c:pt>
                <c:pt idx="5484">
                  <c:v>0</c:v>
                </c:pt>
                <c:pt idx="5485">
                  <c:v>0</c:v>
                </c:pt>
                <c:pt idx="5486">
                  <c:v>0</c:v>
                </c:pt>
                <c:pt idx="5487">
                  <c:v>0</c:v>
                </c:pt>
                <c:pt idx="5488">
                  <c:v>0</c:v>
                </c:pt>
                <c:pt idx="5489">
                  <c:v>0</c:v>
                </c:pt>
                <c:pt idx="5490">
                  <c:v>0</c:v>
                </c:pt>
                <c:pt idx="5491">
                  <c:v>0</c:v>
                </c:pt>
                <c:pt idx="5492">
                  <c:v>0</c:v>
                </c:pt>
                <c:pt idx="5493">
                  <c:v>0</c:v>
                </c:pt>
                <c:pt idx="5494">
                  <c:v>0</c:v>
                </c:pt>
                <c:pt idx="5495">
                  <c:v>0</c:v>
                </c:pt>
                <c:pt idx="5496">
                  <c:v>0</c:v>
                </c:pt>
                <c:pt idx="5497">
                  <c:v>0</c:v>
                </c:pt>
                <c:pt idx="5498">
                  <c:v>0</c:v>
                </c:pt>
                <c:pt idx="5499">
                  <c:v>0</c:v>
                </c:pt>
                <c:pt idx="5500">
                  <c:v>0</c:v>
                </c:pt>
                <c:pt idx="5501">
                  <c:v>0</c:v>
                </c:pt>
                <c:pt idx="5502">
                  <c:v>0</c:v>
                </c:pt>
                <c:pt idx="5503">
                  <c:v>0</c:v>
                </c:pt>
                <c:pt idx="5504">
                  <c:v>0</c:v>
                </c:pt>
                <c:pt idx="5505">
                  <c:v>0</c:v>
                </c:pt>
                <c:pt idx="5506">
                  <c:v>0</c:v>
                </c:pt>
                <c:pt idx="5507">
                  <c:v>0</c:v>
                </c:pt>
                <c:pt idx="5508">
                  <c:v>0</c:v>
                </c:pt>
                <c:pt idx="5509">
                  <c:v>0</c:v>
                </c:pt>
                <c:pt idx="5510">
                  <c:v>0</c:v>
                </c:pt>
                <c:pt idx="5511">
                  <c:v>0</c:v>
                </c:pt>
                <c:pt idx="5512">
                  <c:v>0</c:v>
                </c:pt>
                <c:pt idx="5513">
                  <c:v>0</c:v>
                </c:pt>
                <c:pt idx="5514">
                  <c:v>0</c:v>
                </c:pt>
                <c:pt idx="5515">
                  <c:v>0</c:v>
                </c:pt>
                <c:pt idx="5516">
                  <c:v>0</c:v>
                </c:pt>
                <c:pt idx="5517">
                  <c:v>0</c:v>
                </c:pt>
                <c:pt idx="5518">
                  <c:v>0</c:v>
                </c:pt>
                <c:pt idx="5519">
                  <c:v>0</c:v>
                </c:pt>
                <c:pt idx="5520">
                  <c:v>0</c:v>
                </c:pt>
                <c:pt idx="5521">
                  <c:v>0</c:v>
                </c:pt>
                <c:pt idx="5522">
                  <c:v>0</c:v>
                </c:pt>
                <c:pt idx="5523">
                  <c:v>0</c:v>
                </c:pt>
                <c:pt idx="5524">
                  <c:v>0</c:v>
                </c:pt>
                <c:pt idx="5525">
                  <c:v>0</c:v>
                </c:pt>
                <c:pt idx="5526">
                  <c:v>0</c:v>
                </c:pt>
                <c:pt idx="5527">
                  <c:v>0</c:v>
                </c:pt>
                <c:pt idx="5528">
                  <c:v>0</c:v>
                </c:pt>
                <c:pt idx="5529">
                  <c:v>0</c:v>
                </c:pt>
                <c:pt idx="5530">
                  <c:v>0</c:v>
                </c:pt>
                <c:pt idx="5531">
                  <c:v>0</c:v>
                </c:pt>
                <c:pt idx="5532">
                  <c:v>0</c:v>
                </c:pt>
                <c:pt idx="5533">
                  <c:v>0</c:v>
                </c:pt>
                <c:pt idx="5534">
                  <c:v>0</c:v>
                </c:pt>
                <c:pt idx="5535">
                  <c:v>0</c:v>
                </c:pt>
                <c:pt idx="5536">
                  <c:v>0</c:v>
                </c:pt>
                <c:pt idx="5537">
                  <c:v>0</c:v>
                </c:pt>
                <c:pt idx="5538">
                  <c:v>0</c:v>
                </c:pt>
                <c:pt idx="5539">
                  <c:v>0</c:v>
                </c:pt>
                <c:pt idx="5540">
                  <c:v>0</c:v>
                </c:pt>
                <c:pt idx="5541">
                  <c:v>0</c:v>
                </c:pt>
                <c:pt idx="5542">
                  <c:v>0</c:v>
                </c:pt>
                <c:pt idx="5543">
                  <c:v>0</c:v>
                </c:pt>
                <c:pt idx="5544">
                  <c:v>0</c:v>
                </c:pt>
                <c:pt idx="5545">
                  <c:v>0</c:v>
                </c:pt>
                <c:pt idx="5546">
                  <c:v>0</c:v>
                </c:pt>
                <c:pt idx="5547">
                  <c:v>0</c:v>
                </c:pt>
                <c:pt idx="5548">
                  <c:v>0</c:v>
                </c:pt>
                <c:pt idx="5549">
                  <c:v>0</c:v>
                </c:pt>
                <c:pt idx="5550">
                  <c:v>0</c:v>
                </c:pt>
                <c:pt idx="5551">
                  <c:v>0</c:v>
                </c:pt>
                <c:pt idx="5552">
                  <c:v>0</c:v>
                </c:pt>
                <c:pt idx="5553">
                  <c:v>0</c:v>
                </c:pt>
                <c:pt idx="5554">
                  <c:v>0</c:v>
                </c:pt>
                <c:pt idx="5555">
                  <c:v>0</c:v>
                </c:pt>
                <c:pt idx="5556">
                  <c:v>0</c:v>
                </c:pt>
                <c:pt idx="5557">
                  <c:v>0</c:v>
                </c:pt>
                <c:pt idx="5558">
                  <c:v>0</c:v>
                </c:pt>
                <c:pt idx="5559">
                  <c:v>0</c:v>
                </c:pt>
                <c:pt idx="5560">
                  <c:v>0</c:v>
                </c:pt>
                <c:pt idx="5561">
                  <c:v>0</c:v>
                </c:pt>
                <c:pt idx="5562">
                  <c:v>0</c:v>
                </c:pt>
                <c:pt idx="5563">
                  <c:v>0</c:v>
                </c:pt>
                <c:pt idx="5564">
                  <c:v>0</c:v>
                </c:pt>
                <c:pt idx="5565">
                  <c:v>0</c:v>
                </c:pt>
                <c:pt idx="5566">
                  <c:v>0</c:v>
                </c:pt>
                <c:pt idx="5567">
                  <c:v>0</c:v>
                </c:pt>
                <c:pt idx="5568">
                  <c:v>0</c:v>
                </c:pt>
                <c:pt idx="5569">
                  <c:v>0</c:v>
                </c:pt>
                <c:pt idx="5570">
                  <c:v>0</c:v>
                </c:pt>
                <c:pt idx="5571">
                  <c:v>0</c:v>
                </c:pt>
                <c:pt idx="5572">
                  <c:v>0</c:v>
                </c:pt>
                <c:pt idx="5573">
                  <c:v>0</c:v>
                </c:pt>
                <c:pt idx="5574">
                  <c:v>0</c:v>
                </c:pt>
                <c:pt idx="5575">
                  <c:v>0</c:v>
                </c:pt>
                <c:pt idx="5576">
                  <c:v>0</c:v>
                </c:pt>
                <c:pt idx="5577">
                  <c:v>0</c:v>
                </c:pt>
                <c:pt idx="5578">
                  <c:v>0</c:v>
                </c:pt>
                <c:pt idx="5579">
                  <c:v>0</c:v>
                </c:pt>
                <c:pt idx="5580">
                  <c:v>0</c:v>
                </c:pt>
                <c:pt idx="5581">
                  <c:v>0</c:v>
                </c:pt>
                <c:pt idx="5582">
                  <c:v>0</c:v>
                </c:pt>
                <c:pt idx="5583">
                  <c:v>0</c:v>
                </c:pt>
                <c:pt idx="5584">
                  <c:v>0</c:v>
                </c:pt>
                <c:pt idx="5585">
                  <c:v>0</c:v>
                </c:pt>
                <c:pt idx="5586">
                  <c:v>0</c:v>
                </c:pt>
                <c:pt idx="5587">
                  <c:v>0</c:v>
                </c:pt>
                <c:pt idx="5588">
                  <c:v>0</c:v>
                </c:pt>
                <c:pt idx="5589">
                  <c:v>0</c:v>
                </c:pt>
                <c:pt idx="5590">
                  <c:v>0</c:v>
                </c:pt>
                <c:pt idx="5591">
                  <c:v>0</c:v>
                </c:pt>
                <c:pt idx="5592">
                  <c:v>0</c:v>
                </c:pt>
                <c:pt idx="5593">
                  <c:v>0</c:v>
                </c:pt>
                <c:pt idx="5594">
                  <c:v>0</c:v>
                </c:pt>
                <c:pt idx="5595">
                  <c:v>0</c:v>
                </c:pt>
                <c:pt idx="5596">
                  <c:v>0</c:v>
                </c:pt>
                <c:pt idx="5597">
                  <c:v>0</c:v>
                </c:pt>
                <c:pt idx="5598">
                  <c:v>0</c:v>
                </c:pt>
                <c:pt idx="5599">
                  <c:v>0</c:v>
                </c:pt>
                <c:pt idx="5600">
                  <c:v>0</c:v>
                </c:pt>
                <c:pt idx="5601">
                  <c:v>0</c:v>
                </c:pt>
                <c:pt idx="5602">
                  <c:v>0</c:v>
                </c:pt>
                <c:pt idx="5603">
                  <c:v>0</c:v>
                </c:pt>
                <c:pt idx="5604">
                  <c:v>0</c:v>
                </c:pt>
                <c:pt idx="5605">
                  <c:v>0</c:v>
                </c:pt>
                <c:pt idx="5606">
                  <c:v>0</c:v>
                </c:pt>
                <c:pt idx="5607">
                  <c:v>0</c:v>
                </c:pt>
                <c:pt idx="5608">
                  <c:v>0</c:v>
                </c:pt>
                <c:pt idx="5609">
                  <c:v>0</c:v>
                </c:pt>
                <c:pt idx="5610">
                  <c:v>0</c:v>
                </c:pt>
                <c:pt idx="5611">
                  <c:v>0</c:v>
                </c:pt>
                <c:pt idx="5612">
                  <c:v>0</c:v>
                </c:pt>
                <c:pt idx="5613">
                  <c:v>0</c:v>
                </c:pt>
                <c:pt idx="5614">
                  <c:v>0</c:v>
                </c:pt>
                <c:pt idx="5615">
                  <c:v>0</c:v>
                </c:pt>
                <c:pt idx="5616">
                  <c:v>0</c:v>
                </c:pt>
                <c:pt idx="5617">
                  <c:v>0</c:v>
                </c:pt>
                <c:pt idx="5618">
                  <c:v>0</c:v>
                </c:pt>
                <c:pt idx="5619">
                  <c:v>0</c:v>
                </c:pt>
                <c:pt idx="5620">
                  <c:v>0</c:v>
                </c:pt>
                <c:pt idx="5621">
                  <c:v>0</c:v>
                </c:pt>
                <c:pt idx="5622">
                  <c:v>0</c:v>
                </c:pt>
                <c:pt idx="5623">
                  <c:v>0</c:v>
                </c:pt>
                <c:pt idx="5624">
                  <c:v>0</c:v>
                </c:pt>
                <c:pt idx="5625">
                  <c:v>0</c:v>
                </c:pt>
                <c:pt idx="5626">
                  <c:v>0</c:v>
                </c:pt>
                <c:pt idx="5627">
                  <c:v>0</c:v>
                </c:pt>
                <c:pt idx="5628">
                  <c:v>0</c:v>
                </c:pt>
                <c:pt idx="5629">
                  <c:v>0</c:v>
                </c:pt>
                <c:pt idx="5630">
                  <c:v>0</c:v>
                </c:pt>
                <c:pt idx="5631">
                  <c:v>0</c:v>
                </c:pt>
                <c:pt idx="5632">
                  <c:v>0</c:v>
                </c:pt>
                <c:pt idx="5633">
                  <c:v>0</c:v>
                </c:pt>
                <c:pt idx="5634">
                  <c:v>0</c:v>
                </c:pt>
                <c:pt idx="5635">
                  <c:v>0</c:v>
                </c:pt>
                <c:pt idx="5636">
                  <c:v>0</c:v>
                </c:pt>
                <c:pt idx="5637">
                  <c:v>0</c:v>
                </c:pt>
                <c:pt idx="5638">
                  <c:v>0</c:v>
                </c:pt>
                <c:pt idx="5639">
                  <c:v>0</c:v>
                </c:pt>
                <c:pt idx="5640">
                  <c:v>0</c:v>
                </c:pt>
                <c:pt idx="5641">
                  <c:v>0</c:v>
                </c:pt>
                <c:pt idx="5642">
                  <c:v>0</c:v>
                </c:pt>
                <c:pt idx="5643">
                  <c:v>0</c:v>
                </c:pt>
                <c:pt idx="5644">
                  <c:v>0</c:v>
                </c:pt>
                <c:pt idx="5645">
                  <c:v>0</c:v>
                </c:pt>
                <c:pt idx="5646">
                  <c:v>0</c:v>
                </c:pt>
                <c:pt idx="5647">
                  <c:v>0</c:v>
                </c:pt>
                <c:pt idx="5648">
                  <c:v>0</c:v>
                </c:pt>
                <c:pt idx="5649">
                  <c:v>0</c:v>
                </c:pt>
                <c:pt idx="5650">
                  <c:v>0</c:v>
                </c:pt>
                <c:pt idx="5651">
                  <c:v>0</c:v>
                </c:pt>
                <c:pt idx="5652">
                  <c:v>0</c:v>
                </c:pt>
                <c:pt idx="5653">
                  <c:v>0</c:v>
                </c:pt>
                <c:pt idx="5654">
                  <c:v>0</c:v>
                </c:pt>
                <c:pt idx="5655">
                  <c:v>0</c:v>
                </c:pt>
                <c:pt idx="5656">
                  <c:v>0</c:v>
                </c:pt>
                <c:pt idx="5657">
                  <c:v>0</c:v>
                </c:pt>
                <c:pt idx="5658">
                  <c:v>0</c:v>
                </c:pt>
                <c:pt idx="5659">
                  <c:v>0</c:v>
                </c:pt>
                <c:pt idx="5660">
                  <c:v>0</c:v>
                </c:pt>
                <c:pt idx="5661">
                  <c:v>0</c:v>
                </c:pt>
                <c:pt idx="5662">
                  <c:v>0</c:v>
                </c:pt>
                <c:pt idx="5663">
                  <c:v>0</c:v>
                </c:pt>
                <c:pt idx="5664">
                  <c:v>0</c:v>
                </c:pt>
                <c:pt idx="5665">
                  <c:v>0</c:v>
                </c:pt>
                <c:pt idx="5666">
                  <c:v>0</c:v>
                </c:pt>
                <c:pt idx="5667">
                  <c:v>0</c:v>
                </c:pt>
                <c:pt idx="5668">
                  <c:v>0</c:v>
                </c:pt>
                <c:pt idx="5669">
                  <c:v>0</c:v>
                </c:pt>
                <c:pt idx="5670">
                  <c:v>0</c:v>
                </c:pt>
                <c:pt idx="5671">
                  <c:v>0</c:v>
                </c:pt>
                <c:pt idx="5672">
                  <c:v>0</c:v>
                </c:pt>
                <c:pt idx="5673">
                  <c:v>0</c:v>
                </c:pt>
                <c:pt idx="5674">
                  <c:v>0</c:v>
                </c:pt>
                <c:pt idx="5675">
                  <c:v>0</c:v>
                </c:pt>
                <c:pt idx="5676">
                  <c:v>0</c:v>
                </c:pt>
                <c:pt idx="5677">
                  <c:v>0</c:v>
                </c:pt>
                <c:pt idx="5678">
                  <c:v>0</c:v>
                </c:pt>
                <c:pt idx="5679">
                  <c:v>0</c:v>
                </c:pt>
                <c:pt idx="5680">
                  <c:v>0</c:v>
                </c:pt>
                <c:pt idx="5681">
                  <c:v>0</c:v>
                </c:pt>
                <c:pt idx="5682">
                  <c:v>0</c:v>
                </c:pt>
                <c:pt idx="5683">
                  <c:v>0</c:v>
                </c:pt>
                <c:pt idx="5684">
                  <c:v>0</c:v>
                </c:pt>
                <c:pt idx="5685">
                  <c:v>0</c:v>
                </c:pt>
                <c:pt idx="5686">
                  <c:v>0</c:v>
                </c:pt>
                <c:pt idx="5687">
                  <c:v>0</c:v>
                </c:pt>
                <c:pt idx="5688">
                  <c:v>0</c:v>
                </c:pt>
                <c:pt idx="5689">
                  <c:v>0</c:v>
                </c:pt>
                <c:pt idx="5690">
                  <c:v>0</c:v>
                </c:pt>
                <c:pt idx="5691">
                  <c:v>0</c:v>
                </c:pt>
                <c:pt idx="5692">
                  <c:v>0</c:v>
                </c:pt>
                <c:pt idx="5693">
                  <c:v>0</c:v>
                </c:pt>
                <c:pt idx="5694">
                  <c:v>0</c:v>
                </c:pt>
                <c:pt idx="5695">
                  <c:v>0</c:v>
                </c:pt>
                <c:pt idx="5696">
                  <c:v>0</c:v>
                </c:pt>
                <c:pt idx="5697">
                  <c:v>0</c:v>
                </c:pt>
                <c:pt idx="5698">
                  <c:v>0</c:v>
                </c:pt>
                <c:pt idx="5699">
                  <c:v>0</c:v>
                </c:pt>
                <c:pt idx="5700">
                  <c:v>0</c:v>
                </c:pt>
                <c:pt idx="5701">
                  <c:v>0</c:v>
                </c:pt>
                <c:pt idx="5702">
                  <c:v>0</c:v>
                </c:pt>
                <c:pt idx="5703">
                  <c:v>0</c:v>
                </c:pt>
                <c:pt idx="5704">
                  <c:v>0</c:v>
                </c:pt>
                <c:pt idx="5705">
                  <c:v>0</c:v>
                </c:pt>
                <c:pt idx="5706">
                  <c:v>0</c:v>
                </c:pt>
                <c:pt idx="5707">
                  <c:v>0</c:v>
                </c:pt>
                <c:pt idx="5708">
                  <c:v>0</c:v>
                </c:pt>
                <c:pt idx="5709">
                  <c:v>0</c:v>
                </c:pt>
                <c:pt idx="5710">
                  <c:v>0</c:v>
                </c:pt>
                <c:pt idx="5711">
                  <c:v>0</c:v>
                </c:pt>
                <c:pt idx="5712">
                  <c:v>0</c:v>
                </c:pt>
                <c:pt idx="5713">
                  <c:v>0</c:v>
                </c:pt>
                <c:pt idx="5714">
                  <c:v>0</c:v>
                </c:pt>
                <c:pt idx="5715">
                  <c:v>0</c:v>
                </c:pt>
                <c:pt idx="5716">
                  <c:v>0</c:v>
                </c:pt>
                <c:pt idx="5717">
                  <c:v>0</c:v>
                </c:pt>
                <c:pt idx="5718">
                  <c:v>0</c:v>
                </c:pt>
                <c:pt idx="5719">
                  <c:v>0</c:v>
                </c:pt>
                <c:pt idx="5720">
                  <c:v>0</c:v>
                </c:pt>
                <c:pt idx="5721">
                  <c:v>0</c:v>
                </c:pt>
                <c:pt idx="5722">
                  <c:v>0</c:v>
                </c:pt>
                <c:pt idx="5723">
                  <c:v>0</c:v>
                </c:pt>
                <c:pt idx="5724">
                  <c:v>0</c:v>
                </c:pt>
                <c:pt idx="5725">
                  <c:v>0</c:v>
                </c:pt>
                <c:pt idx="5726">
                  <c:v>0</c:v>
                </c:pt>
                <c:pt idx="5727">
                  <c:v>0</c:v>
                </c:pt>
                <c:pt idx="5728">
                  <c:v>0</c:v>
                </c:pt>
                <c:pt idx="5729">
                  <c:v>0</c:v>
                </c:pt>
                <c:pt idx="5730">
                  <c:v>0</c:v>
                </c:pt>
                <c:pt idx="5731">
                  <c:v>0</c:v>
                </c:pt>
                <c:pt idx="5732">
                  <c:v>0</c:v>
                </c:pt>
                <c:pt idx="5733">
                  <c:v>0</c:v>
                </c:pt>
                <c:pt idx="5734">
                  <c:v>0</c:v>
                </c:pt>
                <c:pt idx="5735">
                  <c:v>0</c:v>
                </c:pt>
                <c:pt idx="5736">
                  <c:v>0</c:v>
                </c:pt>
                <c:pt idx="5737">
                  <c:v>0</c:v>
                </c:pt>
                <c:pt idx="5738">
                  <c:v>0</c:v>
                </c:pt>
                <c:pt idx="5739">
                  <c:v>0</c:v>
                </c:pt>
                <c:pt idx="5740">
                  <c:v>0</c:v>
                </c:pt>
                <c:pt idx="5741">
                  <c:v>0</c:v>
                </c:pt>
                <c:pt idx="5742">
                  <c:v>0</c:v>
                </c:pt>
                <c:pt idx="5743">
                  <c:v>0</c:v>
                </c:pt>
                <c:pt idx="5744">
                  <c:v>0</c:v>
                </c:pt>
                <c:pt idx="5745">
                  <c:v>0</c:v>
                </c:pt>
                <c:pt idx="5746">
                  <c:v>0</c:v>
                </c:pt>
                <c:pt idx="5747">
                  <c:v>0</c:v>
                </c:pt>
                <c:pt idx="5748">
                  <c:v>0</c:v>
                </c:pt>
                <c:pt idx="5749">
                  <c:v>0</c:v>
                </c:pt>
                <c:pt idx="5750">
                  <c:v>0</c:v>
                </c:pt>
                <c:pt idx="5751">
                  <c:v>0</c:v>
                </c:pt>
                <c:pt idx="5752">
                  <c:v>0</c:v>
                </c:pt>
                <c:pt idx="5753">
                  <c:v>0</c:v>
                </c:pt>
                <c:pt idx="5754">
                  <c:v>0</c:v>
                </c:pt>
                <c:pt idx="5755">
                  <c:v>0</c:v>
                </c:pt>
                <c:pt idx="5756">
                  <c:v>0</c:v>
                </c:pt>
                <c:pt idx="5757">
                  <c:v>0</c:v>
                </c:pt>
                <c:pt idx="5758">
                  <c:v>0</c:v>
                </c:pt>
                <c:pt idx="5759">
                  <c:v>0</c:v>
                </c:pt>
                <c:pt idx="5760">
                  <c:v>0</c:v>
                </c:pt>
                <c:pt idx="5761">
                  <c:v>0</c:v>
                </c:pt>
                <c:pt idx="5762">
                  <c:v>0</c:v>
                </c:pt>
                <c:pt idx="5763">
                  <c:v>0</c:v>
                </c:pt>
                <c:pt idx="5764">
                  <c:v>0</c:v>
                </c:pt>
                <c:pt idx="5765">
                  <c:v>0</c:v>
                </c:pt>
                <c:pt idx="5766">
                  <c:v>0</c:v>
                </c:pt>
                <c:pt idx="5767">
                  <c:v>0</c:v>
                </c:pt>
                <c:pt idx="5768">
                  <c:v>0</c:v>
                </c:pt>
                <c:pt idx="5769">
                  <c:v>0</c:v>
                </c:pt>
                <c:pt idx="5770">
                  <c:v>0</c:v>
                </c:pt>
                <c:pt idx="5771">
                  <c:v>0</c:v>
                </c:pt>
                <c:pt idx="5772">
                  <c:v>0</c:v>
                </c:pt>
                <c:pt idx="5773">
                  <c:v>0</c:v>
                </c:pt>
                <c:pt idx="5774">
                  <c:v>0</c:v>
                </c:pt>
                <c:pt idx="5775">
                  <c:v>0</c:v>
                </c:pt>
                <c:pt idx="5776">
                  <c:v>0</c:v>
                </c:pt>
                <c:pt idx="5777">
                  <c:v>0</c:v>
                </c:pt>
                <c:pt idx="5778">
                  <c:v>0</c:v>
                </c:pt>
                <c:pt idx="5779">
                  <c:v>0</c:v>
                </c:pt>
                <c:pt idx="5780">
                  <c:v>0</c:v>
                </c:pt>
                <c:pt idx="5781">
                  <c:v>0</c:v>
                </c:pt>
                <c:pt idx="5782">
                  <c:v>0</c:v>
                </c:pt>
                <c:pt idx="5783">
                  <c:v>0</c:v>
                </c:pt>
                <c:pt idx="5784">
                  <c:v>0</c:v>
                </c:pt>
                <c:pt idx="5785">
                  <c:v>0</c:v>
                </c:pt>
                <c:pt idx="5786">
                  <c:v>0</c:v>
                </c:pt>
                <c:pt idx="5787">
                  <c:v>0</c:v>
                </c:pt>
                <c:pt idx="5788">
                  <c:v>0</c:v>
                </c:pt>
                <c:pt idx="5789">
                  <c:v>0</c:v>
                </c:pt>
                <c:pt idx="5790">
                  <c:v>0</c:v>
                </c:pt>
                <c:pt idx="5791">
                  <c:v>0</c:v>
                </c:pt>
                <c:pt idx="5792">
                  <c:v>0</c:v>
                </c:pt>
                <c:pt idx="5793">
                  <c:v>0</c:v>
                </c:pt>
                <c:pt idx="5794">
                  <c:v>0</c:v>
                </c:pt>
                <c:pt idx="5795">
                  <c:v>0</c:v>
                </c:pt>
                <c:pt idx="5796">
                  <c:v>0</c:v>
                </c:pt>
                <c:pt idx="5797">
                  <c:v>0</c:v>
                </c:pt>
                <c:pt idx="5798">
                  <c:v>0</c:v>
                </c:pt>
                <c:pt idx="5799">
                  <c:v>0</c:v>
                </c:pt>
                <c:pt idx="5800">
                  <c:v>0</c:v>
                </c:pt>
                <c:pt idx="5801">
                  <c:v>0</c:v>
                </c:pt>
                <c:pt idx="5802">
                  <c:v>0</c:v>
                </c:pt>
                <c:pt idx="5803">
                  <c:v>0</c:v>
                </c:pt>
                <c:pt idx="5804">
                  <c:v>0</c:v>
                </c:pt>
                <c:pt idx="5805">
                  <c:v>0</c:v>
                </c:pt>
                <c:pt idx="5806">
                  <c:v>0</c:v>
                </c:pt>
                <c:pt idx="5807">
                  <c:v>0</c:v>
                </c:pt>
                <c:pt idx="5808">
                  <c:v>0</c:v>
                </c:pt>
                <c:pt idx="5809">
                  <c:v>0</c:v>
                </c:pt>
                <c:pt idx="5810">
                  <c:v>0</c:v>
                </c:pt>
                <c:pt idx="5811">
                  <c:v>0</c:v>
                </c:pt>
                <c:pt idx="5812">
                  <c:v>0</c:v>
                </c:pt>
                <c:pt idx="5813">
                  <c:v>0</c:v>
                </c:pt>
                <c:pt idx="5814">
                  <c:v>0</c:v>
                </c:pt>
                <c:pt idx="5815">
                  <c:v>0</c:v>
                </c:pt>
                <c:pt idx="5816">
                  <c:v>0</c:v>
                </c:pt>
                <c:pt idx="5817">
                  <c:v>0</c:v>
                </c:pt>
                <c:pt idx="5818">
                  <c:v>0</c:v>
                </c:pt>
                <c:pt idx="5819">
                  <c:v>0</c:v>
                </c:pt>
                <c:pt idx="5820">
                  <c:v>0</c:v>
                </c:pt>
                <c:pt idx="5821">
                  <c:v>0</c:v>
                </c:pt>
                <c:pt idx="5822">
                  <c:v>0</c:v>
                </c:pt>
                <c:pt idx="5823">
                  <c:v>0</c:v>
                </c:pt>
                <c:pt idx="5824">
                  <c:v>0</c:v>
                </c:pt>
                <c:pt idx="5825">
                  <c:v>0</c:v>
                </c:pt>
                <c:pt idx="5826">
                  <c:v>0</c:v>
                </c:pt>
                <c:pt idx="5827">
                  <c:v>0</c:v>
                </c:pt>
                <c:pt idx="5828">
                  <c:v>0</c:v>
                </c:pt>
                <c:pt idx="5829">
                  <c:v>0</c:v>
                </c:pt>
                <c:pt idx="5830">
                  <c:v>0</c:v>
                </c:pt>
                <c:pt idx="5831">
                  <c:v>0</c:v>
                </c:pt>
                <c:pt idx="5832">
                  <c:v>0</c:v>
                </c:pt>
                <c:pt idx="5833">
                  <c:v>0</c:v>
                </c:pt>
                <c:pt idx="5834">
                  <c:v>0</c:v>
                </c:pt>
                <c:pt idx="5835">
                  <c:v>0</c:v>
                </c:pt>
                <c:pt idx="5836">
                  <c:v>0</c:v>
                </c:pt>
                <c:pt idx="5837">
                  <c:v>0</c:v>
                </c:pt>
                <c:pt idx="5838">
                  <c:v>0</c:v>
                </c:pt>
                <c:pt idx="5839">
                  <c:v>0</c:v>
                </c:pt>
                <c:pt idx="5840">
                  <c:v>0</c:v>
                </c:pt>
                <c:pt idx="5841">
                  <c:v>0</c:v>
                </c:pt>
                <c:pt idx="5842">
                  <c:v>0</c:v>
                </c:pt>
                <c:pt idx="5843">
                  <c:v>0</c:v>
                </c:pt>
                <c:pt idx="5844">
                  <c:v>0</c:v>
                </c:pt>
                <c:pt idx="5845">
                  <c:v>0</c:v>
                </c:pt>
                <c:pt idx="5846">
                  <c:v>0</c:v>
                </c:pt>
                <c:pt idx="5847">
                  <c:v>0</c:v>
                </c:pt>
                <c:pt idx="5848">
                  <c:v>0</c:v>
                </c:pt>
                <c:pt idx="5849">
                  <c:v>0</c:v>
                </c:pt>
                <c:pt idx="5850">
                  <c:v>0</c:v>
                </c:pt>
                <c:pt idx="5851">
                  <c:v>0</c:v>
                </c:pt>
                <c:pt idx="5852">
                  <c:v>0</c:v>
                </c:pt>
                <c:pt idx="5853">
                  <c:v>0</c:v>
                </c:pt>
                <c:pt idx="5854">
                  <c:v>0</c:v>
                </c:pt>
                <c:pt idx="5855">
                  <c:v>0</c:v>
                </c:pt>
                <c:pt idx="5856">
                  <c:v>0</c:v>
                </c:pt>
                <c:pt idx="5857">
                  <c:v>0</c:v>
                </c:pt>
                <c:pt idx="5858">
                  <c:v>0</c:v>
                </c:pt>
                <c:pt idx="5859">
                  <c:v>0</c:v>
                </c:pt>
                <c:pt idx="5860">
                  <c:v>0</c:v>
                </c:pt>
                <c:pt idx="5861">
                  <c:v>0</c:v>
                </c:pt>
                <c:pt idx="5862">
                  <c:v>0</c:v>
                </c:pt>
                <c:pt idx="5863">
                  <c:v>0</c:v>
                </c:pt>
                <c:pt idx="5864">
                  <c:v>0</c:v>
                </c:pt>
                <c:pt idx="5865">
                  <c:v>0</c:v>
                </c:pt>
                <c:pt idx="5866">
                  <c:v>0</c:v>
                </c:pt>
                <c:pt idx="5867">
                  <c:v>0</c:v>
                </c:pt>
                <c:pt idx="5868">
                  <c:v>0</c:v>
                </c:pt>
                <c:pt idx="5869">
                  <c:v>0</c:v>
                </c:pt>
                <c:pt idx="5870">
                  <c:v>0</c:v>
                </c:pt>
                <c:pt idx="5871">
                  <c:v>0</c:v>
                </c:pt>
                <c:pt idx="5872">
                  <c:v>0</c:v>
                </c:pt>
                <c:pt idx="5873">
                  <c:v>0</c:v>
                </c:pt>
                <c:pt idx="5874">
                  <c:v>0</c:v>
                </c:pt>
                <c:pt idx="5875">
                  <c:v>0</c:v>
                </c:pt>
                <c:pt idx="5876">
                  <c:v>0</c:v>
                </c:pt>
                <c:pt idx="5877">
                  <c:v>0</c:v>
                </c:pt>
                <c:pt idx="5878">
                  <c:v>0</c:v>
                </c:pt>
                <c:pt idx="5879">
                  <c:v>0</c:v>
                </c:pt>
                <c:pt idx="5880">
                  <c:v>0</c:v>
                </c:pt>
                <c:pt idx="5881">
                  <c:v>0</c:v>
                </c:pt>
                <c:pt idx="5882">
                  <c:v>0</c:v>
                </c:pt>
                <c:pt idx="5883">
                  <c:v>0</c:v>
                </c:pt>
                <c:pt idx="5884">
                  <c:v>0</c:v>
                </c:pt>
                <c:pt idx="5885">
                  <c:v>0</c:v>
                </c:pt>
                <c:pt idx="5886">
                  <c:v>0</c:v>
                </c:pt>
                <c:pt idx="5887">
                  <c:v>0</c:v>
                </c:pt>
                <c:pt idx="5888">
                  <c:v>0</c:v>
                </c:pt>
                <c:pt idx="5889">
                  <c:v>0</c:v>
                </c:pt>
                <c:pt idx="5890">
                  <c:v>0</c:v>
                </c:pt>
                <c:pt idx="5891">
                  <c:v>0</c:v>
                </c:pt>
                <c:pt idx="5892">
                  <c:v>0</c:v>
                </c:pt>
                <c:pt idx="5893">
                  <c:v>0</c:v>
                </c:pt>
                <c:pt idx="5894">
                  <c:v>0</c:v>
                </c:pt>
                <c:pt idx="5895">
                  <c:v>0</c:v>
                </c:pt>
                <c:pt idx="5896">
                  <c:v>0</c:v>
                </c:pt>
                <c:pt idx="5897">
                  <c:v>0</c:v>
                </c:pt>
                <c:pt idx="5898">
                  <c:v>0</c:v>
                </c:pt>
                <c:pt idx="5899">
                  <c:v>0</c:v>
                </c:pt>
                <c:pt idx="5900">
                  <c:v>0</c:v>
                </c:pt>
                <c:pt idx="5901">
                  <c:v>0</c:v>
                </c:pt>
                <c:pt idx="5902">
                  <c:v>0</c:v>
                </c:pt>
                <c:pt idx="5903">
                  <c:v>0</c:v>
                </c:pt>
                <c:pt idx="5904">
                  <c:v>0</c:v>
                </c:pt>
                <c:pt idx="5905">
                  <c:v>0</c:v>
                </c:pt>
                <c:pt idx="5906">
                  <c:v>0</c:v>
                </c:pt>
                <c:pt idx="5907">
                  <c:v>0</c:v>
                </c:pt>
                <c:pt idx="5908">
                  <c:v>0</c:v>
                </c:pt>
                <c:pt idx="5909">
                  <c:v>0</c:v>
                </c:pt>
                <c:pt idx="5910">
                  <c:v>0</c:v>
                </c:pt>
                <c:pt idx="5911">
                  <c:v>0</c:v>
                </c:pt>
                <c:pt idx="5912">
                  <c:v>0</c:v>
                </c:pt>
                <c:pt idx="5913">
                  <c:v>0</c:v>
                </c:pt>
                <c:pt idx="5914">
                  <c:v>0</c:v>
                </c:pt>
                <c:pt idx="5915">
                  <c:v>0</c:v>
                </c:pt>
                <c:pt idx="5916">
                  <c:v>0</c:v>
                </c:pt>
                <c:pt idx="5917">
                  <c:v>0</c:v>
                </c:pt>
                <c:pt idx="5918">
                  <c:v>0</c:v>
                </c:pt>
                <c:pt idx="5919">
                  <c:v>0</c:v>
                </c:pt>
                <c:pt idx="5920">
                  <c:v>0</c:v>
                </c:pt>
                <c:pt idx="5921">
                  <c:v>0</c:v>
                </c:pt>
                <c:pt idx="5922">
                  <c:v>0</c:v>
                </c:pt>
                <c:pt idx="5923">
                  <c:v>0</c:v>
                </c:pt>
                <c:pt idx="5924">
                  <c:v>0</c:v>
                </c:pt>
                <c:pt idx="5925">
                  <c:v>0</c:v>
                </c:pt>
                <c:pt idx="5926">
                  <c:v>0</c:v>
                </c:pt>
                <c:pt idx="5927">
                  <c:v>0</c:v>
                </c:pt>
                <c:pt idx="5928">
                  <c:v>0</c:v>
                </c:pt>
                <c:pt idx="5929">
                  <c:v>0</c:v>
                </c:pt>
                <c:pt idx="5930">
                  <c:v>0</c:v>
                </c:pt>
                <c:pt idx="5931">
                  <c:v>0</c:v>
                </c:pt>
                <c:pt idx="5932">
                  <c:v>0</c:v>
                </c:pt>
                <c:pt idx="5933">
                  <c:v>0</c:v>
                </c:pt>
                <c:pt idx="5934">
                  <c:v>0</c:v>
                </c:pt>
                <c:pt idx="5935">
                  <c:v>0</c:v>
                </c:pt>
                <c:pt idx="5936">
                  <c:v>0</c:v>
                </c:pt>
                <c:pt idx="5937">
                  <c:v>0</c:v>
                </c:pt>
                <c:pt idx="5938">
                  <c:v>0</c:v>
                </c:pt>
                <c:pt idx="5939">
                  <c:v>0</c:v>
                </c:pt>
                <c:pt idx="5940">
                  <c:v>0</c:v>
                </c:pt>
                <c:pt idx="5941">
                  <c:v>0</c:v>
                </c:pt>
                <c:pt idx="5942">
                  <c:v>0</c:v>
                </c:pt>
                <c:pt idx="5943">
                  <c:v>0</c:v>
                </c:pt>
                <c:pt idx="5944">
                  <c:v>0</c:v>
                </c:pt>
                <c:pt idx="5945">
                  <c:v>0</c:v>
                </c:pt>
                <c:pt idx="5946">
                  <c:v>0</c:v>
                </c:pt>
                <c:pt idx="5947">
                  <c:v>0</c:v>
                </c:pt>
                <c:pt idx="5948">
                  <c:v>0</c:v>
                </c:pt>
                <c:pt idx="5949">
                  <c:v>0</c:v>
                </c:pt>
                <c:pt idx="5950">
                  <c:v>0</c:v>
                </c:pt>
                <c:pt idx="5951">
                  <c:v>0</c:v>
                </c:pt>
                <c:pt idx="5952">
                  <c:v>0</c:v>
                </c:pt>
                <c:pt idx="5953">
                  <c:v>0</c:v>
                </c:pt>
                <c:pt idx="5954">
                  <c:v>0</c:v>
                </c:pt>
                <c:pt idx="5955">
                  <c:v>0</c:v>
                </c:pt>
                <c:pt idx="5956">
                  <c:v>0</c:v>
                </c:pt>
                <c:pt idx="5957">
                  <c:v>0</c:v>
                </c:pt>
                <c:pt idx="5958">
                  <c:v>0</c:v>
                </c:pt>
                <c:pt idx="5959">
                  <c:v>0</c:v>
                </c:pt>
                <c:pt idx="5960">
                  <c:v>0</c:v>
                </c:pt>
                <c:pt idx="5961">
                  <c:v>0</c:v>
                </c:pt>
                <c:pt idx="5962">
                  <c:v>0</c:v>
                </c:pt>
                <c:pt idx="5963">
                  <c:v>0</c:v>
                </c:pt>
                <c:pt idx="5964">
                  <c:v>0</c:v>
                </c:pt>
                <c:pt idx="5965">
                  <c:v>0</c:v>
                </c:pt>
                <c:pt idx="5966">
                  <c:v>0</c:v>
                </c:pt>
                <c:pt idx="5967">
                  <c:v>0</c:v>
                </c:pt>
                <c:pt idx="5968">
                  <c:v>0</c:v>
                </c:pt>
                <c:pt idx="5969">
                  <c:v>0</c:v>
                </c:pt>
                <c:pt idx="5970">
                  <c:v>0</c:v>
                </c:pt>
                <c:pt idx="5971">
                  <c:v>0</c:v>
                </c:pt>
                <c:pt idx="5972">
                  <c:v>0</c:v>
                </c:pt>
                <c:pt idx="5973">
                  <c:v>0</c:v>
                </c:pt>
                <c:pt idx="5974">
                  <c:v>0</c:v>
                </c:pt>
                <c:pt idx="5975">
                  <c:v>0</c:v>
                </c:pt>
                <c:pt idx="5976">
                  <c:v>0</c:v>
                </c:pt>
                <c:pt idx="5977">
                  <c:v>0</c:v>
                </c:pt>
                <c:pt idx="5978">
                  <c:v>0</c:v>
                </c:pt>
                <c:pt idx="5979">
                  <c:v>0</c:v>
                </c:pt>
                <c:pt idx="5980">
                  <c:v>0</c:v>
                </c:pt>
                <c:pt idx="5981">
                  <c:v>0</c:v>
                </c:pt>
                <c:pt idx="5982">
                  <c:v>0</c:v>
                </c:pt>
                <c:pt idx="5983">
                  <c:v>0</c:v>
                </c:pt>
                <c:pt idx="5984">
                  <c:v>0</c:v>
                </c:pt>
                <c:pt idx="5985">
                  <c:v>0</c:v>
                </c:pt>
                <c:pt idx="5986">
                  <c:v>0</c:v>
                </c:pt>
                <c:pt idx="5987">
                  <c:v>0</c:v>
                </c:pt>
                <c:pt idx="5988">
                  <c:v>0</c:v>
                </c:pt>
                <c:pt idx="5989">
                  <c:v>0</c:v>
                </c:pt>
                <c:pt idx="5990">
                  <c:v>0</c:v>
                </c:pt>
                <c:pt idx="5991">
                  <c:v>0</c:v>
                </c:pt>
                <c:pt idx="5992">
                  <c:v>0</c:v>
                </c:pt>
                <c:pt idx="5993">
                  <c:v>0</c:v>
                </c:pt>
                <c:pt idx="5994">
                  <c:v>0</c:v>
                </c:pt>
                <c:pt idx="5995">
                  <c:v>0</c:v>
                </c:pt>
                <c:pt idx="5996">
                  <c:v>0</c:v>
                </c:pt>
                <c:pt idx="5997">
                  <c:v>0</c:v>
                </c:pt>
                <c:pt idx="5998">
                  <c:v>0</c:v>
                </c:pt>
                <c:pt idx="5999">
                  <c:v>0</c:v>
                </c:pt>
                <c:pt idx="6000">
                  <c:v>0</c:v>
                </c:pt>
                <c:pt idx="6001">
                  <c:v>0</c:v>
                </c:pt>
                <c:pt idx="6002">
                  <c:v>0</c:v>
                </c:pt>
                <c:pt idx="6003">
                  <c:v>0</c:v>
                </c:pt>
                <c:pt idx="6004">
                  <c:v>0</c:v>
                </c:pt>
                <c:pt idx="6005">
                  <c:v>0</c:v>
                </c:pt>
                <c:pt idx="6006">
                  <c:v>0</c:v>
                </c:pt>
                <c:pt idx="6007">
                  <c:v>0</c:v>
                </c:pt>
                <c:pt idx="6008">
                  <c:v>0</c:v>
                </c:pt>
                <c:pt idx="6009">
                  <c:v>0</c:v>
                </c:pt>
                <c:pt idx="6010">
                  <c:v>0</c:v>
                </c:pt>
                <c:pt idx="6011">
                  <c:v>0</c:v>
                </c:pt>
                <c:pt idx="6012">
                  <c:v>0</c:v>
                </c:pt>
                <c:pt idx="6013">
                  <c:v>0</c:v>
                </c:pt>
                <c:pt idx="6014">
                  <c:v>0</c:v>
                </c:pt>
                <c:pt idx="6015">
                  <c:v>0</c:v>
                </c:pt>
                <c:pt idx="6016">
                  <c:v>0</c:v>
                </c:pt>
                <c:pt idx="6017">
                  <c:v>0</c:v>
                </c:pt>
                <c:pt idx="6018">
                  <c:v>0</c:v>
                </c:pt>
                <c:pt idx="6019">
                  <c:v>0</c:v>
                </c:pt>
                <c:pt idx="6020">
                  <c:v>0</c:v>
                </c:pt>
                <c:pt idx="6021">
                  <c:v>0</c:v>
                </c:pt>
                <c:pt idx="6022">
                  <c:v>0</c:v>
                </c:pt>
                <c:pt idx="6023">
                  <c:v>0</c:v>
                </c:pt>
                <c:pt idx="6024">
                  <c:v>0</c:v>
                </c:pt>
                <c:pt idx="6025">
                  <c:v>0</c:v>
                </c:pt>
                <c:pt idx="6026">
                  <c:v>0</c:v>
                </c:pt>
                <c:pt idx="6027">
                  <c:v>0</c:v>
                </c:pt>
                <c:pt idx="6028">
                  <c:v>0</c:v>
                </c:pt>
                <c:pt idx="6029">
                  <c:v>0</c:v>
                </c:pt>
                <c:pt idx="6030">
                  <c:v>0</c:v>
                </c:pt>
                <c:pt idx="6031">
                  <c:v>0</c:v>
                </c:pt>
                <c:pt idx="6032">
                  <c:v>0</c:v>
                </c:pt>
                <c:pt idx="6033">
                  <c:v>0</c:v>
                </c:pt>
                <c:pt idx="6034">
                  <c:v>0</c:v>
                </c:pt>
                <c:pt idx="6035">
                  <c:v>0</c:v>
                </c:pt>
                <c:pt idx="6036">
                  <c:v>0</c:v>
                </c:pt>
                <c:pt idx="6037">
                  <c:v>0</c:v>
                </c:pt>
                <c:pt idx="6038">
                  <c:v>0</c:v>
                </c:pt>
                <c:pt idx="6039">
                  <c:v>0</c:v>
                </c:pt>
                <c:pt idx="6040">
                  <c:v>0</c:v>
                </c:pt>
                <c:pt idx="6041">
                  <c:v>0</c:v>
                </c:pt>
                <c:pt idx="6042">
                  <c:v>0</c:v>
                </c:pt>
                <c:pt idx="6043">
                  <c:v>0</c:v>
                </c:pt>
                <c:pt idx="6044">
                  <c:v>0</c:v>
                </c:pt>
                <c:pt idx="6045">
                  <c:v>0</c:v>
                </c:pt>
                <c:pt idx="6046">
                  <c:v>0</c:v>
                </c:pt>
                <c:pt idx="6047">
                  <c:v>0</c:v>
                </c:pt>
                <c:pt idx="6048">
                  <c:v>0</c:v>
                </c:pt>
                <c:pt idx="6049">
                  <c:v>0</c:v>
                </c:pt>
                <c:pt idx="6050">
                  <c:v>0</c:v>
                </c:pt>
                <c:pt idx="6051">
                  <c:v>0</c:v>
                </c:pt>
                <c:pt idx="6052">
                  <c:v>0</c:v>
                </c:pt>
                <c:pt idx="6053">
                  <c:v>0</c:v>
                </c:pt>
                <c:pt idx="6054">
                  <c:v>0</c:v>
                </c:pt>
                <c:pt idx="6055">
                  <c:v>0</c:v>
                </c:pt>
                <c:pt idx="6056">
                  <c:v>0</c:v>
                </c:pt>
                <c:pt idx="6057">
                  <c:v>0</c:v>
                </c:pt>
                <c:pt idx="6058">
                  <c:v>0</c:v>
                </c:pt>
                <c:pt idx="6059">
                  <c:v>0</c:v>
                </c:pt>
                <c:pt idx="6060">
                  <c:v>0</c:v>
                </c:pt>
                <c:pt idx="6061">
                  <c:v>0</c:v>
                </c:pt>
                <c:pt idx="6062">
                  <c:v>0</c:v>
                </c:pt>
                <c:pt idx="6063">
                  <c:v>0</c:v>
                </c:pt>
                <c:pt idx="6064">
                  <c:v>0</c:v>
                </c:pt>
                <c:pt idx="6065">
                  <c:v>0</c:v>
                </c:pt>
                <c:pt idx="6066">
                  <c:v>0</c:v>
                </c:pt>
                <c:pt idx="6067">
                  <c:v>0</c:v>
                </c:pt>
                <c:pt idx="6068">
                  <c:v>0</c:v>
                </c:pt>
                <c:pt idx="6069">
                  <c:v>0</c:v>
                </c:pt>
                <c:pt idx="6070">
                  <c:v>0</c:v>
                </c:pt>
                <c:pt idx="6071">
                  <c:v>0</c:v>
                </c:pt>
                <c:pt idx="6072">
                  <c:v>0</c:v>
                </c:pt>
                <c:pt idx="6073">
                  <c:v>0</c:v>
                </c:pt>
                <c:pt idx="6074">
                  <c:v>0</c:v>
                </c:pt>
                <c:pt idx="6075">
                  <c:v>0</c:v>
                </c:pt>
                <c:pt idx="6076">
                  <c:v>0</c:v>
                </c:pt>
                <c:pt idx="6077">
                  <c:v>0</c:v>
                </c:pt>
                <c:pt idx="6078">
                  <c:v>0</c:v>
                </c:pt>
                <c:pt idx="6079">
                  <c:v>0</c:v>
                </c:pt>
                <c:pt idx="6080">
                  <c:v>0</c:v>
                </c:pt>
                <c:pt idx="6081">
                  <c:v>0</c:v>
                </c:pt>
                <c:pt idx="6082">
                  <c:v>0</c:v>
                </c:pt>
                <c:pt idx="6083">
                  <c:v>0</c:v>
                </c:pt>
                <c:pt idx="6084">
                  <c:v>0</c:v>
                </c:pt>
                <c:pt idx="6085">
                  <c:v>0</c:v>
                </c:pt>
                <c:pt idx="6086">
                  <c:v>0</c:v>
                </c:pt>
                <c:pt idx="6087">
                  <c:v>0</c:v>
                </c:pt>
                <c:pt idx="6088">
                  <c:v>0</c:v>
                </c:pt>
                <c:pt idx="6089">
                  <c:v>0</c:v>
                </c:pt>
                <c:pt idx="6090">
                  <c:v>0</c:v>
                </c:pt>
                <c:pt idx="6091">
                  <c:v>0</c:v>
                </c:pt>
                <c:pt idx="6092">
                  <c:v>0</c:v>
                </c:pt>
                <c:pt idx="6093">
                  <c:v>0</c:v>
                </c:pt>
                <c:pt idx="6094">
                  <c:v>0</c:v>
                </c:pt>
                <c:pt idx="6095">
                  <c:v>0</c:v>
                </c:pt>
                <c:pt idx="6096">
                  <c:v>0</c:v>
                </c:pt>
                <c:pt idx="6097">
                  <c:v>0</c:v>
                </c:pt>
                <c:pt idx="6098">
                  <c:v>0</c:v>
                </c:pt>
                <c:pt idx="6099">
                  <c:v>0</c:v>
                </c:pt>
                <c:pt idx="6100">
                  <c:v>0</c:v>
                </c:pt>
                <c:pt idx="6101">
                  <c:v>0</c:v>
                </c:pt>
                <c:pt idx="6102">
                  <c:v>0</c:v>
                </c:pt>
                <c:pt idx="6103">
                  <c:v>0</c:v>
                </c:pt>
                <c:pt idx="6104">
                  <c:v>0</c:v>
                </c:pt>
                <c:pt idx="6105">
                  <c:v>0</c:v>
                </c:pt>
                <c:pt idx="6106">
                  <c:v>0</c:v>
                </c:pt>
                <c:pt idx="6107">
                  <c:v>0</c:v>
                </c:pt>
                <c:pt idx="6108">
                  <c:v>0</c:v>
                </c:pt>
                <c:pt idx="6109">
                  <c:v>0</c:v>
                </c:pt>
                <c:pt idx="6110">
                  <c:v>0</c:v>
                </c:pt>
                <c:pt idx="6111">
                  <c:v>0</c:v>
                </c:pt>
                <c:pt idx="6112">
                  <c:v>0</c:v>
                </c:pt>
                <c:pt idx="6113">
                  <c:v>0</c:v>
                </c:pt>
                <c:pt idx="6114">
                  <c:v>0</c:v>
                </c:pt>
                <c:pt idx="6115">
                  <c:v>0</c:v>
                </c:pt>
                <c:pt idx="6116">
                  <c:v>0</c:v>
                </c:pt>
                <c:pt idx="6117">
                  <c:v>0</c:v>
                </c:pt>
                <c:pt idx="6118">
                  <c:v>0</c:v>
                </c:pt>
                <c:pt idx="6119">
                  <c:v>0</c:v>
                </c:pt>
                <c:pt idx="6120">
                  <c:v>0</c:v>
                </c:pt>
                <c:pt idx="6121">
                  <c:v>0</c:v>
                </c:pt>
                <c:pt idx="6122">
                  <c:v>0</c:v>
                </c:pt>
                <c:pt idx="6123">
                  <c:v>0</c:v>
                </c:pt>
                <c:pt idx="6124">
                  <c:v>0</c:v>
                </c:pt>
                <c:pt idx="6125">
                  <c:v>0</c:v>
                </c:pt>
                <c:pt idx="6126">
                  <c:v>0</c:v>
                </c:pt>
                <c:pt idx="6127">
                  <c:v>0</c:v>
                </c:pt>
                <c:pt idx="6128">
                  <c:v>0</c:v>
                </c:pt>
                <c:pt idx="6129">
                  <c:v>0</c:v>
                </c:pt>
                <c:pt idx="6130">
                  <c:v>0</c:v>
                </c:pt>
                <c:pt idx="6131">
                  <c:v>0</c:v>
                </c:pt>
                <c:pt idx="6132">
                  <c:v>0</c:v>
                </c:pt>
                <c:pt idx="6133">
                  <c:v>0</c:v>
                </c:pt>
                <c:pt idx="6134">
                  <c:v>0</c:v>
                </c:pt>
                <c:pt idx="6135">
                  <c:v>0</c:v>
                </c:pt>
                <c:pt idx="6136">
                  <c:v>0</c:v>
                </c:pt>
                <c:pt idx="6137">
                  <c:v>0</c:v>
                </c:pt>
                <c:pt idx="6138">
                  <c:v>0</c:v>
                </c:pt>
                <c:pt idx="6139">
                  <c:v>0</c:v>
                </c:pt>
                <c:pt idx="6140">
                  <c:v>0</c:v>
                </c:pt>
                <c:pt idx="6141">
                  <c:v>0</c:v>
                </c:pt>
                <c:pt idx="6142">
                  <c:v>0</c:v>
                </c:pt>
                <c:pt idx="6143">
                  <c:v>0</c:v>
                </c:pt>
                <c:pt idx="6144">
                  <c:v>0</c:v>
                </c:pt>
                <c:pt idx="6145">
                  <c:v>0</c:v>
                </c:pt>
                <c:pt idx="6146">
                  <c:v>0</c:v>
                </c:pt>
                <c:pt idx="6147">
                  <c:v>0</c:v>
                </c:pt>
                <c:pt idx="6148">
                  <c:v>0</c:v>
                </c:pt>
                <c:pt idx="6149">
                  <c:v>0</c:v>
                </c:pt>
                <c:pt idx="6150">
                  <c:v>0</c:v>
                </c:pt>
                <c:pt idx="6151">
                  <c:v>0</c:v>
                </c:pt>
                <c:pt idx="6152">
                  <c:v>0</c:v>
                </c:pt>
                <c:pt idx="6153">
                  <c:v>0</c:v>
                </c:pt>
                <c:pt idx="6154">
                  <c:v>0</c:v>
                </c:pt>
                <c:pt idx="6155">
                  <c:v>0</c:v>
                </c:pt>
                <c:pt idx="6156">
                  <c:v>0</c:v>
                </c:pt>
                <c:pt idx="6157">
                  <c:v>0</c:v>
                </c:pt>
                <c:pt idx="6158">
                  <c:v>0</c:v>
                </c:pt>
                <c:pt idx="6159">
                  <c:v>0</c:v>
                </c:pt>
                <c:pt idx="6160">
                  <c:v>0</c:v>
                </c:pt>
                <c:pt idx="6161">
                  <c:v>0</c:v>
                </c:pt>
                <c:pt idx="6162">
                  <c:v>0</c:v>
                </c:pt>
                <c:pt idx="6163">
                  <c:v>0</c:v>
                </c:pt>
                <c:pt idx="6164">
                  <c:v>0</c:v>
                </c:pt>
                <c:pt idx="6165">
                  <c:v>0</c:v>
                </c:pt>
                <c:pt idx="6166">
                  <c:v>0</c:v>
                </c:pt>
                <c:pt idx="6167">
                  <c:v>0</c:v>
                </c:pt>
                <c:pt idx="6168">
                  <c:v>0</c:v>
                </c:pt>
                <c:pt idx="6169">
                  <c:v>0</c:v>
                </c:pt>
                <c:pt idx="6170">
                  <c:v>0</c:v>
                </c:pt>
                <c:pt idx="6171">
                  <c:v>0</c:v>
                </c:pt>
                <c:pt idx="6172">
                  <c:v>0</c:v>
                </c:pt>
                <c:pt idx="6173">
                  <c:v>0</c:v>
                </c:pt>
                <c:pt idx="6174">
                  <c:v>0</c:v>
                </c:pt>
                <c:pt idx="6175">
                  <c:v>0</c:v>
                </c:pt>
                <c:pt idx="6176">
                  <c:v>0</c:v>
                </c:pt>
                <c:pt idx="6177">
                  <c:v>0</c:v>
                </c:pt>
                <c:pt idx="6178">
                  <c:v>0</c:v>
                </c:pt>
                <c:pt idx="6179">
                  <c:v>0</c:v>
                </c:pt>
                <c:pt idx="6180">
                  <c:v>0</c:v>
                </c:pt>
                <c:pt idx="6181">
                  <c:v>0</c:v>
                </c:pt>
                <c:pt idx="6182">
                  <c:v>0</c:v>
                </c:pt>
                <c:pt idx="6183">
                  <c:v>0</c:v>
                </c:pt>
                <c:pt idx="6184">
                  <c:v>0</c:v>
                </c:pt>
                <c:pt idx="6185">
                  <c:v>0</c:v>
                </c:pt>
                <c:pt idx="6186">
                  <c:v>0</c:v>
                </c:pt>
                <c:pt idx="6187">
                  <c:v>0</c:v>
                </c:pt>
                <c:pt idx="6188">
                  <c:v>0</c:v>
                </c:pt>
                <c:pt idx="6189">
                  <c:v>0</c:v>
                </c:pt>
                <c:pt idx="6190">
                  <c:v>0</c:v>
                </c:pt>
                <c:pt idx="6191">
                  <c:v>0</c:v>
                </c:pt>
                <c:pt idx="6192">
                  <c:v>0</c:v>
                </c:pt>
                <c:pt idx="6193">
                  <c:v>0</c:v>
                </c:pt>
                <c:pt idx="6194">
                  <c:v>0</c:v>
                </c:pt>
                <c:pt idx="6195">
                  <c:v>0</c:v>
                </c:pt>
                <c:pt idx="6196">
                  <c:v>0</c:v>
                </c:pt>
                <c:pt idx="6197">
                  <c:v>0</c:v>
                </c:pt>
                <c:pt idx="6198">
                  <c:v>0</c:v>
                </c:pt>
                <c:pt idx="6199">
                  <c:v>0</c:v>
                </c:pt>
                <c:pt idx="6200">
                  <c:v>0</c:v>
                </c:pt>
                <c:pt idx="6201">
                  <c:v>0</c:v>
                </c:pt>
                <c:pt idx="6202">
                  <c:v>0</c:v>
                </c:pt>
                <c:pt idx="6203">
                  <c:v>0</c:v>
                </c:pt>
                <c:pt idx="6204">
                  <c:v>0</c:v>
                </c:pt>
                <c:pt idx="6205">
                  <c:v>0</c:v>
                </c:pt>
                <c:pt idx="6206">
                  <c:v>0</c:v>
                </c:pt>
                <c:pt idx="6207">
                  <c:v>0</c:v>
                </c:pt>
                <c:pt idx="6208">
                  <c:v>0</c:v>
                </c:pt>
                <c:pt idx="6209">
                  <c:v>0</c:v>
                </c:pt>
                <c:pt idx="6210">
                  <c:v>0</c:v>
                </c:pt>
                <c:pt idx="6211">
                  <c:v>0</c:v>
                </c:pt>
                <c:pt idx="6212">
                  <c:v>0</c:v>
                </c:pt>
                <c:pt idx="6213">
                  <c:v>0</c:v>
                </c:pt>
                <c:pt idx="6214">
                  <c:v>0</c:v>
                </c:pt>
                <c:pt idx="6215">
                  <c:v>0</c:v>
                </c:pt>
                <c:pt idx="6216">
                  <c:v>0</c:v>
                </c:pt>
                <c:pt idx="6217">
                  <c:v>0</c:v>
                </c:pt>
                <c:pt idx="6218">
                  <c:v>0</c:v>
                </c:pt>
                <c:pt idx="6219">
                  <c:v>0</c:v>
                </c:pt>
                <c:pt idx="6220">
                  <c:v>0</c:v>
                </c:pt>
                <c:pt idx="6221">
                  <c:v>0</c:v>
                </c:pt>
                <c:pt idx="6222">
                  <c:v>0</c:v>
                </c:pt>
                <c:pt idx="6223">
                  <c:v>0</c:v>
                </c:pt>
                <c:pt idx="6224">
                  <c:v>0</c:v>
                </c:pt>
                <c:pt idx="6225">
                  <c:v>0</c:v>
                </c:pt>
                <c:pt idx="6226">
                  <c:v>0</c:v>
                </c:pt>
                <c:pt idx="6227">
                  <c:v>0</c:v>
                </c:pt>
                <c:pt idx="6228">
                  <c:v>0</c:v>
                </c:pt>
                <c:pt idx="6229">
                  <c:v>0</c:v>
                </c:pt>
                <c:pt idx="6230">
                  <c:v>0</c:v>
                </c:pt>
                <c:pt idx="6231">
                  <c:v>0</c:v>
                </c:pt>
                <c:pt idx="6232">
                  <c:v>0</c:v>
                </c:pt>
                <c:pt idx="6233">
                  <c:v>0</c:v>
                </c:pt>
                <c:pt idx="6234">
                  <c:v>0</c:v>
                </c:pt>
                <c:pt idx="6235">
                  <c:v>0</c:v>
                </c:pt>
                <c:pt idx="6236">
                  <c:v>0</c:v>
                </c:pt>
                <c:pt idx="6237">
                  <c:v>0</c:v>
                </c:pt>
                <c:pt idx="6238">
                  <c:v>0</c:v>
                </c:pt>
                <c:pt idx="6239">
                  <c:v>0</c:v>
                </c:pt>
                <c:pt idx="6240">
                  <c:v>0</c:v>
                </c:pt>
                <c:pt idx="6241">
                  <c:v>0</c:v>
                </c:pt>
                <c:pt idx="6242">
                  <c:v>0</c:v>
                </c:pt>
                <c:pt idx="6243">
                  <c:v>0</c:v>
                </c:pt>
                <c:pt idx="6244">
                  <c:v>0</c:v>
                </c:pt>
                <c:pt idx="6245">
                  <c:v>0</c:v>
                </c:pt>
                <c:pt idx="6246">
                  <c:v>0</c:v>
                </c:pt>
                <c:pt idx="6247">
                  <c:v>0</c:v>
                </c:pt>
                <c:pt idx="6248">
                  <c:v>0</c:v>
                </c:pt>
                <c:pt idx="6249">
                  <c:v>0</c:v>
                </c:pt>
                <c:pt idx="6250">
                  <c:v>0</c:v>
                </c:pt>
                <c:pt idx="6251">
                  <c:v>0</c:v>
                </c:pt>
                <c:pt idx="6252">
                  <c:v>0</c:v>
                </c:pt>
                <c:pt idx="6253">
                  <c:v>0</c:v>
                </c:pt>
                <c:pt idx="6254">
                  <c:v>0</c:v>
                </c:pt>
                <c:pt idx="6255">
                  <c:v>0</c:v>
                </c:pt>
                <c:pt idx="6256">
                  <c:v>0</c:v>
                </c:pt>
                <c:pt idx="6257">
                  <c:v>0</c:v>
                </c:pt>
                <c:pt idx="6258">
                  <c:v>0</c:v>
                </c:pt>
                <c:pt idx="6259">
                  <c:v>0</c:v>
                </c:pt>
                <c:pt idx="6260">
                  <c:v>0</c:v>
                </c:pt>
                <c:pt idx="6261">
                  <c:v>0</c:v>
                </c:pt>
                <c:pt idx="6262">
                  <c:v>0</c:v>
                </c:pt>
                <c:pt idx="6263">
                  <c:v>0</c:v>
                </c:pt>
                <c:pt idx="6264">
                  <c:v>0</c:v>
                </c:pt>
                <c:pt idx="6265">
                  <c:v>0</c:v>
                </c:pt>
                <c:pt idx="6266">
                  <c:v>0</c:v>
                </c:pt>
                <c:pt idx="6267">
                  <c:v>0</c:v>
                </c:pt>
                <c:pt idx="6268">
                  <c:v>0</c:v>
                </c:pt>
                <c:pt idx="6269">
                  <c:v>0</c:v>
                </c:pt>
                <c:pt idx="6270">
                  <c:v>0</c:v>
                </c:pt>
                <c:pt idx="6271">
                  <c:v>0</c:v>
                </c:pt>
                <c:pt idx="6272">
                  <c:v>0</c:v>
                </c:pt>
                <c:pt idx="6273">
                  <c:v>0</c:v>
                </c:pt>
                <c:pt idx="6274">
                  <c:v>0</c:v>
                </c:pt>
                <c:pt idx="6275">
                  <c:v>0</c:v>
                </c:pt>
                <c:pt idx="6276">
                  <c:v>0</c:v>
                </c:pt>
                <c:pt idx="6277">
                  <c:v>0</c:v>
                </c:pt>
                <c:pt idx="6278">
                  <c:v>0</c:v>
                </c:pt>
                <c:pt idx="6279">
                  <c:v>0</c:v>
                </c:pt>
                <c:pt idx="6280">
                  <c:v>0</c:v>
                </c:pt>
                <c:pt idx="6281">
                  <c:v>0</c:v>
                </c:pt>
                <c:pt idx="6282">
                  <c:v>0</c:v>
                </c:pt>
                <c:pt idx="6283">
                  <c:v>0</c:v>
                </c:pt>
                <c:pt idx="6284">
                  <c:v>0</c:v>
                </c:pt>
                <c:pt idx="6285">
                  <c:v>0</c:v>
                </c:pt>
                <c:pt idx="6286">
                  <c:v>0</c:v>
                </c:pt>
                <c:pt idx="6287">
                  <c:v>0</c:v>
                </c:pt>
                <c:pt idx="6288">
                  <c:v>0</c:v>
                </c:pt>
                <c:pt idx="6289">
                  <c:v>0</c:v>
                </c:pt>
                <c:pt idx="6290">
                  <c:v>0</c:v>
                </c:pt>
                <c:pt idx="6291">
                  <c:v>0</c:v>
                </c:pt>
                <c:pt idx="6292">
                  <c:v>0</c:v>
                </c:pt>
                <c:pt idx="6293">
                  <c:v>0</c:v>
                </c:pt>
                <c:pt idx="6294">
                  <c:v>0</c:v>
                </c:pt>
                <c:pt idx="6295">
                  <c:v>0</c:v>
                </c:pt>
                <c:pt idx="6296">
                  <c:v>0</c:v>
                </c:pt>
                <c:pt idx="6297">
                  <c:v>0</c:v>
                </c:pt>
                <c:pt idx="6298">
                  <c:v>0</c:v>
                </c:pt>
                <c:pt idx="6299">
                  <c:v>0</c:v>
                </c:pt>
                <c:pt idx="6300">
                  <c:v>0</c:v>
                </c:pt>
                <c:pt idx="6301">
                  <c:v>0</c:v>
                </c:pt>
                <c:pt idx="6302">
                  <c:v>0</c:v>
                </c:pt>
                <c:pt idx="6303">
                  <c:v>0</c:v>
                </c:pt>
                <c:pt idx="6304">
                  <c:v>0</c:v>
                </c:pt>
                <c:pt idx="6305">
                  <c:v>0</c:v>
                </c:pt>
                <c:pt idx="6306">
                  <c:v>0</c:v>
                </c:pt>
                <c:pt idx="6307">
                  <c:v>0</c:v>
                </c:pt>
                <c:pt idx="6308">
                  <c:v>0</c:v>
                </c:pt>
                <c:pt idx="6309">
                  <c:v>0</c:v>
                </c:pt>
                <c:pt idx="6310">
                  <c:v>0</c:v>
                </c:pt>
                <c:pt idx="6311">
                  <c:v>0</c:v>
                </c:pt>
                <c:pt idx="6312">
                  <c:v>0</c:v>
                </c:pt>
                <c:pt idx="6313">
                  <c:v>0</c:v>
                </c:pt>
                <c:pt idx="6314">
                  <c:v>0</c:v>
                </c:pt>
                <c:pt idx="6315">
                  <c:v>0</c:v>
                </c:pt>
                <c:pt idx="6316">
                  <c:v>0</c:v>
                </c:pt>
                <c:pt idx="6317">
                  <c:v>0</c:v>
                </c:pt>
                <c:pt idx="6318">
                  <c:v>0</c:v>
                </c:pt>
                <c:pt idx="6319">
                  <c:v>0</c:v>
                </c:pt>
                <c:pt idx="6320">
                  <c:v>0</c:v>
                </c:pt>
                <c:pt idx="6321">
                  <c:v>0</c:v>
                </c:pt>
                <c:pt idx="6322">
                  <c:v>0</c:v>
                </c:pt>
                <c:pt idx="6323">
                  <c:v>0</c:v>
                </c:pt>
                <c:pt idx="6324">
                  <c:v>0</c:v>
                </c:pt>
                <c:pt idx="6325">
                  <c:v>0</c:v>
                </c:pt>
                <c:pt idx="6326">
                  <c:v>0</c:v>
                </c:pt>
                <c:pt idx="6327">
                  <c:v>0</c:v>
                </c:pt>
                <c:pt idx="6328">
                  <c:v>0</c:v>
                </c:pt>
                <c:pt idx="6329">
                  <c:v>0</c:v>
                </c:pt>
                <c:pt idx="6330">
                  <c:v>0</c:v>
                </c:pt>
                <c:pt idx="6331">
                  <c:v>0</c:v>
                </c:pt>
                <c:pt idx="6332">
                  <c:v>0</c:v>
                </c:pt>
                <c:pt idx="6333">
                  <c:v>0</c:v>
                </c:pt>
                <c:pt idx="6334">
                  <c:v>0</c:v>
                </c:pt>
                <c:pt idx="6335">
                  <c:v>0</c:v>
                </c:pt>
                <c:pt idx="6336">
                  <c:v>0</c:v>
                </c:pt>
                <c:pt idx="6337">
                  <c:v>0</c:v>
                </c:pt>
                <c:pt idx="6338">
                  <c:v>0</c:v>
                </c:pt>
                <c:pt idx="6339">
                  <c:v>0</c:v>
                </c:pt>
                <c:pt idx="6340">
                  <c:v>0</c:v>
                </c:pt>
                <c:pt idx="6341">
                  <c:v>0</c:v>
                </c:pt>
                <c:pt idx="6342">
                  <c:v>0</c:v>
                </c:pt>
                <c:pt idx="6343">
                  <c:v>0</c:v>
                </c:pt>
                <c:pt idx="6344">
                  <c:v>0</c:v>
                </c:pt>
                <c:pt idx="6345">
                  <c:v>0</c:v>
                </c:pt>
                <c:pt idx="6346">
                  <c:v>0</c:v>
                </c:pt>
                <c:pt idx="6347">
                  <c:v>0</c:v>
                </c:pt>
                <c:pt idx="6348">
                  <c:v>0</c:v>
                </c:pt>
                <c:pt idx="6349">
                  <c:v>0</c:v>
                </c:pt>
                <c:pt idx="6350">
                  <c:v>0</c:v>
                </c:pt>
                <c:pt idx="6351">
                  <c:v>0</c:v>
                </c:pt>
                <c:pt idx="6352">
                  <c:v>0</c:v>
                </c:pt>
                <c:pt idx="6353">
                  <c:v>0</c:v>
                </c:pt>
                <c:pt idx="6354">
                  <c:v>0</c:v>
                </c:pt>
                <c:pt idx="6355">
                  <c:v>0</c:v>
                </c:pt>
                <c:pt idx="6356">
                  <c:v>0</c:v>
                </c:pt>
                <c:pt idx="6357">
                  <c:v>0</c:v>
                </c:pt>
                <c:pt idx="6358">
                  <c:v>0</c:v>
                </c:pt>
                <c:pt idx="6359">
                  <c:v>0</c:v>
                </c:pt>
                <c:pt idx="6360">
                  <c:v>0</c:v>
                </c:pt>
                <c:pt idx="6361">
                  <c:v>0</c:v>
                </c:pt>
                <c:pt idx="6362">
                  <c:v>0</c:v>
                </c:pt>
                <c:pt idx="6363">
                  <c:v>0</c:v>
                </c:pt>
                <c:pt idx="6364">
                  <c:v>0</c:v>
                </c:pt>
                <c:pt idx="6365">
                  <c:v>0</c:v>
                </c:pt>
                <c:pt idx="6366">
                  <c:v>0</c:v>
                </c:pt>
                <c:pt idx="6367">
                  <c:v>0</c:v>
                </c:pt>
                <c:pt idx="6368">
                  <c:v>0</c:v>
                </c:pt>
                <c:pt idx="6369">
                  <c:v>0</c:v>
                </c:pt>
                <c:pt idx="6370">
                  <c:v>0</c:v>
                </c:pt>
                <c:pt idx="6371">
                  <c:v>0</c:v>
                </c:pt>
                <c:pt idx="6372">
                  <c:v>0</c:v>
                </c:pt>
                <c:pt idx="6373">
                  <c:v>0</c:v>
                </c:pt>
                <c:pt idx="6374">
                  <c:v>0</c:v>
                </c:pt>
                <c:pt idx="6375">
                  <c:v>0</c:v>
                </c:pt>
                <c:pt idx="6376">
                  <c:v>0</c:v>
                </c:pt>
                <c:pt idx="6377">
                  <c:v>0</c:v>
                </c:pt>
                <c:pt idx="6378">
                  <c:v>0</c:v>
                </c:pt>
                <c:pt idx="6379">
                  <c:v>0</c:v>
                </c:pt>
                <c:pt idx="6380">
                  <c:v>0</c:v>
                </c:pt>
                <c:pt idx="6381">
                  <c:v>0</c:v>
                </c:pt>
                <c:pt idx="6382">
                  <c:v>0</c:v>
                </c:pt>
                <c:pt idx="6383">
                  <c:v>0</c:v>
                </c:pt>
                <c:pt idx="6384">
                  <c:v>0</c:v>
                </c:pt>
                <c:pt idx="6385">
                  <c:v>0</c:v>
                </c:pt>
                <c:pt idx="6386">
                  <c:v>0</c:v>
                </c:pt>
                <c:pt idx="6387">
                  <c:v>0</c:v>
                </c:pt>
                <c:pt idx="6388">
                  <c:v>0</c:v>
                </c:pt>
                <c:pt idx="6389">
                  <c:v>0</c:v>
                </c:pt>
                <c:pt idx="6390">
                  <c:v>0</c:v>
                </c:pt>
                <c:pt idx="6391">
                  <c:v>0</c:v>
                </c:pt>
                <c:pt idx="6392">
                  <c:v>0</c:v>
                </c:pt>
                <c:pt idx="6393">
                  <c:v>0</c:v>
                </c:pt>
                <c:pt idx="6394">
                  <c:v>0</c:v>
                </c:pt>
                <c:pt idx="6395">
                  <c:v>0</c:v>
                </c:pt>
                <c:pt idx="6396">
                  <c:v>0</c:v>
                </c:pt>
                <c:pt idx="6397">
                  <c:v>0</c:v>
                </c:pt>
                <c:pt idx="6398">
                  <c:v>0</c:v>
                </c:pt>
                <c:pt idx="6399">
                  <c:v>0</c:v>
                </c:pt>
                <c:pt idx="6400">
                  <c:v>0</c:v>
                </c:pt>
                <c:pt idx="6401">
                  <c:v>0</c:v>
                </c:pt>
                <c:pt idx="6402">
                  <c:v>0</c:v>
                </c:pt>
                <c:pt idx="6403">
                  <c:v>0</c:v>
                </c:pt>
                <c:pt idx="6404">
                  <c:v>0</c:v>
                </c:pt>
                <c:pt idx="6405">
                  <c:v>0</c:v>
                </c:pt>
                <c:pt idx="6406">
                  <c:v>0</c:v>
                </c:pt>
                <c:pt idx="6407">
                  <c:v>0</c:v>
                </c:pt>
                <c:pt idx="6408">
                  <c:v>0</c:v>
                </c:pt>
                <c:pt idx="6409">
                  <c:v>0</c:v>
                </c:pt>
                <c:pt idx="6410">
                  <c:v>0</c:v>
                </c:pt>
                <c:pt idx="6411">
                  <c:v>0</c:v>
                </c:pt>
                <c:pt idx="6412">
                  <c:v>0</c:v>
                </c:pt>
                <c:pt idx="6413">
                  <c:v>0</c:v>
                </c:pt>
                <c:pt idx="6414">
                  <c:v>0</c:v>
                </c:pt>
                <c:pt idx="6415">
                  <c:v>0</c:v>
                </c:pt>
                <c:pt idx="6416">
                  <c:v>0</c:v>
                </c:pt>
                <c:pt idx="6417">
                  <c:v>0</c:v>
                </c:pt>
                <c:pt idx="6418">
                  <c:v>0</c:v>
                </c:pt>
                <c:pt idx="6419">
                  <c:v>0</c:v>
                </c:pt>
                <c:pt idx="6420">
                  <c:v>0</c:v>
                </c:pt>
                <c:pt idx="6421">
                  <c:v>0</c:v>
                </c:pt>
                <c:pt idx="6422">
                  <c:v>0</c:v>
                </c:pt>
                <c:pt idx="6423">
                  <c:v>0</c:v>
                </c:pt>
                <c:pt idx="6424">
                  <c:v>0</c:v>
                </c:pt>
                <c:pt idx="6425">
                  <c:v>0</c:v>
                </c:pt>
                <c:pt idx="6426">
                  <c:v>0</c:v>
                </c:pt>
                <c:pt idx="6427">
                  <c:v>0</c:v>
                </c:pt>
                <c:pt idx="6428">
                  <c:v>0</c:v>
                </c:pt>
                <c:pt idx="6429">
                  <c:v>0</c:v>
                </c:pt>
                <c:pt idx="6430">
                  <c:v>0</c:v>
                </c:pt>
                <c:pt idx="6431">
                  <c:v>0</c:v>
                </c:pt>
                <c:pt idx="6432">
                  <c:v>0</c:v>
                </c:pt>
                <c:pt idx="6433">
                  <c:v>0</c:v>
                </c:pt>
                <c:pt idx="6434">
                  <c:v>0</c:v>
                </c:pt>
                <c:pt idx="6435">
                  <c:v>0</c:v>
                </c:pt>
                <c:pt idx="6436">
                  <c:v>0</c:v>
                </c:pt>
                <c:pt idx="6437">
                  <c:v>0</c:v>
                </c:pt>
                <c:pt idx="6438">
                  <c:v>0</c:v>
                </c:pt>
                <c:pt idx="6439">
                  <c:v>0</c:v>
                </c:pt>
                <c:pt idx="6440">
                  <c:v>0</c:v>
                </c:pt>
                <c:pt idx="6441">
                  <c:v>0</c:v>
                </c:pt>
                <c:pt idx="6442">
                  <c:v>0</c:v>
                </c:pt>
                <c:pt idx="6443">
                  <c:v>0</c:v>
                </c:pt>
                <c:pt idx="6444">
                  <c:v>0</c:v>
                </c:pt>
                <c:pt idx="6445">
                  <c:v>0</c:v>
                </c:pt>
                <c:pt idx="6446">
                  <c:v>0</c:v>
                </c:pt>
                <c:pt idx="6447">
                  <c:v>0</c:v>
                </c:pt>
                <c:pt idx="6448">
                  <c:v>0</c:v>
                </c:pt>
                <c:pt idx="6449">
                  <c:v>0</c:v>
                </c:pt>
                <c:pt idx="6450">
                  <c:v>0</c:v>
                </c:pt>
                <c:pt idx="6451">
                  <c:v>0</c:v>
                </c:pt>
                <c:pt idx="6452">
                  <c:v>0</c:v>
                </c:pt>
                <c:pt idx="6453">
                  <c:v>0</c:v>
                </c:pt>
                <c:pt idx="6454">
                  <c:v>0</c:v>
                </c:pt>
                <c:pt idx="6455">
                  <c:v>0</c:v>
                </c:pt>
                <c:pt idx="6456">
                  <c:v>0</c:v>
                </c:pt>
                <c:pt idx="6457">
                  <c:v>0</c:v>
                </c:pt>
                <c:pt idx="6458">
                  <c:v>0</c:v>
                </c:pt>
                <c:pt idx="6459">
                  <c:v>0</c:v>
                </c:pt>
                <c:pt idx="6460">
                  <c:v>0</c:v>
                </c:pt>
                <c:pt idx="6461">
                  <c:v>0</c:v>
                </c:pt>
                <c:pt idx="6462">
                  <c:v>0</c:v>
                </c:pt>
                <c:pt idx="6463">
                  <c:v>0</c:v>
                </c:pt>
                <c:pt idx="6464">
                  <c:v>0</c:v>
                </c:pt>
                <c:pt idx="6465">
                  <c:v>0</c:v>
                </c:pt>
                <c:pt idx="6466">
                  <c:v>0</c:v>
                </c:pt>
                <c:pt idx="6467">
                  <c:v>0</c:v>
                </c:pt>
                <c:pt idx="6468">
                  <c:v>0</c:v>
                </c:pt>
                <c:pt idx="6469">
                  <c:v>0</c:v>
                </c:pt>
                <c:pt idx="6470">
                  <c:v>0</c:v>
                </c:pt>
                <c:pt idx="6471">
                  <c:v>0</c:v>
                </c:pt>
                <c:pt idx="6472">
                  <c:v>0</c:v>
                </c:pt>
                <c:pt idx="6473">
                  <c:v>0</c:v>
                </c:pt>
                <c:pt idx="6474">
                  <c:v>0</c:v>
                </c:pt>
                <c:pt idx="6475">
                  <c:v>0</c:v>
                </c:pt>
                <c:pt idx="6476">
                  <c:v>0</c:v>
                </c:pt>
                <c:pt idx="6477">
                  <c:v>0</c:v>
                </c:pt>
                <c:pt idx="6478">
                  <c:v>0</c:v>
                </c:pt>
                <c:pt idx="6479">
                  <c:v>0</c:v>
                </c:pt>
                <c:pt idx="6480">
                  <c:v>0</c:v>
                </c:pt>
                <c:pt idx="6481">
                  <c:v>0</c:v>
                </c:pt>
                <c:pt idx="6482">
                  <c:v>0</c:v>
                </c:pt>
                <c:pt idx="6483">
                  <c:v>0</c:v>
                </c:pt>
                <c:pt idx="6484">
                  <c:v>0</c:v>
                </c:pt>
                <c:pt idx="6485">
                  <c:v>0</c:v>
                </c:pt>
                <c:pt idx="6486">
                  <c:v>0</c:v>
                </c:pt>
                <c:pt idx="6487">
                  <c:v>0</c:v>
                </c:pt>
                <c:pt idx="6488">
                  <c:v>0</c:v>
                </c:pt>
                <c:pt idx="6489">
                  <c:v>0</c:v>
                </c:pt>
                <c:pt idx="6490">
                  <c:v>0</c:v>
                </c:pt>
                <c:pt idx="6491">
                  <c:v>0</c:v>
                </c:pt>
                <c:pt idx="6492">
                  <c:v>0</c:v>
                </c:pt>
                <c:pt idx="6493">
                  <c:v>0</c:v>
                </c:pt>
                <c:pt idx="6494">
                  <c:v>0</c:v>
                </c:pt>
                <c:pt idx="6495">
                  <c:v>0</c:v>
                </c:pt>
                <c:pt idx="6496">
                  <c:v>0</c:v>
                </c:pt>
                <c:pt idx="6497">
                  <c:v>0</c:v>
                </c:pt>
                <c:pt idx="6498">
                  <c:v>0</c:v>
                </c:pt>
                <c:pt idx="6499">
                  <c:v>0</c:v>
                </c:pt>
                <c:pt idx="6500">
                  <c:v>0</c:v>
                </c:pt>
                <c:pt idx="6501">
                  <c:v>0</c:v>
                </c:pt>
                <c:pt idx="6502">
                  <c:v>0</c:v>
                </c:pt>
                <c:pt idx="6503">
                  <c:v>0</c:v>
                </c:pt>
                <c:pt idx="6504">
                  <c:v>0</c:v>
                </c:pt>
                <c:pt idx="6505">
                  <c:v>0</c:v>
                </c:pt>
                <c:pt idx="6506">
                  <c:v>0</c:v>
                </c:pt>
                <c:pt idx="6507">
                  <c:v>0</c:v>
                </c:pt>
                <c:pt idx="6508">
                  <c:v>0</c:v>
                </c:pt>
                <c:pt idx="6509">
                  <c:v>0</c:v>
                </c:pt>
                <c:pt idx="6510">
                  <c:v>0</c:v>
                </c:pt>
                <c:pt idx="6511">
                  <c:v>0</c:v>
                </c:pt>
                <c:pt idx="6512">
                  <c:v>0</c:v>
                </c:pt>
                <c:pt idx="6513">
                  <c:v>0</c:v>
                </c:pt>
                <c:pt idx="6514">
                  <c:v>0</c:v>
                </c:pt>
                <c:pt idx="6515">
                  <c:v>0</c:v>
                </c:pt>
                <c:pt idx="6516">
                  <c:v>0</c:v>
                </c:pt>
                <c:pt idx="6517">
                  <c:v>0</c:v>
                </c:pt>
                <c:pt idx="6518">
                  <c:v>0</c:v>
                </c:pt>
                <c:pt idx="6519">
                  <c:v>0</c:v>
                </c:pt>
                <c:pt idx="6520">
                  <c:v>0</c:v>
                </c:pt>
                <c:pt idx="6521">
                  <c:v>0</c:v>
                </c:pt>
                <c:pt idx="6522">
                  <c:v>0</c:v>
                </c:pt>
                <c:pt idx="6523">
                  <c:v>0</c:v>
                </c:pt>
                <c:pt idx="6524">
                  <c:v>0</c:v>
                </c:pt>
                <c:pt idx="6525">
                  <c:v>0</c:v>
                </c:pt>
                <c:pt idx="6526">
                  <c:v>0</c:v>
                </c:pt>
                <c:pt idx="6527">
                  <c:v>0</c:v>
                </c:pt>
                <c:pt idx="6528">
                  <c:v>0</c:v>
                </c:pt>
                <c:pt idx="6529">
                  <c:v>0</c:v>
                </c:pt>
                <c:pt idx="6530">
                  <c:v>0</c:v>
                </c:pt>
                <c:pt idx="6531">
                  <c:v>0</c:v>
                </c:pt>
                <c:pt idx="6532">
                  <c:v>0</c:v>
                </c:pt>
                <c:pt idx="6533">
                  <c:v>0</c:v>
                </c:pt>
                <c:pt idx="6534">
                  <c:v>0</c:v>
                </c:pt>
                <c:pt idx="6535">
                  <c:v>0</c:v>
                </c:pt>
                <c:pt idx="6536">
                  <c:v>0</c:v>
                </c:pt>
                <c:pt idx="6537">
                  <c:v>0</c:v>
                </c:pt>
                <c:pt idx="6538">
                  <c:v>0</c:v>
                </c:pt>
                <c:pt idx="6539">
                  <c:v>0</c:v>
                </c:pt>
                <c:pt idx="6540">
                  <c:v>0</c:v>
                </c:pt>
                <c:pt idx="6541">
                  <c:v>0</c:v>
                </c:pt>
                <c:pt idx="6542">
                  <c:v>0</c:v>
                </c:pt>
                <c:pt idx="6543">
                  <c:v>0</c:v>
                </c:pt>
                <c:pt idx="6544">
                  <c:v>0</c:v>
                </c:pt>
                <c:pt idx="6545">
                  <c:v>0</c:v>
                </c:pt>
                <c:pt idx="6546">
                  <c:v>0</c:v>
                </c:pt>
                <c:pt idx="6547">
                  <c:v>0</c:v>
                </c:pt>
                <c:pt idx="6548">
                  <c:v>0</c:v>
                </c:pt>
                <c:pt idx="6549">
                  <c:v>0</c:v>
                </c:pt>
                <c:pt idx="6550">
                  <c:v>0</c:v>
                </c:pt>
                <c:pt idx="6551">
                  <c:v>0</c:v>
                </c:pt>
                <c:pt idx="6552">
                  <c:v>0</c:v>
                </c:pt>
                <c:pt idx="6553">
                  <c:v>0</c:v>
                </c:pt>
                <c:pt idx="6554">
                  <c:v>0</c:v>
                </c:pt>
                <c:pt idx="6555">
                  <c:v>0</c:v>
                </c:pt>
                <c:pt idx="6556">
                  <c:v>0</c:v>
                </c:pt>
                <c:pt idx="6557">
                  <c:v>0</c:v>
                </c:pt>
                <c:pt idx="6558">
                  <c:v>0</c:v>
                </c:pt>
                <c:pt idx="6559">
                  <c:v>0</c:v>
                </c:pt>
                <c:pt idx="6560">
                  <c:v>0</c:v>
                </c:pt>
                <c:pt idx="6561">
                  <c:v>0</c:v>
                </c:pt>
                <c:pt idx="6562">
                  <c:v>0</c:v>
                </c:pt>
                <c:pt idx="6563">
                  <c:v>0</c:v>
                </c:pt>
                <c:pt idx="6564">
                  <c:v>0</c:v>
                </c:pt>
                <c:pt idx="6565">
                  <c:v>0</c:v>
                </c:pt>
                <c:pt idx="6566">
                  <c:v>0</c:v>
                </c:pt>
                <c:pt idx="6567">
                  <c:v>0</c:v>
                </c:pt>
                <c:pt idx="6568">
                  <c:v>0</c:v>
                </c:pt>
                <c:pt idx="6569">
                  <c:v>0</c:v>
                </c:pt>
                <c:pt idx="6570">
                  <c:v>0</c:v>
                </c:pt>
                <c:pt idx="6571">
                  <c:v>0</c:v>
                </c:pt>
                <c:pt idx="6572">
                  <c:v>0</c:v>
                </c:pt>
                <c:pt idx="6573">
                  <c:v>0</c:v>
                </c:pt>
                <c:pt idx="6574">
                  <c:v>0</c:v>
                </c:pt>
                <c:pt idx="6575">
                  <c:v>0</c:v>
                </c:pt>
                <c:pt idx="6576">
                  <c:v>0</c:v>
                </c:pt>
                <c:pt idx="6577">
                  <c:v>0</c:v>
                </c:pt>
                <c:pt idx="6578">
                  <c:v>0</c:v>
                </c:pt>
                <c:pt idx="6579">
                  <c:v>0</c:v>
                </c:pt>
                <c:pt idx="6580">
                  <c:v>0</c:v>
                </c:pt>
                <c:pt idx="6581">
                  <c:v>0</c:v>
                </c:pt>
                <c:pt idx="6582">
                  <c:v>0</c:v>
                </c:pt>
                <c:pt idx="6583">
                  <c:v>0</c:v>
                </c:pt>
                <c:pt idx="6584">
                  <c:v>0</c:v>
                </c:pt>
                <c:pt idx="6585">
                  <c:v>0</c:v>
                </c:pt>
                <c:pt idx="6586">
                  <c:v>0</c:v>
                </c:pt>
                <c:pt idx="6587">
                  <c:v>0</c:v>
                </c:pt>
                <c:pt idx="6588">
                  <c:v>0</c:v>
                </c:pt>
                <c:pt idx="6589">
                  <c:v>0</c:v>
                </c:pt>
                <c:pt idx="6590">
                  <c:v>0</c:v>
                </c:pt>
                <c:pt idx="6591">
                  <c:v>0</c:v>
                </c:pt>
                <c:pt idx="6592">
                  <c:v>0</c:v>
                </c:pt>
                <c:pt idx="6593">
                  <c:v>0</c:v>
                </c:pt>
                <c:pt idx="6594">
                  <c:v>0</c:v>
                </c:pt>
                <c:pt idx="6595">
                  <c:v>0</c:v>
                </c:pt>
                <c:pt idx="6596">
                  <c:v>0</c:v>
                </c:pt>
                <c:pt idx="6597">
                  <c:v>0</c:v>
                </c:pt>
                <c:pt idx="6598">
                  <c:v>0</c:v>
                </c:pt>
                <c:pt idx="6599">
                  <c:v>0</c:v>
                </c:pt>
                <c:pt idx="6600">
                  <c:v>0</c:v>
                </c:pt>
                <c:pt idx="6601">
                  <c:v>0</c:v>
                </c:pt>
                <c:pt idx="6602">
                  <c:v>0</c:v>
                </c:pt>
                <c:pt idx="6603">
                  <c:v>0</c:v>
                </c:pt>
                <c:pt idx="6604">
                  <c:v>0</c:v>
                </c:pt>
                <c:pt idx="6605">
                  <c:v>0</c:v>
                </c:pt>
                <c:pt idx="6606">
                  <c:v>0</c:v>
                </c:pt>
                <c:pt idx="6607">
                  <c:v>0</c:v>
                </c:pt>
                <c:pt idx="6608">
                  <c:v>0</c:v>
                </c:pt>
                <c:pt idx="6609">
                  <c:v>0</c:v>
                </c:pt>
                <c:pt idx="6610">
                  <c:v>0</c:v>
                </c:pt>
                <c:pt idx="6611">
                  <c:v>0</c:v>
                </c:pt>
                <c:pt idx="6612">
                  <c:v>0</c:v>
                </c:pt>
                <c:pt idx="6613">
                  <c:v>0</c:v>
                </c:pt>
                <c:pt idx="6614">
                  <c:v>0</c:v>
                </c:pt>
                <c:pt idx="6615">
                  <c:v>0</c:v>
                </c:pt>
                <c:pt idx="6616">
                  <c:v>0</c:v>
                </c:pt>
                <c:pt idx="6617">
                  <c:v>0</c:v>
                </c:pt>
                <c:pt idx="6618">
                  <c:v>0</c:v>
                </c:pt>
                <c:pt idx="6619">
                  <c:v>0</c:v>
                </c:pt>
                <c:pt idx="6620">
                  <c:v>0</c:v>
                </c:pt>
                <c:pt idx="6621">
                  <c:v>0</c:v>
                </c:pt>
                <c:pt idx="6622">
                  <c:v>0</c:v>
                </c:pt>
                <c:pt idx="6623">
                  <c:v>0</c:v>
                </c:pt>
                <c:pt idx="6624">
                  <c:v>0</c:v>
                </c:pt>
                <c:pt idx="6625">
                  <c:v>0</c:v>
                </c:pt>
                <c:pt idx="6626">
                  <c:v>0</c:v>
                </c:pt>
                <c:pt idx="6627">
                  <c:v>0</c:v>
                </c:pt>
                <c:pt idx="6628">
                  <c:v>0</c:v>
                </c:pt>
                <c:pt idx="6629">
                  <c:v>0</c:v>
                </c:pt>
                <c:pt idx="6630">
                  <c:v>0</c:v>
                </c:pt>
                <c:pt idx="6631">
                  <c:v>0</c:v>
                </c:pt>
                <c:pt idx="6632">
                  <c:v>0</c:v>
                </c:pt>
                <c:pt idx="6633">
                  <c:v>0</c:v>
                </c:pt>
                <c:pt idx="6634">
                  <c:v>0</c:v>
                </c:pt>
                <c:pt idx="6635">
                  <c:v>0</c:v>
                </c:pt>
                <c:pt idx="6636">
                  <c:v>0</c:v>
                </c:pt>
                <c:pt idx="6637">
                  <c:v>0</c:v>
                </c:pt>
                <c:pt idx="6638">
                  <c:v>0</c:v>
                </c:pt>
                <c:pt idx="6639">
                  <c:v>0</c:v>
                </c:pt>
                <c:pt idx="6640">
                  <c:v>0</c:v>
                </c:pt>
                <c:pt idx="6641">
                  <c:v>0</c:v>
                </c:pt>
                <c:pt idx="6642">
                  <c:v>0</c:v>
                </c:pt>
                <c:pt idx="6643">
                  <c:v>0</c:v>
                </c:pt>
                <c:pt idx="6644">
                  <c:v>0</c:v>
                </c:pt>
                <c:pt idx="6645">
                  <c:v>0</c:v>
                </c:pt>
                <c:pt idx="6646">
                  <c:v>0</c:v>
                </c:pt>
                <c:pt idx="6647">
                  <c:v>0</c:v>
                </c:pt>
                <c:pt idx="6648">
                  <c:v>0</c:v>
                </c:pt>
                <c:pt idx="6649">
                  <c:v>0</c:v>
                </c:pt>
                <c:pt idx="6650">
                  <c:v>0</c:v>
                </c:pt>
                <c:pt idx="6651">
                  <c:v>0</c:v>
                </c:pt>
                <c:pt idx="6652">
                  <c:v>0</c:v>
                </c:pt>
                <c:pt idx="6653">
                  <c:v>0</c:v>
                </c:pt>
                <c:pt idx="6654">
                  <c:v>0</c:v>
                </c:pt>
                <c:pt idx="6655">
                  <c:v>0</c:v>
                </c:pt>
                <c:pt idx="6656">
                  <c:v>0</c:v>
                </c:pt>
                <c:pt idx="6657">
                  <c:v>0</c:v>
                </c:pt>
                <c:pt idx="6658">
                  <c:v>0</c:v>
                </c:pt>
                <c:pt idx="6659">
                  <c:v>0</c:v>
                </c:pt>
                <c:pt idx="6660">
                  <c:v>0</c:v>
                </c:pt>
                <c:pt idx="6661">
                  <c:v>0</c:v>
                </c:pt>
                <c:pt idx="6662">
                  <c:v>0</c:v>
                </c:pt>
                <c:pt idx="6663">
                  <c:v>0</c:v>
                </c:pt>
                <c:pt idx="6664">
                  <c:v>0</c:v>
                </c:pt>
                <c:pt idx="6665">
                  <c:v>0</c:v>
                </c:pt>
                <c:pt idx="6666">
                  <c:v>0</c:v>
                </c:pt>
                <c:pt idx="6667">
                  <c:v>0</c:v>
                </c:pt>
                <c:pt idx="6668">
                  <c:v>0</c:v>
                </c:pt>
                <c:pt idx="6669">
                  <c:v>0</c:v>
                </c:pt>
                <c:pt idx="6670">
                  <c:v>0</c:v>
                </c:pt>
                <c:pt idx="6671">
                  <c:v>0</c:v>
                </c:pt>
                <c:pt idx="6672">
                  <c:v>0</c:v>
                </c:pt>
                <c:pt idx="6673">
                  <c:v>0</c:v>
                </c:pt>
                <c:pt idx="6674">
                  <c:v>0</c:v>
                </c:pt>
                <c:pt idx="6675">
                  <c:v>0</c:v>
                </c:pt>
                <c:pt idx="6676">
                  <c:v>0</c:v>
                </c:pt>
                <c:pt idx="6677">
                  <c:v>0</c:v>
                </c:pt>
                <c:pt idx="6678">
                  <c:v>0</c:v>
                </c:pt>
                <c:pt idx="6679">
                  <c:v>0</c:v>
                </c:pt>
                <c:pt idx="6680">
                  <c:v>0</c:v>
                </c:pt>
                <c:pt idx="6681">
                  <c:v>0</c:v>
                </c:pt>
                <c:pt idx="6682">
                  <c:v>0</c:v>
                </c:pt>
                <c:pt idx="6683">
                  <c:v>0</c:v>
                </c:pt>
                <c:pt idx="6684">
                  <c:v>0</c:v>
                </c:pt>
                <c:pt idx="6685">
                  <c:v>0</c:v>
                </c:pt>
                <c:pt idx="6686">
                  <c:v>0</c:v>
                </c:pt>
                <c:pt idx="6687">
                  <c:v>0</c:v>
                </c:pt>
                <c:pt idx="6688">
                  <c:v>0</c:v>
                </c:pt>
                <c:pt idx="6689">
                  <c:v>0</c:v>
                </c:pt>
                <c:pt idx="6690">
                  <c:v>0</c:v>
                </c:pt>
                <c:pt idx="6691">
                  <c:v>0</c:v>
                </c:pt>
                <c:pt idx="6692">
                  <c:v>0</c:v>
                </c:pt>
                <c:pt idx="6693">
                  <c:v>0</c:v>
                </c:pt>
                <c:pt idx="6694">
                  <c:v>0</c:v>
                </c:pt>
                <c:pt idx="6695">
                  <c:v>0</c:v>
                </c:pt>
                <c:pt idx="6696">
                  <c:v>0</c:v>
                </c:pt>
                <c:pt idx="6697">
                  <c:v>0</c:v>
                </c:pt>
                <c:pt idx="6698">
                  <c:v>0</c:v>
                </c:pt>
                <c:pt idx="6699">
                  <c:v>0</c:v>
                </c:pt>
                <c:pt idx="6700">
                  <c:v>0</c:v>
                </c:pt>
                <c:pt idx="6701">
                  <c:v>0</c:v>
                </c:pt>
                <c:pt idx="6702">
                  <c:v>0</c:v>
                </c:pt>
                <c:pt idx="6703">
                  <c:v>0</c:v>
                </c:pt>
                <c:pt idx="6704">
                  <c:v>0</c:v>
                </c:pt>
                <c:pt idx="6705">
                  <c:v>0</c:v>
                </c:pt>
                <c:pt idx="6706">
                  <c:v>0</c:v>
                </c:pt>
                <c:pt idx="6707">
                  <c:v>0</c:v>
                </c:pt>
                <c:pt idx="6708">
                  <c:v>0</c:v>
                </c:pt>
                <c:pt idx="6709">
                  <c:v>0</c:v>
                </c:pt>
                <c:pt idx="6710">
                  <c:v>0</c:v>
                </c:pt>
                <c:pt idx="6711">
                  <c:v>0</c:v>
                </c:pt>
                <c:pt idx="6712">
                  <c:v>0</c:v>
                </c:pt>
                <c:pt idx="6713">
                  <c:v>0</c:v>
                </c:pt>
                <c:pt idx="6714">
                  <c:v>0</c:v>
                </c:pt>
                <c:pt idx="6715">
                  <c:v>0</c:v>
                </c:pt>
                <c:pt idx="6716">
                  <c:v>0</c:v>
                </c:pt>
                <c:pt idx="6717">
                  <c:v>0</c:v>
                </c:pt>
                <c:pt idx="6718">
                  <c:v>0</c:v>
                </c:pt>
                <c:pt idx="6719">
                  <c:v>0</c:v>
                </c:pt>
                <c:pt idx="6720">
                  <c:v>0</c:v>
                </c:pt>
                <c:pt idx="6721">
                  <c:v>0</c:v>
                </c:pt>
                <c:pt idx="6722">
                  <c:v>0</c:v>
                </c:pt>
                <c:pt idx="6723">
                  <c:v>0</c:v>
                </c:pt>
                <c:pt idx="6724">
                  <c:v>0</c:v>
                </c:pt>
                <c:pt idx="6725">
                  <c:v>0</c:v>
                </c:pt>
                <c:pt idx="6726">
                  <c:v>0</c:v>
                </c:pt>
                <c:pt idx="6727">
                  <c:v>0</c:v>
                </c:pt>
                <c:pt idx="6728">
                  <c:v>0</c:v>
                </c:pt>
                <c:pt idx="6729">
                  <c:v>0</c:v>
                </c:pt>
                <c:pt idx="6730">
                  <c:v>0</c:v>
                </c:pt>
                <c:pt idx="6731">
                  <c:v>0</c:v>
                </c:pt>
                <c:pt idx="6732">
                  <c:v>0</c:v>
                </c:pt>
                <c:pt idx="6733">
                  <c:v>0</c:v>
                </c:pt>
                <c:pt idx="6734">
                  <c:v>0</c:v>
                </c:pt>
                <c:pt idx="6735">
                  <c:v>0</c:v>
                </c:pt>
                <c:pt idx="6736">
                  <c:v>0</c:v>
                </c:pt>
                <c:pt idx="6737">
                  <c:v>0</c:v>
                </c:pt>
                <c:pt idx="6738">
                  <c:v>0</c:v>
                </c:pt>
                <c:pt idx="6739">
                  <c:v>0</c:v>
                </c:pt>
                <c:pt idx="6740">
                  <c:v>0</c:v>
                </c:pt>
                <c:pt idx="6741">
                  <c:v>0</c:v>
                </c:pt>
                <c:pt idx="6742">
                  <c:v>0</c:v>
                </c:pt>
                <c:pt idx="6743">
                  <c:v>0</c:v>
                </c:pt>
                <c:pt idx="6744">
                  <c:v>0</c:v>
                </c:pt>
                <c:pt idx="6745">
                  <c:v>0</c:v>
                </c:pt>
                <c:pt idx="6746">
                  <c:v>0</c:v>
                </c:pt>
                <c:pt idx="6747">
                  <c:v>0</c:v>
                </c:pt>
                <c:pt idx="6748">
                  <c:v>0</c:v>
                </c:pt>
                <c:pt idx="6749">
                  <c:v>0</c:v>
                </c:pt>
                <c:pt idx="6750">
                  <c:v>0</c:v>
                </c:pt>
                <c:pt idx="6751">
                  <c:v>0</c:v>
                </c:pt>
                <c:pt idx="6752">
                  <c:v>0</c:v>
                </c:pt>
                <c:pt idx="6753">
                  <c:v>0</c:v>
                </c:pt>
                <c:pt idx="6754">
                  <c:v>0</c:v>
                </c:pt>
                <c:pt idx="6755">
                  <c:v>0</c:v>
                </c:pt>
                <c:pt idx="6756">
                  <c:v>0</c:v>
                </c:pt>
                <c:pt idx="6757">
                  <c:v>0</c:v>
                </c:pt>
                <c:pt idx="6758">
                  <c:v>0</c:v>
                </c:pt>
                <c:pt idx="6759">
                  <c:v>0</c:v>
                </c:pt>
                <c:pt idx="6760">
                  <c:v>0</c:v>
                </c:pt>
                <c:pt idx="6761">
                  <c:v>0</c:v>
                </c:pt>
                <c:pt idx="6762">
                  <c:v>0</c:v>
                </c:pt>
                <c:pt idx="6763">
                  <c:v>0</c:v>
                </c:pt>
                <c:pt idx="6764">
                  <c:v>0</c:v>
                </c:pt>
                <c:pt idx="6765">
                  <c:v>0</c:v>
                </c:pt>
                <c:pt idx="6766">
                  <c:v>0</c:v>
                </c:pt>
                <c:pt idx="6767">
                  <c:v>0</c:v>
                </c:pt>
                <c:pt idx="6768">
                  <c:v>0</c:v>
                </c:pt>
                <c:pt idx="6769">
                  <c:v>0</c:v>
                </c:pt>
                <c:pt idx="6770">
                  <c:v>0</c:v>
                </c:pt>
                <c:pt idx="6771">
                  <c:v>0</c:v>
                </c:pt>
                <c:pt idx="6772">
                  <c:v>0</c:v>
                </c:pt>
                <c:pt idx="6773">
                  <c:v>0</c:v>
                </c:pt>
                <c:pt idx="6774">
                  <c:v>0</c:v>
                </c:pt>
                <c:pt idx="6775">
                  <c:v>0</c:v>
                </c:pt>
                <c:pt idx="6776">
                  <c:v>0</c:v>
                </c:pt>
                <c:pt idx="6777">
                  <c:v>0</c:v>
                </c:pt>
                <c:pt idx="6778">
                  <c:v>0</c:v>
                </c:pt>
                <c:pt idx="6779">
                  <c:v>0</c:v>
                </c:pt>
                <c:pt idx="6780">
                  <c:v>0</c:v>
                </c:pt>
                <c:pt idx="6781">
                  <c:v>0</c:v>
                </c:pt>
                <c:pt idx="6782">
                  <c:v>0</c:v>
                </c:pt>
                <c:pt idx="6783">
                  <c:v>0</c:v>
                </c:pt>
                <c:pt idx="6784">
                  <c:v>0</c:v>
                </c:pt>
                <c:pt idx="6785">
                  <c:v>0</c:v>
                </c:pt>
                <c:pt idx="6786">
                  <c:v>0</c:v>
                </c:pt>
                <c:pt idx="6787">
                  <c:v>0</c:v>
                </c:pt>
                <c:pt idx="6788">
                  <c:v>0</c:v>
                </c:pt>
                <c:pt idx="6789">
                  <c:v>0</c:v>
                </c:pt>
                <c:pt idx="6790">
                  <c:v>0</c:v>
                </c:pt>
                <c:pt idx="6791">
                  <c:v>0</c:v>
                </c:pt>
                <c:pt idx="6792">
                  <c:v>0</c:v>
                </c:pt>
                <c:pt idx="6793">
                  <c:v>0</c:v>
                </c:pt>
                <c:pt idx="6794">
                  <c:v>0</c:v>
                </c:pt>
                <c:pt idx="6795">
                  <c:v>0</c:v>
                </c:pt>
                <c:pt idx="6796">
                  <c:v>0</c:v>
                </c:pt>
                <c:pt idx="6797">
                  <c:v>0</c:v>
                </c:pt>
                <c:pt idx="6798">
                  <c:v>0</c:v>
                </c:pt>
                <c:pt idx="6799">
                  <c:v>0</c:v>
                </c:pt>
                <c:pt idx="6800">
                  <c:v>0</c:v>
                </c:pt>
                <c:pt idx="6801">
                  <c:v>0</c:v>
                </c:pt>
                <c:pt idx="6802">
                  <c:v>0</c:v>
                </c:pt>
                <c:pt idx="6803">
                  <c:v>0</c:v>
                </c:pt>
                <c:pt idx="6804">
                  <c:v>0</c:v>
                </c:pt>
                <c:pt idx="6805">
                  <c:v>0</c:v>
                </c:pt>
                <c:pt idx="6806">
                  <c:v>0</c:v>
                </c:pt>
                <c:pt idx="6807">
                  <c:v>0</c:v>
                </c:pt>
                <c:pt idx="6808">
                  <c:v>0</c:v>
                </c:pt>
                <c:pt idx="6809">
                  <c:v>0</c:v>
                </c:pt>
                <c:pt idx="6810">
                  <c:v>0</c:v>
                </c:pt>
                <c:pt idx="6811">
                  <c:v>0</c:v>
                </c:pt>
                <c:pt idx="6812">
                  <c:v>0</c:v>
                </c:pt>
                <c:pt idx="6813">
                  <c:v>0</c:v>
                </c:pt>
                <c:pt idx="6814">
                  <c:v>0</c:v>
                </c:pt>
                <c:pt idx="6815">
                  <c:v>0</c:v>
                </c:pt>
                <c:pt idx="6816">
                  <c:v>0</c:v>
                </c:pt>
                <c:pt idx="6817">
                  <c:v>0</c:v>
                </c:pt>
                <c:pt idx="6818">
                  <c:v>0</c:v>
                </c:pt>
                <c:pt idx="6819">
                  <c:v>0</c:v>
                </c:pt>
                <c:pt idx="6820">
                  <c:v>0</c:v>
                </c:pt>
                <c:pt idx="6821">
                  <c:v>0</c:v>
                </c:pt>
                <c:pt idx="6822">
                  <c:v>0</c:v>
                </c:pt>
                <c:pt idx="6823">
                  <c:v>0</c:v>
                </c:pt>
                <c:pt idx="6824">
                  <c:v>0</c:v>
                </c:pt>
                <c:pt idx="6825">
                  <c:v>0</c:v>
                </c:pt>
                <c:pt idx="6826">
                  <c:v>0</c:v>
                </c:pt>
                <c:pt idx="6827">
                  <c:v>0</c:v>
                </c:pt>
                <c:pt idx="6828">
                  <c:v>0</c:v>
                </c:pt>
                <c:pt idx="6829">
                  <c:v>0</c:v>
                </c:pt>
                <c:pt idx="6830">
                  <c:v>0</c:v>
                </c:pt>
                <c:pt idx="6831">
                  <c:v>0</c:v>
                </c:pt>
                <c:pt idx="6832">
                  <c:v>0</c:v>
                </c:pt>
                <c:pt idx="6833">
                  <c:v>0</c:v>
                </c:pt>
                <c:pt idx="6834">
                  <c:v>0</c:v>
                </c:pt>
                <c:pt idx="6835">
                  <c:v>0</c:v>
                </c:pt>
                <c:pt idx="6836">
                  <c:v>0</c:v>
                </c:pt>
                <c:pt idx="6837">
                  <c:v>0</c:v>
                </c:pt>
                <c:pt idx="6838">
                  <c:v>0</c:v>
                </c:pt>
                <c:pt idx="6839">
                  <c:v>0</c:v>
                </c:pt>
                <c:pt idx="6840">
                  <c:v>0</c:v>
                </c:pt>
                <c:pt idx="6841">
                  <c:v>0</c:v>
                </c:pt>
                <c:pt idx="6842">
                  <c:v>0</c:v>
                </c:pt>
                <c:pt idx="6843">
                  <c:v>0</c:v>
                </c:pt>
                <c:pt idx="6844">
                  <c:v>0</c:v>
                </c:pt>
                <c:pt idx="6845">
                  <c:v>0</c:v>
                </c:pt>
                <c:pt idx="6846">
                  <c:v>0</c:v>
                </c:pt>
                <c:pt idx="6847">
                  <c:v>0</c:v>
                </c:pt>
                <c:pt idx="6848">
                  <c:v>0</c:v>
                </c:pt>
                <c:pt idx="6849">
                  <c:v>0</c:v>
                </c:pt>
                <c:pt idx="6850">
                  <c:v>0</c:v>
                </c:pt>
                <c:pt idx="6851">
                  <c:v>0</c:v>
                </c:pt>
                <c:pt idx="6852">
                  <c:v>0</c:v>
                </c:pt>
                <c:pt idx="6853">
                  <c:v>0</c:v>
                </c:pt>
                <c:pt idx="6854">
                  <c:v>0</c:v>
                </c:pt>
                <c:pt idx="6855">
                  <c:v>0</c:v>
                </c:pt>
                <c:pt idx="6856">
                  <c:v>0</c:v>
                </c:pt>
                <c:pt idx="6857">
                  <c:v>0</c:v>
                </c:pt>
                <c:pt idx="6858">
                  <c:v>0</c:v>
                </c:pt>
                <c:pt idx="6859">
                  <c:v>0</c:v>
                </c:pt>
                <c:pt idx="6860">
                  <c:v>0</c:v>
                </c:pt>
                <c:pt idx="6861">
                  <c:v>0</c:v>
                </c:pt>
                <c:pt idx="6862">
                  <c:v>0</c:v>
                </c:pt>
                <c:pt idx="6863">
                  <c:v>0</c:v>
                </c:pt>
                <c:pt idx="6864">
                  <c:v>0</c:v>
                </c:pt>
                <c:pt idx="6865">
                  <c:v>0</c:v>
                </c:pt>
                <c:pt idx="6866">
                  <c:v>0</c:v>
                </c:pt>
                <c:pt idx="6867">
                  <c:v>0</c:v>
                </c:pt>
                <c:pt idx="6868">
                  <c:v>0</c:v>
                </c:pt>
                <c:pt idx="6869">
                  <c:v>0</c:v>
                </c:pt>
                <c:pt idx="6870">
                  <c:v>0</c:v>
                </c:pt>
                <c:pt idx="6871">
                  <c:v>0</c:v>
                </c:pt>
                <c:pt idx="6872">
                  <c:v>0</c:v>
                </c:pt>
                <c:pt idx="6873">
                  <c:v>0</c:v>
                </c:pt>
                <c:pt idx="6874">
                  <c:v>0</c:v>
                </c:pt>
                <c:pt idx="6875">
                  <c:v>0</c:v>
                </c:pt>
                <c:pt idx="6876">
                  <c:v>0</c:v>
                </c:pt>
                <c:pt idx="6877">
                  <c:v>0</c:v>
                </c:pt>
                <c:pt idx="6878">
                  <c:v>0</c:v>
                </c:pt>
                <c:pt idx="6879">
                  <c:v>0</c:v>
                </c:pt>
                <c:pt idx="6880">
                  <c:v>0</c:v>
                </c:pt>
                <c:pt idx="6881">
                  <c:v>0</c:v>
                </c:pt>
                <c:pt idx="6882">
                  <c:v>0</c:v>
                </c:pt>
                <c:pt idx="6883">
                  <c:v>0</c:v>
                </c:pt>
                <c:pt idx="6884">
                  <c:v>0</c:v>
                </c:pt>
                <c:pt idx="6885">
                  <c:v>0</c:v>
                </c:pt>
                <c:pt idx="6886">
                  <c:v>0</c:v>
                </c:pt>
                <c:pt idx="6887">
                  <c:v>0</c:v>
                </c:pt>
                <c:pt idx="6888">
                  <c:v>0</c:v>
                </c:pt>
                <c:pt idx="6889">
                  <c:v>0</c:v>
                </c:pt>
                <c:pt idx="6890">
                  <c:v>0</c:v>
                </c:pt>
                <c:pt idx="6891">
                  <c:v>0</c:v>
                </c:pt>
                <c:pt idx="6892">
                  <c:v>0</c:v>
                </c:pt>
                <c:pt idx="6893">
                  <c:v>0</c:v>
                </c:pt>
                <c:pt idx="6894">
                  <c:v>0</c:v>
                </c:pt>
                <c:pt idx="6895">
                  <c:v>0</c:v>
                </c:pt>
                <c:pt idx="6896">
                  <c:v>0</c:v>
                </c:pt>
                <c:pt idx="6897">
                  <c:v>0</c:v>
                </c:pt>
                <c:pt idx="6898">
                  <c:v>0</c:v>
                </c:pt>
                <c:pt idx="6899">
                  <c:v>0</c:v>
                </c:pt>
                <c:pt idx="6900">
                  <c:v>0</c:v>
                </c:pt>
                <c:pt idx="6901">
                  <c:v>0</c:v>
                </c:pt>
                <c:pt idx="6902">
                  <c:v>0</c:v>
                </c:pt>
                <c:pt idx="6903">
                  <c:v>0</c:v>
                </c:pt>
                <c:pt idx="6904">
                  <c:v>0</c:v>
                </c:pt>
                <c:pt idx="6905">
                  <c:v>0</c:v>
                </c:pt>
                <c:pt idx="6906">
                  <c:v>0</c:v>
                </c:pt>
                <c:pt idx="6907">
                  <c:v>0</c:v>
                </c:pt>
                <c:pt idx="6908">
                  <c:v>0</c:v>
                </c:pt>
                <c:pt idx="6909">
                  <c:v>0</c:v>
                </c:pt>
                <c:pt idx="6910">
                  <c:v>0</c:v>
                </c:pt>
                <c:pt idx="6911">
                  <c:v>0</c:v>
                </c:pt>
                <c:pt idx="6912">
                  <c:v>0</c:v>
                </c:pt>
                <c:pt idx="6913">
                  <c:v>0</c:v>
                </c:pt>
                <c:pt idx="6914">
                  <c:v>0</c:v>
                </c:pt>
                <c:pt idx="6915">
                  <c:v>0</c:v>
                </c:pt>
                <c:pt idx="6916">
                  <c:v>0</c:v>
                </c:pt>
                <c:pt idx="6917">
                  <c:v>0</c:v>
                </c:pt>
                <c:pt idx="6918">
                  <c:v>0</c:v>
                </c:pt>
                <c:pt idx="6919">
                  <c:v>0</c:v>
                </c:pt>
                <c:pt idx="6920">
                  <c:v>0</c:v>
                </c:pt>
                <c:pt idx="6921">
                  <c:v>0</c:v>
                </c:pt>
                <c:pt idx="6922">
                  <c:v>0</c:v>
                </c:pt>
                <c:pt idx="6923">
                  <c:v>0</c:v>
                </c:pt>
                <c:pt idx="6924">
                  <c:v>0</c:v>
                </c:pt>
                <c:pt idx="6925">
                  <c:v>0</c:v>
                </c:pt>
                <c:pt idx="6926">
                  <c:v>0</c:v>
                </c:pt>
                <c:pt idx="6927">
                  <c:v>0</c:v>
                </c:pt>
                <c:pt idx="6928">
                  <c:v>0</c:v>
                </c:pt>
                <c:pt idx="6929">
                  <c:v>0</c:v>
                </c:pt>
                <c:pt idx="6930">
                  <c:v>0</c:v>
                </c:pt>
                <c:pt idx="6931">
                  <c:v>0</c:v>
                </c:pt>
                <c:pt idx="6932">
                  <c:v>0</c:v>
                </c:pt>
                <c:pt idx="6933">
                  <c:v>0</c:v>
                </c:pt>
                <c:pt idx="6934">
                  <c:v>0</c:v>
                </c:pt>
                <c:pt idx="6935">
                  <c:v>0</c:v>
                </c:pt>
                <c:pt idx="6936">
                  <c:v>0</c:v>
                </c:pt>
                <c:pt idx="6937">
                  <c:v>0</c:v>
                </c:pt>
                <c:pt idx="6938">
                  <c:v>0</c:v>
                </c:pt>
                <c:pt idx="6939">
                  <c:v>0</c:v>
                </c:pt>
                <c:pt idx="6940">
                  <c:v>0</c:v>
                </c:pt>
                <c:pt idx="6941">
                  <c:v>0</c:v>
                </c:pt>
                <c:pt idx="6942">
                  <c:v>0</c:v>
                </c:pt>
                <c:pt idx="6943">
                  <c:v>0</c:v>
                </c:pt>
                <c:pt idx="6944">
                  <c:v>0</c:v>
                </c:pt>
                <c:pt idx="6945">
                  <c:v>0</c:v>
                </c:pt>
                <c:pt idx="6946">
                  <c:v>0</c:v>
                </c:pt>
                <c:pt idx="6947">
                  <c:v>0</c:v>
                </c:pt>
                <c:pt idx="6948">
                  <c:v>0</c:v>
                </c:pt>
                <c:pt idx="6949">
                  <c:v>0</c:v>
                </c:pt>
                <c:pt idx="6950">
                  <c:v>0</c:v>
                </c:pt>
                <c:pt idx="6951">
                  <c:v>0</c:v>
                </c:pt>
                <c:pt idx="6952">
                  <c:v>0</c:v>
                </c:pt>
                <c:pt idx="6953">
                  <c:v>0</c:v>
                </c:pt>
                <c:pt idx="6954">
                  <c:v>0</c:v>
                </c:pt>
                <c:pt idx="6955">
                  <c:v>0</c:v>
                </c:pt>
                <c:pt idx="6956">
                  <c:v>0</c:v>
                </c:pt>
                <c:pt idx="6957">
                  <c:v>0</c:v>
                </c:pt>
                <c:pt idx="6958">
                  <c:v>0</c:v>
                </c:pt>
                <c:pt idx="6959">
                  <c:v>0</c:v>
                </c:pt>
                <c:pt idx="6960">
                  <c:v>0</c:v>
                </c:pt>
                <c:pt idx="6961">
                  <c:v>0</c:v>
                </c:pt>
                <c:pt idx="6962">
                  <c:v>0</c:v>
                </c:pt>
                <c:pt idx="6963">
                  <c:v>0</c:v>
                </c:pt>
                <c:pt idx="6964">
                  <c:v>0</c:v>
                </c:pt>
                <c:pt idx="6965">
                  <c:v>0</c:v>
                </c:pt>
                <c:pt idx="6966">
                  <c:v>0</c:v>
                </c:pt>
                <c:pt idx="6967">
                  <c:v>0</c:v>
                </c:pt>
              </c:numCache>
            </c:numRef>
          </c:val>
          <c:smooth val="0"/>
          <c:extLst>
            <c:ext xmlns:c16="http://schemas.microsoft.com/office/drawing/2014/chart" uri="{C3380CC4-5D6E-409C-BE32-E72D297353CC}">
              <c16:uniqueId val="{00000003-085D-4FDB-A70F-82922CEA5C5A}"/>
            </c:ext>
          </c:extLst>
        </c:ser>
        <c:dLbls>
          <c:showLegendKey val="0"/>
          <c:showVal val="0"/>
          <c:showCatName val="0"/>
          <c:showSerName val="0"/>
          <c:showPercent val="0"/>
          <c:showBubbleSize val="0"/>
        </c:dLbls>
        <c:smooth val="0"/>
        <c:axId val="1649960112"/>
        <c:axId val="1343538416"/>
      </c:lineChart>
      <c:catAx>
        <c:axId val="164996011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solidFill>
                      <a:sysClr val="windowText" lastClr="000000"/>
                    </a:solidFill>
                  </a:rPr>
                  <a:t>Pump Sequenc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43538416"/>
        <c:crosses val="autoZero"/>
        <c:auto val="1"/>
        <c:lblAlgn val="ctr"/>
        <c:lblOffset val="100"/>
        <c:noMultiLvlLbl val="0"/>
      </c:catAx>
      <c:valAx>
        <c:axId val="13435384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solidFill>
                      <a:sysClr val="windowText" lastClr="000000"/>
                    </a:solidFill>
                  </a:rPr>
                  <a:t>Pump Failure Indicator</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996011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Box Plots'!$A$151:$A$7083</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52734380000000003</cx:pt>
          <cx:pt idx="414">-0.52554822999999995</cx:pt>
          <cx:pt idx="415">-0.52272894599999997</cx:pt>
          <cx:pt idx="416">-0.52143735099999999</cx:pt>
          <cx:pt idx="417">-0.52119138799999998</cx:pt>
          <cx:pt idx="418">-0.51350128900000003</cx:pt>
          <cx:pt idx="419">-0.50785669600000005</cx:pt>
          <cx:pt idx="420">-0.50597909600000002</cx:pt>
          <cx:pt idx="421">-0.50171018000000001</cx:pt>
          <cx:pt idx="422">-0.50144819500000004</cx:pt>
          <cx:pt idx="423">-0.50042653100000001</cx:pt>
          <cx:pt idx="424">-0.49914480500000002</cx:pt>
          <cx:pt idx="425">-0.49606956099999999</cx:pt>
          <cx:pt idx="426">-0.49555776699999998</cx:pt>
          <cx:pt idx="427">-0.49222451099999998</cx:pt>
          <cx:pt idx="428">-0.48965721400000001</cx:pt>
          <cx:pt idx="429">-0.48760773499999999</cx:pt>
          <cx:pt idx="430">-0.48709786399999999</cx:pt>
          <cx:pt idx="431">-0.478126039</cx:pt>
          <cx:pt idx="432">-0.47581854800000001</cx:pt>
          <cx:pt idx="433">-0.474792783</cx:pt>
          <cx:pt idx="434">-0.473255225</cx:pt>
          <cx:pt idx="435">-0.47273933000000001</cx:pt>
          <cx:pt idx="436">-0.47146170599999998</cx:pt>
          <cx:pt idx="437">-0.46863832</cx:pt>
          <cx:pt idx="438">-0.46735864500000002</cx:pt>
          <cx:pt idx="439">-0.46428340000000001</cx:pt>
          <cx:pt idx="440">-0.46274584099999999</cx:pt>
          <cx:pt idx="441">-0.46197206400000002</cx:pt>
          <cx:pt idx="442">-0.46017841599999998</cx:pt>
          <cx:pt idx="443">-0.45992450600000001</cx:pt>
          <cx:pt idx="444">-0.45940861199999999</cx:pt>
          <cx:pt idx="445">-0.45223440799999998</cx:pt>
          <cx:pt idx="446">-0.45172261400000002</cx:pt>
          <cx:pt idx="447">-0.451210693</cx:pt>
          <cx:pt idx="448">-0.44992896700000001</cx:pt>
          <cx:pt idx="449">-0.448903202</cx:pt>
          <cx:pt idx="450">-0.44864736999999999</cx:pt>
          <cx:pt idx="451">-0.44838935800000002</cx:pt>
          <cx:pt idx="452">-0.44557007399999998</cx:pt>
          <cx:pt idx="453">-0.44480231999999997</cx:pt>
          <cx:pt idx="454">-0.44018746600000003</cx:pt>
          <cx:pt idx="455">-0.43890573999999999</cx:pt>
          <cx:pt idx="456">-0.43608645600000001</cx:pt>
          <cx:pt idx="457">-0.43583049499999998</cx:pt>
          <cx:pt idx="458">-0.425319061</cx:pt>
          <cx:pt idx="459">-0.425063101</cx:pt>
          <cx:pt idx="460">-0.42480726800000002</cx:pt>
          <cx:pt idx="461">-0.422751765</cx:pt>
          <cx:pt idx="462">-0.42224381700000002</cx:pt>
          <cx:pt idx="463">-0.41967652</cx:pt>
          <cx:pt idx="464">-0.41942453200000002</cx:pt>
          <cx:pt idx="465">-0.41788492300000002</cx:pt>
          <cx:pt idx="466">-0.416091404</cx:pt>
          <cx:pt idx="467">-0.41455371800000002</cx:pt>
          <cx:pt idx="468">-0.41352795199999998</cx:pt>
          <cx:pt idx="469">-0.41301615899999999</cx:pt>
          <cx:pt idx="470">-0.41249821399999997</cx:pt>
          <cx:pt idx="471">-0.40686361900000001</cx:pt>
          <cx:pt idx="472">-0.406605736</cx:pt>
          <cx:pt idx="473">-0.40327453000000002</cx:pt>
          <cx:pt idx="474">-0.40250472500000001</cx:pt>
          <cx:pt idx="475">-0.39096560400000002</cx:pt>
          <cx:pt idx="476">-0.389943812</cx:pt>
          <cx:pt idx="477">-0.38892009700000002</cx:pt>
          <cx:pt idx="478">-0.38865619000000001</cx:pt>
          <cx:pt idx="479">-0.380972115</cx:pt>
          <cx:pt idx="480">-0.37866667500000001</cx:pt>
          <cx:pt idx="481">-0.37430765300000002</cx:pt>
          <cx:pt idx="482">-0.37148247299999998</cx:pt>
          <cx:pt idx="483">-0.37097247500000002</cx:pt>
          <cx:pt idx="484">-0.37020267000000001</cx:pt>
          <cx:pt idx="485">-0.36891504800000002</cx:pt>
          <cx:pt idx="486">-0.36763934599999998</cx:pt>
          <cx:pt idx="487">-0.36661755499999998</cx:pt>
          <cx:pt idx="488">-0.36635172500000002</cx:pt>
          <cx:pt idx="489">-0.36584377699999998</cx:pt>
          <cx:pt idx="490">-0.36559191800000002</cx:pt>
          <cx:pt idx="491">-0.36174276700000002</cx:pt>
          <cx:pt idx="492">-0.36071507899999999</cx:pt>
          <cx:pt idx="493">-0.35943745399999999</cx:pt>
          <cx:pt idx="494">-0.33969426200000002</cx:pt>
          <cx:pt idx="495">-0.33021256599999999</cx:pt>
          <cx:pt idx="496">-0.32970474700000002</cx:pt>
          <cx:pt idx="497">-0.32944083899999999</cx:pt>
          <cx:pt idx="498">-0.32918885199999998</cx:pt>
          <cx:pt idx="499">-0.32611168499999998</cx:pt>
          <cx:pt idx="500">-0.325603737</cx:pt>
          <cx:pt idx="501">-0.32432213900000001</cx:pt>
          <cx:pt idx="502">-0.319697287</cx:pt>
          <cx:pt idx="503">-0.31791171499999998</cx:pt>
          <cx:pt idx="504">-0.31560230099999997</cx:pt>
          <cx:pt idx="505">-0.31226904500000002</cx:pt>
          <cx:pt idx="506">-0.31073546000000002</cx:pt>
          <cx:pt idx="507">-0.31047155300000001</cx:pt>
          <cx:pt idx="508">-0.30944976099999999</cx:pt>
          <cx:pt idx="509">-0.30867995599999998</cx:pt>
          <cx:pt idx="510">-0.30458291999999998</cx:pt>
          <cx:pt idx="511">-0.30381516600000003</cx:pt>
          <cx:pt idx="512">-0.30201357200000001</cx:pt>
          <cx:pt idx="513">-0.30073787000000002</cx:pt>
          <cx:pt idx="514">-0.29484141800000002</cx:pt>
          <cx:pt idx="515">-0.28023102500000002</cx:pt>
          <cx:pt idx="516">-0.27971513100000001</cx:pt>
          <cx:pt idx="517">-0.27946122099999998</cx:pt>
          <cx:pt idx="518">-0.27816949699999999</cx:pt>
          <cx:pt idx="519">-0.27714770500000002</cx:pt>
          <cx:pt idx="520">-0.27637597800000002</cx:pt>
          <cx:pt idx="521">-0.27124920299999999</cx:pt>
          <cx:pt idx="522">-0.27022343799999998</cx:pt>
          <cx:pt idx="523">-0.26945363300000003</cx:pt>
          <cx:pt idx="524">-0.26843197000000002</cx:pt>
          <cx:pt idx="525">-0.26792607200000002</cx:pt>
          <cx:pt idx="526">-0.267658063</cx:pt>
          <cx:pt idx="527">-0.26561460799999997</cx:pt>
          <cx:pt idx="528">-0.265096791</cx:pt>
          <cx:pt idx="529">-0.26125174099999998</cx:pt>
          <cx:pt idx="530">-0.25996796500000002</cx:pt>
          <cx:pt idx="531">-0.25587105599999999</cx:pt>
          <cx:pt idx="532">-0.25330568199999998</cx:pt>
          <cx:pt idx="533">-0.24228232599999999</cx:pt>
          <cx:pt idx="534">-0.240490858</cx:pt>
          <cx:pt idx="535">-0.228193852</cx:pt>
          <cx:pt idx="536">-0.22639828200000001</cx:pt>
          <cx:pt idx="537">-0.225630528</cx:pt>
          <cx:pt idx="538">-0.223067077</cx:pt>
          <cx:pt idx="539">-0.22152554499999999</cx:pt>
          <cx:pt idx="540">-0.22127163499999999</cx:pt>
          <cx:pt idx="541">-0.20691707400000001</cx:pt>
          <cx:pt idx="542">-0.19435218700000001</cx:pt>
          <cx:pt idx="543">-0.19256264200000001</cx:pt>
          <cx:pt idx="544">-0.189999318</cx:pt>
          <cx:pt idx="545">-0.185384464</cx:pt>
          <cx:pt idx="546">-0.184092741</cx:pt>
          <cx:pt idx="547">-0.183842804</cx:pt>
          <cx:pt idx="548">-0.18359094500000001</cx:pt>
          <cx:pt idx="549">-0.18332498699999999</cx:pt>
          <cx:pt idx="550">-0.18230127300000001</cx:pt>
          <cx:pt idx="551">-0.180257689</cx:pt>
          <cx:pt idx="552">-0.176658603</cx:pt>
          <cx:pt idx="553">-0.17640866599999999</cx:pt>
          <cx:pt idx="554">-0.174615147</cx:pt>
          <cx:pt idx="555">-0.171279968</cx:pt>
          <cx:pt idx="556">-0.17102605800000001</cx:pt>
          <cx:pt idx="557">-0.17051016399999999</cx:pt>
          <cx:pt idx="558">-0.16769690400000001</cx:pt>
          <cx:pt idx="559">-0.167174985</cx:pt>
          <cx:pt idx="560">-0.16666908799999999</cx:pt>
          <cx:pt idx="561">-0.165647296</cx:pt>
          <cx:pt idx="562">-0.16384185700000001</cx:pt>
          <cx:pt idx="563">-0.16333198600000001</cx:pt>
          <cx:pt idx="564">-0.16025264</cx:pt>
          <cx:pt idx="565">-0.15999475599999999</cx:pt>
          <cx:pt idx="566">-0.15538195299999999</cx:pt>
          <cx:pt idx="567">-0.154360161</cx:pt>
          <cx:pt idx="568">-0.15410817399999999</cx:pt>
          <cx:pt idx="569">-0.13385318800000001</cx:pt>
          <cx:pt idx="570">-0.13128589099999999</cx:pt>
          <cx:pt idx="571">-0.13103390400000001</cx:pt>
          <cx:pt idx="572">-0.12642699700000001</cx:pt>
          <cx:pt idx="573">-0.12615911599999999</cx:pt>
          <cx:pt idx="574">-0.12513732399999999</cx:pt>
          <cx:pt idx="575">-0.123089895</cx:pt>
          <cx:pt idx="576">-0.122574001</cx:pt>
          <cx:pt idx="577">-0.120782404</cx:pt>
          <cx:pt idx="578">-0.11283647300000001</cx:pt>
          <cx:pt idx="579">-0.11000911400000001</cx:pt>
          <cx:pt idx="580">-0.10975315300000001</cx:pt>
          <cx:pt idx="581">-0.10386862099999999</cx:pt>
          <cx:pt idx="582">-0.10283888300000001</cx:pt>
          <cx:pt idx="583">-0.10181311799999999</cx:pt>
          <cx:pt idx="584">-0.10154921</cx:pt>
          <cx:pt idx="585">-0.098735950000000003</cx:pt>
          <cx:pt idx="586">-0.098473964999999997</cx:pt>
          <cx:pt idx="587">-0.097196341000000006</cx:pt>
          <cx:pt idx="588">-0.096944353999999996</cx:pt>
          <cx:pt idx="589">-0.096424486000000004</cx:pt>
          <cx:pt idx="590">-0.095652630000000002</cx:pt>
          <cx:pt idx="591">-0.094628915999999993</cx:pt>
          <cx:pt idx="592">-0.089766176000000003</cx:pt>
          <cx:pt idx="593">-0.084127479000000005</cx:pt>
          <cx:pt idx="594">-0.083607610999999998</cx:pt>
          <cx:pt idx="595">-0.071306759999999997</cx:pt>
          <cx:pt idx="596">-0.065918000000000004</cx:pt>
          <cx:pt idx="597">-0.065154219999999999</cx:pt>
          <cx:pt idx="598">-0.057720080999999999</cx:pt>
          <cx:pt idx="599">-0.049770047999999997</cx:pt>
          <cx:pt idx="600">-0.049258126999999999</cx:pt>
          <cx:pt idx="601">-0.048754280999999997</cx:pt>
          <cx:pt idx="602">-0.045928971999999998</cx:pt>
          <cx:pt idx="603">-0.045673011999999999</cx:pt>
          <cx:pt idx="604">-0.044641351000000003</cx:pt>
          <cx:pt idx="605">-0.042085973999999998</cx:pt>
          <cx:pt idx="606">-0.041833985999999997</cx:pt>
          <cx:pt idx="607">-0.037209134999999997</cx:pt>
          <cx:pt idx="608">-0.03567555</cx:pt>
          <cx:pt idx="609">-0.035415615999999997</cx:pt>
          <cx:pt idx="610">-0.031056594</cx:pt>
          <cx:pt idx="611">-0.0046571429999999999</cx:pt>
          <cx:pt idx="612">0.0032828929999999998</cx:pt>
          <cx:pt idx="613">0.0035487219999999998</cx:pt>
          <cx:pt idx="614">0.017897258999999999</cx:pt>
          <cx:pt idx="615">0.018157192999999999</cx:pt>
          <cx:pt idx="616">0.026619019000000001</cx:pt>
          <cx:pt idx="617">0.027402922999999999</cx:pt>
          <cx:pt idx="618">0.027644783999999999</cx:pt>
          <cx:pt idx="619">0.028150682</cx:pt>
          <cx:pt idx="620">0.028920485999999999</cx:pt>
          <cx:pt idx="621">0.029954198000000001</cx:pt>
          <cx:pt idx="622">0.043794787000000002</cx:pt>
          <cx:pt idx="623">0.044300684</cx:pt>
          <cx:pt idx="624">0.044564591000000001</cx:pt>
          <cx:pt idx="625">0.046354136999999997</cx:pt>
          <cx:pt idx="626">0.048917588999999997</cx:pt>
          <cx:pt idx="627">0.049173548999999997</cx:pt>
          <cx:pt idx="628">0.049691367</cx:pt>
          <cx:pt idx="629">0.050201237000000003</cx:pt>
          <cx:pt idx="630">0.050453223999999998</cx:pt>
          <cx:pt idx="631">0.050971042000000001</cx:pt>
          <cx:pt idx="632">0.051484886000000001</cx:pt>
          <cx:pt idx="633">0.055841856000000002</cx:pt>
          <cx:pt idx="634">0.056369671000000003</cx:pt>
          <cx:pt idx="635">0.057381465</cx:pt>
          <cx:pt idx="636">0.058661141</cx:pt>
          <cx:pt idx="637">0.059174984</cx:pt>
          <cx:pt idx="638">0.059680881999999998</cx:pt>
          <cx:pt idx="639">0.061496446000000003</cx:pt>
          <cx:pt idx="640">0.063020034000000003</cx:pt>
          <cx:pt idx="641">0.064829574000000001</cx:pt>
          <cx:pt idx="642">0.066601175999999998</cx:pt>
          <cx:pt idx="643">0.067121044000000005</cx:pt>
          <cx:pt idx="644">0.067370980999999996</cx:pt>
          <cx:pt idx="645">0.067636938999999993</cx:pt>
          <cx:pt idx="646">0.079162090000000004</cx:pt>
          <cx:pt idx="647">0.082247332000000006</cx:pt>
          <cx:pt idx="648">0.082761176000000006</cx:pt>
          <cx:pt idx="649">0.084566743</cx:pt>
          <cx:pt idx="650">0.087118147000000007</cx:pt>
          <cx:pt idx="651">0.109924408</cx:pt>
          <cx:pt idx="652">0.11351362500000001</cx:pt>
          <cx:pt idx="653">0.113789452</cx:pt>
          <cx:pt idx="654">0.116594765</cx:pt>
          <cx:pt idx="655">0.11761450699999999</cx:pt>
          <cx:pt idx="656">0.11812847899999999</cx:pt>
          <cx:pt idx="657">0.13607802399999999</cx:pt>
          <cx:pt idx="658">0.14043486699999999</cx:pt>
          <cx:pt idx="659">0.143254151</cx:pt>
          <cx:pt idx="660">0.143504087</cx:pt>
          <cx:pt idx="661">0.14709330400000001</cx:pt>
          <cx:pt idx="662">0.14761317199999999</cx:pt>
          <cx:pt idx="663">0.151728153</cx:pt>
          <cx:pt idx="664">0.153523723</cx:pt>
          <cx:pt idx="665">0.154535389</cx:pt>
          <cx:pt idx="666">0.156836856</cx:pt>
          <cx:pt idx="667">0.15838043900000001</cx:pt>
          <cx:pt idx="668">0.15941825200000001</cx:pt>
          <cx:pt idx="669">0.159912101</cx:pt>
          <cx:pt idx="670">0.16580663000000001</cx:pt>
          <cx:pt idx="671">0.16734623900000001</cx:pt>
          <cx:pt idx="672">0.16838994900000001</cx:pt>
          <cx:pt idx="673">0.18195663300000001</cx:pt>
          <cx:pt idx="674">0.182218617</cx:pt>
          <cx:pt idx="675">0.18247445000000001</cx:pt>
          <cx:pt idx="676">0.185037902</cx:pt>
          <cx:pt idx="677">0.18555379599999999</cx:pt>
          <cx:pt idx="678">0.186335521</cx:pt>
          <cx:pt idx="679">0.18734129099999999</cx:pt>
          <cx:pt idx="680">0.19223005000000001</cx:pt>
          <cx:pt idx="681">0.19375568800000001</cx:pt>
          <cx:pt idx="682">0.194265559</cx:pt>
          <cx:pt idx="683">0.19479350200000001</cx:pt>
          <cx:pt idx="684">0.19529132399999999</cx:pt>
          <cx:pt idx="685">0.19759881500000001</cx:pt>
          <cx:pt idx="686">0.200945914</cx:pt>
          <cx:pt idx="687">0.20400321499999999</cx:pt>
          <cx:pt idx="688">0.205026929</cx:pt>
          <cx:pt idx="689">0.205560768</cx:pt>
          <cx:pt idx="690">0.20940581799999999</cx:pt>
          <cx:pt idx="691">0.20990171699999999</cx:pt>
          <cx:pt idx="692">0.21092350900000001</cx:pt>
          <cx:pt idx="693">0.21119933699999999</cx:pt>
          <cx:pt idx="694">0.212213182</cx:pt>
          <cx:pt idx="695">0.21246504099999999</cx:pt>
          <cx:pt idx="696">0.212717028</cx:pt>
          <cx:pt idx="697">0.21325086700000001</cx:pt>
          <cx:pt idx="698">0.214256637</cx:pt>
          <cx:pt idx="699">0.21478855399999999</cx:pt>
          <cx:pt idx="700">0.215030415</cx:pt>
          <cx:pt idx="701">0.21528240300000001</cx:pt>
          <cx:pt idx="702">0.21580021999999999</cx:pt>
          <cx:pt idx="703">0.217095916</cx:pt>
          <cx:pt idx="704">0.21810168699999999</cx:pt>
          <cx:pt idx="705">0.219127452</cx:pt>
          <cx:pt idx="706">0.219383413</cx:pt>
          <cx:pt idx="707">0.22092904599999999</cx:pt>
          <cx:pt idx="708">0.22171077</cx:pt>
          <cx:pt idx="709">0.22194673600000001</cx:pt>
          <cx:pt idx="710">0.225283966</cx:pt>
          <cx:pt idx="711">0.22732934399999999</cx:pt>
          <cx:pt idx="712">0.22784728900000001</cx:pt>
          <cx:pt idx="713">0.22938689900000001</cx:pt>
          <cx:pt idx="714">0.23041061299999999</cx:pt>
          <cx:pt idx="715">0.23247611400000001</cx:pt>
          <cx:pt idx="716">0.23886859399999999</cx:pt>
          <cx:pt idx="717">0.24040820299999999</cx:pt>
          <cx:pt idx="718">0.241431917</cx:pt>
          <cx:pt idx="719">0.25014778199999999</cx:pt>
          <cx:pt idx="720">0.25039964100000001</cx:pt>
          <cx:pt idx="721">0.250675596</cx:pt>
          <cx:pt idx="722">0.25425071399999999</cx:pt>
          <cx:pt idx="723">0.25450270200000003</cx:pt>
          <cx:pt idx="724">0.25477865700000002</cx:pt>
          <cx:pt idx="725">0.257341981</cx:pt>
          <cx:pt idx="726">0.25783582999999999</cx:pt>
          <cx:pt idx="727">0.25939146000000002</cx:pt>
          <cx:pt idx="728">0.265274069</cx:pt>
          <cx:pt idx="729">0.26681162800000002</cx:pt>
          <cx:pt idx="730">0.26785136399999998</cx:pt>
          <cx:pt idx="731">0.26862116800000002</cx:pt>
          <cx:pt idx="732">0.26886315799999999</cx:pt>
          <cx:pt idx="733">0.269632963</cx:pt>
          <cx:pt idx="734">0.27065667700000001</cx:pt>
          <cx:pt idx="735">0.27116859900000001</cx:pt>
          <cx:pt idx="736">0.27169641300000003</cx:pt>
          <cx:pt idx="737">0.27219026200000002</cx:pt>
          <cx:pt idx="738">0.279898433</cx:pt>
          <cx:pt idx="739">0.28347150100000001</cx:pt>
          <cx:pt idx="740">0.28372541099999998</cx:pt>
          <cx:pt idx="741">0.28400136599999998</cx:pt>
          <cx:pt idx="742">0.28526707000000001</cx:pt>
          <cx:pt idx="743">0.28656469000000001</cx:pt>
          <cx:pt idx="744">0.29039384600000001</cx:pt>
          <cx:pt idx="745">0.29090961199999998</cx:pt>
          <cx:pt idx="746">0.29169146499999998</cx:pt>
          <cx:pt idx="747">0.29245921899999999</cx:pt>
          <cx:pt idx="748">0.29295319600000003</cx:pt>
          <cx:pt idx="749">0.29500459800000001</cx:pt>
          <cx:pt idx="750">0.29526453200000002</cx:pt>
          <cx:pt idx="751">0.29553651399999997</cx:pt>
          <cx:pt idx="752">0.30450833900000002</cx:pt>
          <cx:pt idx="753">0.30552000499999998</cx:pt>
          <cx:pt idx="754">0.30604589799999998</cx:pt>
          <cx:pt idx="755">0.308083457</cx:pt>
          <cx:pt idx="756">0.30937915399999999</cx:pt>
          <cx:pt idx="757">0.309634986</cx:pt>
          <cx:pt idx="758">0.310146908</cx:pt>
          <cx:pt idx="759">0.31064472999999998</cx:pt>
          <cx:pt idx="760">0.31117267300000001</cx:pt>
          <cx:pt idx="761">0.31141453499999999</cx:pt>
          <cx:pt idx="762">0.311666522</cx:pt>
          <cx:pt idx="763">0.32191994400000001</cx:pt>
          <cx:pt idx="764">0.32245186100000001</cx:pt>
          <cx:pt idx="765">0.323989419</cx:pt>
          <cx:pt idx="766">0.32423345999999997</cx:pt>
          <cx:pt idx="767">0.32604094900000002</cx:pt>
          <cx:pt idx="768">0.33063580799999998</cx:pt>
          <cx:pt idx="769">0.330911764</cx:pt>
          <cx:pt idx="770">0.33653431099999997</cx:pt>
          <cx:pt idx="771">0.34398447100000001</cx:pt>
          <cx:pt idx="772">0.34449639199999998</cx:pt>
          <cx:pt idx="773">0.34832542</cx:pt>
          <cx:pt idx="774">0.350648933</cx:pt>
          <cx:pt idx="775">0.35140463799999999</cx:pt>
          <cx:pt idx="776">0.35166265000000002</cx:pt>
          <cx:pt idx="777">0.35218649099999999</cx:pt>
          <cx:pt idx="778">0.36064639399999998</cx:pt>
          <cx:pt idx="779">0.36551720900000001</cx:pt>
          <cx:pt idx="780">0.36652695299999999</cx:pt>
          <cx:pt idx="781">0.36729470600000003</cx:pt>
          <cx:pt idx="782">0.369106298</cx:pt>
          <cx:pt idx="783">0.36960617099999998</cx:pt>
          <cx:pt idx="784">0.37062988499999999</cx:pt>
          <cx:pt idx="785">0.37498480499999998</cx:pt>
          <cx:pt idx="786">0.37679639700000001</cx:pt>
          <cx:pt idx="787">0.38115336700000002</cx:pt>
          <cx:pt idx="788">0.38320476999999997</cx:pt>
          <cx:pt idx="789">0.38344676</cx:pt>
          <cx:pt idx="790">0.386010083</cx:pt>
          <cx:pt idx="791">0.38628001499999998</cx:pt>
          <cx:pt idx="792">0.38653597499999998</cx:pt>
          <cx:pt idx="793">0.38857148400000002</cx:pt>
          <cx:pt idx="794">0.390639036</cx:pt>
          <cx:pt idx="795">0.39550780000000002</cx:pt>
          <cx:pt idx="796">0.387473385</cx:pt>
          <cx:pt idx="797">0.38505393700000001</cx:pt>
          <cx:pt idx="798">0.383017789</cx:pt>
          <cx:pt idx="799">0.38223527499999999</cx:pt>
          <cx:pt idx="800">0.381003596</cx:pt>
          <cx:pt idx="801">0.37740262200000002</cx:pt>
          <cx:pt idx="802">0.37455898399999998</cx:pt>
          <cx:pt idx="803">0.37174052400000002</cx:pt>
          <cx:pt idx="804">0.37053079999999999</cx:pt>
          <cx:pt idx="805">0.368918841</cx:pt>
          <cx:pt idx="806">0.36854178399999998</cx:pt>
          <cx:pt idx="807">0.36287646299999998</cx:pt>
          <cx:pt idx="808">0.35524730399999999</cx:pt>
          <cx:pt idx="809">0.35441785999999997</cx:pt>
          <cx:pt idx="810">0.35079170799999998</cx:pt>
          <cx:pt idx="811">0.35038947399999998</cx:pt>
          <cx:pt idx="812">0.34879967099999998</cx:pt>
          <cx:pt idx="813">0.34638022299999999</cx:pt>
          <cx:pt idx="814">0.34437227300000001</cx:pt>
          <cx:pt idx="815">0.33832365199999997</cx:pt>
          <cx:pt idx="816">0.33792141799999997</cx:pt>
          <cx:pt idx="817">0.327448621</cx:pt>
          <cx:pt idx="818">0.31212121599999998</cx:pt>
          <cx:pt idx="819">0.30771275199999998</cx:pt>
          <cx:pt idx="820">0.30567338199999999</cx:pt>
          <cx:pt idx="821">0.30446688</cx:pt>
          <cx:pt idx="822">0.29963100399999998</cx:pt>
          <cx:pt idx="823">0.29925394700000002</cx:pt>
          <cx:pt idx="824">0.29642924300000001</cx:pt>
          <cx:pt idx="825">0.29481728400000001</cx:pt>
          <cx:pt idx="826">0.29399408399999999</cx:pt>
          <cx:pt idx="827">0.29358862699999999</cx:pt>
          <cx:pt idx="828">0.29321156999999998</cx:pt>
          <cx:pt idx="829">0.29238212499999999</cx:pt>
          <cx:pt idx="830">0.29117240100000003</cx:pt>
          <cx:pt idx="831">0.28714421600000001</cx:pt>
          <cx:pt idx="832">0.27871058799999998</cx:pt>
          <cx:pt idx="833">0.27264303299999998</cx:pt>
          <cx:pt idx="834">0.26780715700000002</cx:pt>
          <cx:pt idx="835">0.26458646299999999</cx:pt>
          <cx:pt idx="836">0.26420638499999999</cx:pt>
          <cx:pt idx="837">0.25653009399999999</cx:pt>
          <cx:pt idx="838">0.25614679299999998</cx:pt>
          <cx:pt idx="839">0.25532036899999999</cx:pt>
          <cx:pt idx="840">0.236791002</cx:pt>
          <cx:pt idx="841">0.23074862400000001</cx:pt>
          <cx:pt idx="842">0.23036532400000001</cx:pt>
          <cx:pt idx="843">0.22994113499999999</cx:pt>
          <cx:pt idx="844">0.22793016399999999</cx:pt>
          <cx:pt idx="845">0.22631820599999999</cx:pt>
          <cx:pt idx="846">0.225912749</cx:pt>
          <cx:pt idx="847">0.21987037100000001</cx:pt>
          <cx:pt idx="848">0.21221925699999999</cx:pt>
          <cx:pt idx="849">0.210205064</cx:pt>
          <cx:pt idx="850">0.20577162399999999</cx:pt>
          <cx:pt idx="851">0.196910585</cx:pt>
          <cx:pt idx="852">0.194111058</cx:pt>
          <cx:pt idx="853">0.19328463500000001</cx:pt>
          <cx:pt idx="854">0.184423797</cx:pt>
          <cx:pt idx="855">0.18321407200000001</cx:pt>
          <cx:pt idx="856">0.182428537</cx:pt>
          <cx:pt idx="857">0.17396973199999999</cx:pt>
          <cx:pt idx="858">0.16188497700000001</cx:pt>
          <cx:pt idx="859">0.16146078799999999</cx:pt>
          <cx:pt idx="860">0.16067525299999999</cx:pt>
          <cx:pt idx="861">0.159848829</cx:pt>
          <cx:pt idx="862">0.15783483800000001</cx:pt>
          <cx:pt idx="863">0.157030369</cx:pt>
          <cx:pt idx="864">0.156628135</cx:pt>
          <cx:pt idx="865">0.146152115</cx:pt>
          <cx:pt idx="866">0.140936161</cx:pt>
          <cx:pt idx="867">0.14051519500000001</cx:pt>
          <cx:pt idx="868">0.14010973800000001</cx:pt>
          <cx:pt idx="869">0.12520652199999999</cx:pt>
          <cx:pt idx="870">0.123192329</cx:pt>
          <cx:pt idx="871">0.12279029599999999</cx:pt>
          <cx:pt idx="872">0.118359877</cx:pt>
          <cx:pt idx="873">0.11795442</cx:pt>
          <cx:pt idx="874">0.10909358199999999</cx:pt>
          <cx:pt idx="875">0.106677155</cx:pt>
          <cx:pt idx="876">0.106271899</cx:pt>
          <cx:pt idx="877">0.10425770600000001</cx:pt>
          <cx:pt idx="878">0.098620786000000002</cx:pt>
          <cx:pt idx="879">0.097411060999999993</cx:pt>
          <cx:pt idx="880">0.097030781999999996</cx:pt>
          <cx:pt idx="881">0.094187144</cx:pt>
          <cx:pt idx="882">0.091770717000000002</cx:pt>
          <cx:pt idx="883">0.086938265000000001</cx:pt>
          <cx:pt idx="884">0.085728541000000005</cx:pt>
          <cx:pt idx="885">0.084924072000000003</cx:pt>
          <cx:pt idx="886">0.082909879000000006</cx:pt>
          <cx:pt idx="887">0.081297919999999996</cx:pt>
          <cx:pt idx="888">0.075657776999999996</cx:pt>
          <cx:pt idx="889">0.074853509999999998</cx:pt>
          <cx:pt idx="890">0.074451274999999997</cx:pt>
          <cx:pt idx="891">0.072433860000000003</cx:pt>
          <cx:pt idx="892">0.072031827000000007</cx:pt>
          <cx:pt idx="893">0.068405674999999999</cx:pt>
          <cx:pt idx="894">0.068003440999999998</cx:pt>
          <cx:pt idx="895">0.053926649</cx:pt>
          <cx:pt idx="896">0.040207979999999997</cx:pt>
          <cx:pt idx="897">0.038193787</cx:pt>
          <cx:pt idx="898">0.036179795000000001</cx:pt>
          <cx:pt idx="899">0.035777560999999999</cx:pt>
          <cx:pt idx="900">0.034165602000000003</cx:pt>
          <cx:pt idx="901">0.028525459</cx:pt>
          <cx:pt idx="902">0.021678612999999999</cx:pt>
          <cx:pt idx="903">0.019262386999999999</cx:pt>
          <cx:pt idx="904">0.016038469999999999</cx:pt>
          <cx:pt idx="905">0.015636234999999998</cx:pt>
          <cx:pt idx="906">0.015234001</cx:pt>
          <cx:pt idx="907">0.00075175199999999995</cx:pt>
          <cx:pt idx="908">0.00032756300000000001</cx:pt>
          <cx:pt idx="909">-0.00047670500000000001</cx:pt>
          <cx:pt idx="910">-0.0045050910000000001</cx:pt>
          <cx:pt idx="911">-0.0081310410000000003</cx:pt>
          <cx:pt idx="912">-0.0093407649999999991</cx:pt>
          <cx:pt idx="913">-0.017397335999999999</cx:pt>
          <cx:pt idx="914">-0.017799570000000001</cx:pt>
          <cx:pt idx="915">-0.018182871</cx:pt>
          <cx:pt idx="916">-0.019006071999999999</cx:pt>
          <cx:pt idx="917">-0.038342928999999998</cx:pt>
          <cx:pt idx="918">-0.045595031000000001</cx:pt>
          <cx:pt idx="919">-0.048011458</cx:pt>
          <cx:pt idx="920">-0.049221183000000002</cx:pt>
          <cx:pt idx="921">-0.053252590000000002</cx:pt>
          <cx:pt idx="922">-0.058484254999999999</cx:pt>
          <cx:pt idx="923">-0.058889509999999999</cx:pt>
          <cx:pt idx="924">-0.060498245999999999</cx:pt>
          <cx:pt idx="925">-0.060900480999999999</cx:pt>
          <cx:pt idx="926">-0.066521891999999999</cx:pt>
          <cx:pt idx="927">-0.067750348000000002</cx:pt>
          <cx:pt idx="928">-0.068554817000000004</cx:pt>
          <cx:pt idx="929">-0.070166776</cx:pt>
          <cx:pt idx="930">-0.071778733999999997</cx:pt>
          <cx:pt idx="931">-0.072985235999999995</cx:pt>
          <cx:pt idx="932">-0.074597195000000005</cx:pt>
          <cx:pt idx="933">-0.077418877999999997</cx:pt>
          <cx:pt idx="934">-0.077821111999999998</cx:pt>
          <cx:pt idx="935">-0.080639572000000007</cx:pt>
          <cx:pt idx="936">-0.084667756999999996</cx:pt>
          <cx:pt idx="937">-0.086279716000000006</cx:pt>
          <cx:pt idx="938">-0.086681949999999994</cx:pt>
          <cx:pt idx="939">-0.091112368999999999</cx:pt>
          <cx:pt idx="940">-0.092322092999999994</cx:pt>
          <cx:pt idx="941">-0.092727550000000006</cx:pt>
          <cx:pt idx="942">-0.095546011</cx:pt>
          <cx:pt idx="943">-0.102392655</cx:pt>
          <cx:pt idx="944">-0.10279489</cx:pt>
          <cx:pt idx="945">-0.103200347</cx:pt>
          <cx:pt idx="946">-0.104809083</cx:pt>
          <cx:pt idx="947">-0.10601880700000001</cx:pt>
          <cx:pt idx="948">-0.11085146</cx:pt>
          <cx:pt idx="949">-0.11165895000000001</cx:pt>
          <cx:pt idx="950">-0.11407537800000001</cx:pt>
          <cx:pt idx="951">-0.114879645</cx:pt>
          <cx:pt idx="952">-0.12535566400000001</cx:pt>
          <cx:pt idx="953">-0.12696440000000001</cx:pt>
          <cx:pt idx="954">-0.12777189</cx:pt>
          <cx:pt idx="955">-0.129383849</cx:pt>
          <cx:pt idx="956">-0.130188318</cx:pt>
          <cx:pt idx="957">-0.13542622600000001</cx:pt>
          <cx:pt idx="958">-0.139052378</cx:pt>
          <cx:pt idx="959">-0.13945461200000001</cx:pt>
          <cx:pt idx="960">-0.14912294000000001</cx:pt>
          <cx:pt idx="961">-0.15113713300000001</cx:pt>
          <cx:pt idx="962">-0.151941401</cx:pt>
          <cx:pt idx="963">-0.153553359</cx:pt>
          <cx:pt idx="964">-0.168054542</cx:pt>
          <cx:pt idx="965">-0.17570887800000001</cx:pt>
          <cx:pt idx="966">-0.179737063</cx:pt>
          <cx:pt idx="967">-0.20310210400000001</cx:pt>
          <cx:pt idx="968">-0.218813011</cx:pt>
          <cx:pt idx="969">-0.22324342999999999</cx:pt>
          <cx:pt idx="970">-0.22767384900000001</cx:pt>
          <cx:pt idx="971">-0.228079105</cx:pt>
          <cx:pt idx="972">-0.23251274699999999</cx:pt>
          <cx:pt idx="973">-0.23774441099999999</cx:pt>
          <cx:pt idx="974">-0.24298252200000001</cx:pt>
          <cx:pt idx="975">-0.243786789</cx:pt>
          <cx:pt idx="976">-0.24459125800000001</cx:pt>
          <cx:pt idx="977">-0.244996513</cx:pt>
          <cx:pt idx="978">-0.247412941</cx:pt>
          <cx:pt idx="979">-0.25869645000000002</cx:pt>
          <cx:pt idx="980">-0.259095462</cx:pt>
          <cx:pt idx="981">-0.26030216499999997</cx:pt>
          <cx:pt idx="982">-0.26795629999999998</cx:pt>
          <cx:pt idx="983">-0.27520840099999999</cx:pt>
          <cx:pt idx="984">-0.28125077900000001</cx:pt>
          <cx:pt idx="985">-0.282862738</cx:pt>
          <cx:pt idx="986">-0.31267239099999999</cx:pt>
          <cx:pt idx="987">-0.31710301200000002</cx:pt>
          <cx:pt idx="988">-0.31750504499999999</cx:pt>
          <cx:pt idx="989">-0.31992147199999998</cx:pt>
          <cx:pt idx="990">-0.32958979999999999</cx:pt>
          <cx:pt idx="991">-0.32369318600000002</cx:pt>
          <cx:pt idx="992">-0.323437223</cx:pt>
          <cx:pt idx="993">-0.32241145199999999</cx:pt>
          <cx:pt idx="994">-0.32138568099999998</cx:pt>
          <cx:pt idx="995">-0.32112984700000002</cx:pt>
          <cx:pt idx="996">-0.31600304200000001</cx:pt>
          <cx:pt idx="997">-0.31010847800000002</cx:pt>
          <cx:pt idx="998">-0.30933866900000001</cx:pt>
          <cx:pt idx="999">-0.30651539500000002</cx:pt>
          <cx:pt idx="1000">-0.304723788</cx:pt>
          <cx:pt idx="1001">-0.304467826</cx:pt>
          <cx:pt idx="1002">-0.30241628300000001</cx:pt>
          <cx:pt idx="1003">-0.29242068500000001</cx:pt>
          <cx:pt idx="1004">-0.29139094100000001</cx:pt>
          <cx:pt idx="1005">-0.29113907999999999</cx:pt>
          <cx:pt idx="1006">-0.27857411999999998</cx:pt>
          <cx:pt idx="1007">-0.27627058799999998</cx:pt>
          <cx:pt idx="1008">-0.27575674100000003</cx:pt>
          <cx:pt idx="1009">-0.27268147799999998</cx:pt>
          <cx:pt idx="1010">-0.26781063500000002</cx:pt>
          <cx:pt idx="1011">-0.266017106</cx:pt>
          <cx:pt idx="1012">-0.26524332299999998</cx:pt>
          <cx:pt idx="1013">-0.26370562800000003</cx:pt>
          <cx:pt idx="1014">-0.261916072</cx:pt>
          <cx:pt idx="1015">-0.26088632699999997</cx:pt>
          <cx:pt idx="1016">-0.25832298799999998</cx:pt>
          <cx:pt idx="1017">-0.25807099999999999</cx:pt>
          <cx:pt idx="1018">-0.25781311499999998</cx:pt>
          <cx:pt idx="1019">-0.25217066799999999</cx:pt>
          <cx:pt idx="1020">-0.25165848699999999</cx:pt>
          <cx:pt idx="1021">-0.25114412800000002</cx:pt>
          <cx:pt idx="1022">-0.25037585699999998</cx:pt>
          <cx:pt idx="1023">-0.248322776</cx:pt>
          <cx:pt idx="1024">-0.24704014599999999</cx:pt>
          <cx:pt idx="1025">-0.24550129700000001</cx:pt>
          <cx:pt idx="1026">-0.24524328400000001</cx:pt>
          <cx:pt idx="1027">-0.23756339400000001</cx:pt>
          <cx:pt idx="1028">-0.23703506299999999</cx:pt>
          <cx:pt idx="1029">-0.23576845399999999</cx:pt>
          <cx:pt idx="1030">-0.23167446899999999</cx:pt>
          <cx:pt idx="1031">-0.222952014</cx:pt>
          <cx:pt idx="1032">-0.21858989400000001</cx:pt>
          <cx:pt idx="1033">-0.21833393200000001</cx:pt>
          <cx:pt idx="1034">-0.217051942</cx:pt>
          <cx:pt idx="1035">-0.21089782800000001</cx:pt>
          <cx:pt idx="1036">-0.206539678</cx:pt>
          <cx:pt idx="1037">-0.20217960500000001</cx:pt>
          <cx:pt idx="1038">-0.201667553</cx:pt>
          <cx:pt idx="1039">-0.19807754599999999</cx:pt>
          <cx:pt idx="1040">-0.195001386</cx:pt>
          <cx:pt idx="1041">-0.19320542099999999</cx:pt>
          <cx:pt idx="1042">-0.192179393</cx:pt>
          <cx:pt idx="1043">-0.19141137899999999</cx:pt>
          <cx:pt idx="1044">-0.19012938900000001</cx:pt>
          <cx:pt idx="1045">-0.189375345</cx:pt>
          <cx:pt idx="1046">-0.187837265</cx:pt>
          <cx:pt idx="1047">-0.18475726000000001</cx:pt>
          <cx:pt idx="1048">-0.18115520399999999</cx:pt>
          <cx:pt idx="1049">-0.176559677</cx:pt>
          <cx:pt idx="1050">-0.17604172900000001</cx:pt>
          <cx:pt idx="1051">-0.17578974</cx:pt>
          <cx:pt idx="1052">-0.17501787999999999</cx:pt>
          <cx:pt idx="1053">-0.17347813400000001</cx:pt>
          <cx:pt idx="1054">-0.171938388</cx:pt>
          <cx:pt idx="1055">-0.17014460200000001</cx:pt>
          <cx:pt idx="1056">-0.16961870700000001</cx:pt>
          <cx:pt idx="1057">-0.16937466500000001</cx:pt>
          <cx:pt idx="1058">-0.16835286699999999</cx:pt>
          <cx:pt idx="1059">-0.16807896</cx:pt>
          <cx:pt idx="1060">-0.16758292899999999</cx:pt>
          <cx:pt idx="1061">-0.16525927500000001</cx:pt>
          <cx:pt idx="1062">-0.16245573999999999</cx:pt>
          <cx:pt idx="1063">-0.16219772700000001</cx:pt>
          <cx:pt idx="1064">-0.16038804700000001</cx:pt>
          <cx:pt idx="1065">-0.16014605600000001</cx:pt>
          <cx:pt idx="1066">-0.14733589999999999</cx:pt>
          <cx:pt idx="1067">-0.14579012899999999</cx:pt>
          <cx:pt idx="1068">-0.14451634299999999</cx:pt>
          <cx:pt idx="1069">-0.14092492600000001</cx:pt>
          <cx:pt idx="1070">-0.133484463</cx:pt>
          <cx:pt idx="1071">-0.131434844</cx:pt>
          <cx:pt idx="1072">-0.13090689799999999</cx:pt>
          <cx:pt idx="1073">-0.12348642999999999</cx:pt>
          <cx:pt idx="1074">-0.12298258099999999</cx:pt>
          <cx:pt idx="1075">-0.119127383</cx:pt>
          <cx:pt idx="1076">-0.116827825</cx:pt>
          <cx:pt idx="1077">-0.116551868</cx:pt>
          <cx:pt idx="1078">-0.11630987700000001</cx:pt>
          <cx:pt idx="1079">-0.115540068</cx:pt>
          <cx:pt idx="1080">-0.114516219</cx:pt>
          <cx:pt idx="1081">-0.114000322</cx:pt>
          <cx:pt idx="1082">-0.099907278000000002</cx:pt>
          <cx:pt idx="1083">-0.098619649000000004</cx:pt>
          <cx:pt idx="1084">-0.096572080000000005</cx:pt>
          <cx:pt idx="1085">-0.095032461999999998</cx:pt>
          <cx:pt idx="1086">-0.093758675</cx:pt>
          <cx:pt idx="1087">-0.093492844000000005</cx:pt>
          <cx:pt idx="1088">-0.092982969999999998</cx:pt>
          <cx:pt idx="1089">-0.092722905999999994</cx:pt>
          <cx:pt idx="1090">-0.090931427999999995</cx:pt>
          <cx:pt idx="1091">-0.087596100999999996</cx:pt>
          <cx:pt idx="1092">-0.086814372000000001</cx:pt>
          <cx:pt idx="1093">-0.085292698</cx:pt>
          <cx:pt idx="1094">-0.084264876000000002</cx:pt>
          <cx:pt idx="1095">-0.083761027000000002</cx:pt>
          <cx:pt idx="1096">-0.082457375999999999</cx:pt>
          <cx:pt idx="1097">-0.081191663999999997</cx:pt>
          <cx:pt idx="1098">-0.080421726999999998</cx:pt>
          <cx:pt idx="1099">-0.077344541000000003</cx:pt>
          <cx:pt idx="1100">-0.074019212000000001</cx:pt>
          <cx:pt idx="1101">-0.073755302999999994</cx:pt>
          <cx:pt idx="1102">-0.072215685000000002</cx:pt>
          <cx:pt idx="1103">-0.069150420000000004</cx:pt>
          <cx:pt idx="1104">-0.068380482000000006</cx:pt>
          <cx:pt idx="1105">-0.067860611000000001</cx:pt>
          <cx:pt idx="1106">-0.067076831000000003</cx:pt>
          <cx:pt idx="1107">-0.065561181999999996</cx:pt>
          <cx:pt idx="1108">-0.058892834999999998</cx:pt>
          <cx:pt idx="1109">-0.057349115999999999</cx:pt>
          <cx:pt idx="1110">-0.055817573000000002</cx:pt>
          <cx:pt idx="1111">-0.055303597000000003</cx:pt>
          <cx:pt idx="1112">-0.053766029999999999</cx:pt>
          <cx:pt idx="1113">-0.052478272999999999</cx:pt>
          <cx:pt idx="1114">-0.052224360999999997</cx:pt>
          <cx:pt idx="1115">-0.051718461</cx:pt>
          <cx:pt idx="1116">-0.051452629</cx:pt>
          <cx:pt idx="1117">-0.051198590000000002</cx:pt>
          <cx:pt idx="1118">-0.049900963</cx:pt>
          <cx:pt idx="1119">-0.049661022999999999</cx:pt>
          <cx:pt idx="1120">-0.049409033999999998</cx:pt>
          <cx:pt idx="1121">-0.047357618999999997</cx:pt>
          <cx:pt idx="1122">-0.045815951000000001</cx:pt>
          <cx:pt idx="1123">-0.043762484999999997</cx:pt>
          <cx:pt idx="1124">-0.041464978</cx:pt>
          <cx:pt idx="1125">-0.036844072999999998</cx:pt>
          <cx:pt idx="1126">-0.032489127999999999</cx:pt>
          <cx:pt idx="1127">-0.032213169999999999</cx:pt>
          <cx:pt idx="1128">-0.029649832000000001</cx:pt>
          <cx:pt idx="1129">-0.029409891000000001</cx:pt>
          <cx:pt idx="1130">-0.028382198000000001</cx:pt>
          <cx:pt idx="1131">-0.021467887000000001</cx:pt>
          <cx:pt idx="1132">-0.021211925</cx:pt>
          <cx:pt idx="1133">-0.020438014000000001</cx:pt>
          <cx:pt idx="1134">-0.01710884</cx:pt>
          <cx:pt idx="1135">-0.016591018999999999</cx:pt>
          <cx:pt idx="1136">-0.015821209999999999</cx:pt>
          <cx:pt idx="1137">-0.013521781</cx:pt>
          <cx:pt idx="1138">-0.013243773</cx:pt>
          <cx:pt idx="1139">-0.011210303</cx:pt>
          <cx:pt idx="1140">-0.0078771550000000003</cx:pt>
          <cx:pt idx="1141">-0.003772147</cx:pt>
          <cx:pt idx="1142">0.0064814629999999998</cx:pt>
          <cx:pt idx="1143">0.008031079</cx:pt>
          <cx:pt idx="1144">0.011344231999999999</cx:pt>
          <cx:pt idx="1145">0.01186218</cx:pt>
          <cx:pt idx="1146">0.012114041000000001</cx:pt>
          <cx:pt idx="1147">0.017494757</cx:pt>
          <cx:pt idx="1148">0.018782387000000001</cx:pt>
          <cx:pt idx="1149">0.020849950999999999</cx:pt>
          <cx:pt idx="1150">0.026726570000000002</cx:pt>
          <cx:pt idx="1151">0.030061768999999999</cx:pt>
          <cx:pt idx="1152">0.033644855000000001</cx:pt>
          <cx:pt idx="1153">0.040587234999999999</cx:pt>
          <cx:pt idx="1154">0.040831148999999997</cx:pt>
          <cx:pt idx="1155">0.045955903999999999</cx:pt>
          <cx:pt idx="1156">0.046483721999999998</cx:pt>
          <cx:pt idx="1157">0.047251608</cx:pt>
          <cx:pt idx="1158">0.048001422000000002</cx:pt>
          <cx:pt idx="1159">0.050564761</cx:pt>
          <cx:pt idx="1160">0.050822645</cx:pt>
          <cx:pt idx="1161">0.051594504999999999</cx:pt>
          <cx:pt idx="1162">0.060068429</cx:pt>
          <cx:pt idx="1163">0.062873759000000001</cx:pt>
          <cx:pt idx="1164">0.069554152999999994</cx:pt>
          <cx:pt idx="1165">0.077244297000000003</cx:pt>
          <cx:pt idx="1166">0.111318154</cx:pt>
          <cx:pt idx="1167">0.111835974</cx:pt>
          <cx:pt idx="1168">0.112363792</cx:pt>
          <cx:pt idx="1169">0.122617403</cx:pt>
          <cx:pt idx="1170">0.13184511400000001</cx:pt>
          <cx:pt idx="1171">0.13234306800000001</cx:pt>
          <cx:pt idx="1172">0.14131084399999999</cx:pt>
          <cx:pt idx="1173">0.14157077900000001</cx:pt>
          <cx:pt idx="1174">0.142082703</cx:pt>
          <cx:pt idx="1175">0.14362027099999999</cx:pt>
          <cx:pt idx="1176">0.143892255</cx:pt>
          <cx:pt idx="1177">0.145929698</cx:pt>
          <cx:pt idx="1178">0.15260816999999999</cx:pt>
          <cx:pt idx="1179">0.15361984200000001</cx:pt>
          <cx:pt idx="1180">0.15387183099999999</cx:pt>
          <cx:pt idx="1181">0.15541350000000001</cx:pt>
          <cx:pt idx="1182">0.156951067</cx:pt>
          <cx:pt idx="1183">0.15746491400000001</cx:pt>
          <cx:pt idx="1184">0.16875826699999999</cx:pt>
          <cx:pt idx="1185">0.173115135</cx:pt>
          <cx:pt idx="1186">0.190784855</cx:pt>
          <cx:pt idx="1187">0.197981147</cx:pt>
          <cx:pt idx="1188">0.198992948</cx:pt>
          <cx:pt idx="1189">0.20028865200000001</cx:pt>
          <cx:pt idx="1190">0.218216257</cx:pt>
          <cx:pt idx="1191">0.21873215400000001</cx:pt>
          <cx:pt idx="1192">0.21925805000000001</cx:pt>
          <cx:pt idx="1193">0.22129357</cx:pt>
          <cx:pt idx="1194">0.22206338</cx:pt>
          <cx:pt idx="1195">0.22231921399999999</cx:pt>
          <cx:pt idx="1196">0.224128893</cx:pt>
          <cx:pt idx="1197">0.22565248900000001</cx:pt>
          <cx:pt idx="1198">0.22744409600000001</cx:pt>
          <cx:pt idx="1199">0.237443668</cx:pt>
          <cx:pt idx="1200">0.23923719700000001</cx:pt>
          <cx:pt idx="1201">0.24154457400000001</cx:pt>
          <cx:pt idx="1202">0.24771112100000001</cx:pt>
          <cx:pt idx="1203">0.24897888400000001</cx:pt>
          <cx:pt idx="1204">0.24923471799999999</cx:pt>
          <cx:pt idx="1205">0.25487344699999998</cx:pt>
          <cx:pt idx="1206">0.25538934499999999</cx:pt>
          <cx:pt idx="1207">0.25641498800000001</cx:pt>
          <cx:pt idx="1208">0.26770629000000001</cx:pt>
          <cx:pt idx="1209">0.27871368800000001</cx:pt>
          <cx:pt idx="1210">0.27948541999999998</cx:pt>
          <cx:pt idx="1211">0.28231882000000003</cx:pt>
          <cx:pt idx="1212">0.28513811999999999</cx:pt>
          <cx:pt idx="1213">0.28923915500000003</cx:pt>
          <cx:pt idx="1214">0.292828264</cx:pt>
          <cx:pt idx="1215">0.29334006099999999</cx:pt>
          <cx:pt idx="1216">0.29641737400000001</cx:pt>
          <cx:pt idx="1217">0.29692929899999998</cx:pt>
          <cx:pt idx="1218">0.29742712399999999</cx:pt>
          <cx:pt idx="1219">0.301030205</cx:pt>
          <cx:pt idx="1220">0.301288218</cx:pt>
          <cx:pt idx="1221">0.302809891</cx:pt>
          <cx:pt idx="1222">0.30768060600000002</cx:pt>
          <cx:pt idx="1223">0.30795259000000003</cx:pt>
          <cx:pt idx="1224">0.31000208200000001</cx:pt>
          <cx:pt idx="1225">0.31564273399999998</cx:pt>
          <cx:pt idx="1226">0.31844806399999998</cx:pt>
          <cx:pt idx="1227">0.31871991999999999</cx:pt>
          <cx:pt idx="1228">0.31972979699999998</cx:pt>
          <cx:pt idx="1229">0.32205114499999998</cx:pt>
          <cx:pt idx="1230">0.32282095399999999</cx:pt>
          <cx:pt idx="1231">0.32511243699999998</cx:pt>
          <cx:pt idx="1232">0.334340148</cx:pt>
          <cx:pt idx="1233">0.337419513</cx:pt>
          <cx:pt idx="1234">0.33871316600000001</cx:pt>
          <cx:pt idx="1235">0.34255823800000001</cx:pt>
          <cx:pt idx="1236">0.34357003800000002</cx:pt>
          <cx:pt idx="1237">0.34536356800000001</cx:pt>
          <cx:pt idx="1238">0.35895032599999999</cx:pt>
          <cx:pt idx="1239">0.36458892799999998</cx:pt>
          <cx:pt idx="1240">0.38125287200000002</cx:pt>
          <cx:pt idx="1241">0.38229056300000003</cx:pt>
          <cx:pt idx="1242">0.38331838499999998</cx:pt>
          <cx:pt idx="1243">0.38357229700000001</cx:pt>
          <cx:pt idx="1244">0.38458409700000001</cx:pt>
          <cx:pt idx="1245">0.38485403000000001</cx:pt>
          <cx:pt idx="1246">0.38535390600000002</cx:pt>
          <cx:pt idx="1247">0.38765936000000001</cx:pt>
          <cx:pt idx="1248">0.39227424100000002</cx:pt>
          <cx:pt idx="1249">0.40613080400000001</cx:pt>
          <cx:pt idx="1250">0.40972004200000001</cx:pt>
          <cx:pt idx="1251">0.41177145700000001</cx:pt>
          <cx:pt idx="1252">0.41433492300000002</cx:pt>
          <cx:pt idx="1253">0.41484672</cx:pt>
          <cx:pt idx="1254">0.415344673</cx:pt>
          <cx:pt idx="1255">0.41611448200000001</cx:pt>
          <cx:pt idx="1256">0.41869179200000001</cx:pt>
          <cx:pt idx="1257">0.41920576700000001</cx:pt>
          <cx:pt idx="1258">0.41946160100000002</cx:pt>
          <cx:pt idx="1259">0.42176910499999998</cx:pt>
          <cx:pt idx="1260">0.42330667300000002</cx:pt>
          <cx:pt idx="1261">0.42510033000000003</cx:pt>
          <cx:pt idx="1262">0.42688181200000003</cx:pt>
          <cx:pt idx="1263">0.42715174500000003</cx:pt>
          <cx:pt idx="1264">0.42766366900000002</cx:pt>
          <cx:pt idx="1265">0.42867546899999998</cx:pt>
          <cx:pt idx="1266">0.42944527799999999</cx:pt>
          <cx:pt idx="1267">0.43099681699999998</cx:pt>
          <cx:pt idx="1268">0.437917151</cx:pt>
          <cx:pt idx="1269">0.43894292299999998</cx:pt>
          <cx:pt idx="1270">0.440466519</cx:pt>
          <cx:pt idx="1271">0.440738503</cx:pt>
          <cx:pt idx="1272">0.44432761300000001</cx:pt>
          <cx:pt idx="1273">0.45278564300000002</cx:pt>
          <cx:pt idx="1274">0.454579173</cx:pt>
          <cx:pt idx="1275">0.45483705800000002</cx:pt>
          <cx:pt idx="1276">0.45714251099999997</cx:pt>
          <cx:pt idx="1277">0.45841219599999999</cx:pt>
          <cx:pt idx="1278">0.45893809200000002</cx:pt>
          <cx:pt idx="1279">0.46073162099999998</cx:pt>
          <cx:pt idx="1280">0.46201335500000001</cx:pt>
          <cx:pt idx="1281">0.462271239</cx:pt>
          <cx:pt idx="1282">0.46432085899999997</cx:pt>
          <cx:pt idx="1283">0.46533253099999999</cx:pt>
          <cx:pt idx="1284">0.46687214999999999</cx:pt>
          <cx:pt idx="1285">0.47071529899999998</cx:pt>
          <cx:pt idx="1286">0.47149907899999999</cx:pt>
          <cx:pt idx="1287">0.473022675</cx:pt>
          <cx:pt idx="1288">0.47457434199999998</cx:pt>
          <cx:pt idx="1289">0.476369922</cx:pt>
          <cx:pt idx="1290">0.47713768000000001</cx:pt>
          <cx:pt idx="1291">0.48098275200000001</cx:pt>
          <cx:pt idx="1292">0.48149659900000003</cx:pt>
          <cx:pt idx="1293">0.482778333</cx:pt>
          <cx:pt idx="1294">0.483546219</cx:pt>
          <cx:pt idx="1295">0.48455994200000002</cx:pt>
          <cx:pt idx="1296">0.48534167099999997</cx:pt>
          <cx:pt idx="1297">0.49098040100000001</cx:pt>
          <cx:pt idx="1298">0.49405758700000002</cx:pt>
          <cx:pt idx="1299">0.49456951100000002</cx:pt>
          <cx:pt idx="1300">0.51405083299999998</cx:pt>
          <cx:pt idx="1301">0.515846413</cx:pt>
          <cx:pt idx="1302">0.52456219999999998</cx:pt>
          <cx:pt idx="1303">0.52507412499999995</cx:pt>
          <cx:pt idx="1304">0.52609989599999996</cx:pt>
          <cx:pt idx="1305">0.52635585799999995</cx:pt>
          <cx:pt idx="1306">0.52686970499999997</cx:pt>
          <cx:pt idx="1307">0.53276426899999996</cx:pt>
          <cx:pt idx="1308">0.53302023099999996</cx:pt>
          <cx:pt idx="1309">0.53430183600000003</cx:pt>
          <cx:pt idx="1310">0.53917267899999999</cx:pt>
          <cx:pt idx="1311">0.54096825999999998</cx:pt>
          <cx:pt idx="1312">0.54148018399999998</cx:pt>
          <cx:pt idx="1313">0.54378755999999995</cx:pt>
          <cx:pt idx="1314">0.54404352199999995</cx:pt>
          <cx:pt idx="1315">0.55737431900000001</cx:pt>
          <cx:pt idx="1316">0.557886243</cx:pt>
          <cx:pt idx="1317">0.55967977300000005</cx:pt>
          <cx:pt idx="1318">0.56019361899999998</cx:pt>
          <cx:pt idx="1319">0.56198714900000002</cx:pt>
          <cx:pt idx="1320">0.56250112399999996</cx:pt>
          <cx:pt idx="1321">0.56326888200000003</cx:pt>
          <cx:pt idx="1322">0.56890953499999997</cx:pt>
          <cx:pt idx="1323">0.56916549699999996</cx:pt>
          <cx:pt idx="1324">0.57019126799999997</cx:pt>
          <cx:pt idx="1325">0.57070306400000004</cx:pt>
          <cx:pt idx="1326">0.57941897899999995</cx:pt>
          <cx:pt idx="1327">0.57967494200000003</cx:pt>
          <cx:pt idx="1328">0.582494242</cx:pt>
          <cx:pt idx="1329">0.58352001399999998</cx:pt>
          <cx:pt idx="1330">0.58531559399999999</cx:pt>
          <cx:pt idx="1331">0.588902653</cx:pt>
          <cx:pt idx="1332">0.5932617</cx:pt>
          <cx:pt idx="1333">0.59462803399999997</cx:pt>
          <cx:pt idx="1334">0.59479995799999996</cx:pt>
          <cx:pt idx="1335">0.60283142000000001</cx:pt>
          <cx:pt idx="1336">0.60454032099999999</cx:pt>
          <cx:pt idx="1337">0.60488288700000004</cx:pt>
          <cx:pt idx="1338">0.60522417100000003</cx:pt>
          <cx:pt idx="1339">0.60642123000000003</cx:pt>
          <cx:pt idx="1340">0.60693307100000005</cx:pt>
          <cx:pt idx="1341">0.60727435500000004</cx:pt>
          <cx:pt idx="1342">0.607787564</cx:pt>
          <cx:pt idx="1343">0.608128848</cx:pt>
          <cx:pt idx="1344">0.60915526499999995</cx:pt>
          <cx:pt idx="1345">0.61103480700000001</cx:pt>
          <cx:pt idx="1346">0.61479389200000001</cx:pt>
          <cx:pt idx="1347">0.61564838399999999</cx:pt>
          <cx:pt idx="1348">0.61667480100000005</cx:pt>
          <cx:pt idx="1349">0.61940883599999996</cx:pt>
          <cx:pt idx="1350">0.61975003500000003</cx:pt>
          <cx:pt idx="1351">0.62026324300000002</cx:pt>
          <cx:pt idx="1352">0.62094709400000003</cx:pt>
          <cx:pt idx="1353">0.62214278499999998</cx:pt>
          <cx:pt idx="1354">0.62265599400000005</cx:pt>
          <cx:pt idx="1355">0.62316920200000003</cx:pt>
          <cx:pt idx="1356">0.62351048600000003</cx:pt>
          <cx:pt idx="1357">0.62368112899999995</cx:pt>
          <cx:pt idx="1358">0.62914919899999999</cx:pt>
          <cx:pt idx="1359">0.62966240699999998</cx:pt>
          <cx:pt idx="1360">0.631030023</cx:pt>
          <cx:pt idx="1361">0.63137130699999999</cx:pt>
          <cx:pt idx="1362">0.63393469999999996</cx:pt>
          <cx:pt idx="1363">0.63649809199999996</cx:pt>
          <cx:pt idx="1364">0.64128359400000001</cx:pt>
          <cx:pt idx="1365">0.64521331999999998</cx:pt>
          <cx:pt idx="1366">0.64538532999999998</cx:pt>
          <cx:pt idx="1367">0.655466891</cx:pt>
          <cx:pt idx="1368">0.65837293600000002</cx:pt>
          <cx:pt idx="1369">0.65871413499999998</cx:pt>
          <cx:pt idx="1370">0.66025247799999998</cx:pt>
          <cx:pt idx="1371">0.66059632599999996</cx:pt>
          <cx:pt idx="1372">0.66213202000000004</cx:pt>
          <cx:pt idx="1373">0.66281587099999995</cx:pt>
          <cx:pt idx="1374">0.66332907900000004</cx:pt>
          <cx:pt idx="1375">0.66349963599999995</cx:pt>
          <cx:pt idx="1376">0.663670278</cx:pt>
          <cx:pt idx="1377">0.67101925699999998</cx:pt>
          <cx:pt idx="1378">0.67768430099999999</cx:pt>
          <cx:pt idx="1379">0.67870943500000003</cx:pt>
          <cx:pt idx="1380">0.67905063399999999</cx:pt>
          <cx:pt idx="1381">0.68076226900000003</cx:pt>
          <cx:pt idx="1382">0.68178603699999996</cx:pt>
          <cx:pt idx="1383">0.69186759799999997</cx:pt>
          <cx:pt idx="1384">0.694260349</cx:pt>
          <cx:pt idx="1385">0.69853272700000002</cx:pt>
          <cx:pt idx="1386">0.70041355100000002</cx:pt>
          <cx:pt idx="1387">0.70058419299999997</cx:pt>
          <cx:pt idx="1388">0.70092547800000005</cx:pt>
          <cx:pt idx="1389">0.70314758600000005</cx:pt>
          <cx:pt idx="1390">0.70348887000000004</cx:pt>
          <cx:pt idx="1391">0.70417272099999995</cx:pt>
          <cx:pt idx="1392">0.70485657099999999</cx:pt>
          <cx:pt idx="1393">0.70491117299999995</cx:pt>
          <cx:pt idx="1394">0.70844501400000004</cx:pt>
          <cx:pt idx="1395">0.70912886399999997</cx:pt>
          <cx:pt idx="1396">0.71003667699999995</cx:pt>
          <cx:pt idx="1397">0.71015391400000005</cx:pt>
          <cx:pt idx="1398">0.71117904899999995</cx:pt>
          <cx:pt idx="1399">0.711521615</cx:pt>
          <cx:pt idx="1400">0.71374508999999997</cx:pt>
          <cx:pt idx="1401">0.71784682600000005</cx:pt>
          <cx:pt idx="1402">0.71801473400000004</cx:pt>
          <cx:pt idx="1403">0.72177518600000001</cx:pt>
          <cx:pt idx="1404">0.72656068699999998</cx:pt>
          <cx:pt idx="1405">0.72878151300000005</cx:pt>
          <cx:pt idx="1406">0.72929472200000001</cx:pt>
          <cx:pt idx="1407">0.72946536399999995</cx:pt>
          <cx:pt idx="1408">0.73134490600000002</cx:pt>
          <cx:pt idx="1409">0.73202875700000003</cx:pt>
          <cx:pt idx="1410">0.73630105000000001</cx:pt>
          <cx:pt idx="1411">0.73664233400000001</cx:pt>
          <cx:pt idx="1412">0.73766875099999996</cx:pt>
          <cx:pt idx="1413">0.73801003499999995</cx:pt>
          <cx:pt idx="1414">0.73903508500000004</cx:pt>
          <cx:pt idx="1415">0.74057607700000005</cx:pt>
          <cx:pt idx="1416">0.74365002899999999</cx:pt>
          <cx:pt idx="1417">0.75903038499999997</cx:pt>
          <cx:pt idx="1418">0.75920094199999999</cx:pt>
          <cx:pt idx="1419">0.75954359400000004</cx:pt>
          <cx:pt idx="1420">0.760226077</cx:pt>
          <cx:pt idx="1421">0.76056864300000004</cx:pt>
          <cx:pt idx="1422">0.76894267199999999</cx:pt>
          <cx:pt idx="1423">0.76945451300000001</cx:pt>
          <cx:pt idx="1424">0.76962652300000001</cx:pt>
          <cx:pt idx="1425">0.772189915</cx:pt>
          <cx:pt idx="1426">0.77680349299999996</cx:pt>
          <cx:pt idx="1427">0.79713999199999996</cx:pt>
          <cx:pt idx="1428">0.80705227899999998</cx:pt>
          <cx:pt idx="1429">0.81029952199999999</cx:pt>
          <cx:pt idx="1430">0.811324657</cx:pt>
          <cx:pt idx="1431">0.81457181499999998</cx:pt>
          <cx:pt idx="1432">0.81935740199999996</cx:pt>
          <cx:pt idx="1433">0.82602381199999997</cx:pt>
          <cx:pt idx="1434">0.83149316399999995</cx:pt>
          <cx:pt idx="1435">0.83183179900000004</cx:pt>
          <cx:pt idx="1436">0.83422454999999995</cx:pt>
          <cx:pt idx="1437">0.83576545700000004</cx:pt>
          <cx:pt idx="1438">0.83610537399999996</cx:pt>
          <cx:pt idx="1439">0.84448076999999999</cx:pt>
          <cx:pt idx="1440">0.84482068700000001</cx:pt>
          <cx:pt idx="1441">0.84533526299999995</cx:pt>
          <cx:pt idx="1442">0.84584847100000005</cx:pt>
          <cx:pt idx="1443">0.84635766300000004</cx:pt>
          <cx:pt idx="1444">0.84892105600000001</cx:pt>
          <cx:pt idx="1445">0.85011811500000001</cx:pt>
          <cx:pt idx="1446">0.85028875699999995</cx:pt>
          <cx:pt idx="1447">0.85268150799999998</cx:pt>
          <cx:pt idx="1448">0.85387719900000003</cx:pt>
          <cx:pt idx="1449">0.85473169199999999</cx:pt>
          <cx:pt idx="1450">0.85644324100000002</cx:pt>
          <cx:pt idx="1451">0.85951719299999996</cx:pt>
          <cx:pt idx="1452">0.86173930099999996</cx:pt>
          <cx:pt idx="1453">0.86225122799999998</cx:pt>
          <cx:pt idx="1454">0.86259379400000002</cx:pt>
          <cx:pt idx="1455">0.87284736500000004</cx:pt>
          <cx:pt idx="1456">0.87626525099999997</cx:pt>
          <cx:pt idx="1457">0.88498047800000001</cx:pt>
          <cx:pt idx="1458">0.88515112100000004</cx:pt>
          <cx:pt idx="1459">0.88566697800000005</cx:pt>
          <cx:pt idx="1460">0.89027790600000001</cx:pt>
          <cx:pt idx="1461">0.89062047200000005</cx:pt>
          <cx:pt idx="1462">0.89831065099999996</cx:pt>
          <cx:pt idx="1463">0.899335785</cx:pt>
          <cx:pt idx="1464">0.89950634200000001</cx:pt>
          <cx:pt idx="1465">0.90070340100000001</cx:pt>
          <cx:pt idx="1466">0.90087669199999998</cx:pt>
          <cx:pt idx="1467">0.90514633600000005</cx:pt>
          <cx:pt idx="1468">0.90925072100000004</cx:pt>
          <cx:pt idx="1469">0.90942136299999998</cx:pt>
          <cx:pt idx="1470">0.91027585600000005</cx:pt>
          <cx:pt idx="1471">0.91403493999999996</cx:pt>
          <cx:pt idx="1472">0.91437750699999998</cx:pt>
          <cx:pt idx="1473">0.91762338300000001</cx:pt>
          <cx:pt idx="1474">0.91779539200000004</cx:pt>
          <cx:pt idx="1475">0.91830458400000003</cx:pt>
          <cx:pt idx="1476">0.92873281399999996</cx:pt>
          <cx:pt idx="1477">0.944967577</cx:pt>
          <cx:pt idx="1478">0.95163005700000003</cx:pt>
          <cx:pt idx="1479">0.96342188600000001</cx:pt>
          <cx:pt idx="1480">0.97094407100000002</cx:pt>
          <cx:pt idx="1481">0.97128270699999997</cx:pt>
          <cx:pt idx="1482">0.97247976599999997</cx:pt>
          <cx:pt idx="1483">0.97402340700000001</cx:pt>
          <cx:pt idx="1484">0.97436195699999995</cx:pt>
          <cx:pt idx="1485">0.97777984200000001</cx:pt>
          <cx:pt idx="1486">0.98512873599999995</cx:pt>
          <cx:pt idx="1487">0.98598049399999999</cx:pt>
          <cx:pt idx="1488">0.98683498700000005</cx:pt>
          <cx:pt idx="1489">0.98734691399999996</cx:pt>
          <cx:pt idx="1490">0.99845489200000004</cx:pt>
          <cx:pt idx="1491">0.99897074900000005</cx:pt>
          <cx:pt idx="1492">0.99999588399999995</cx:pt>
          <cx:pt idx="1493">1.0003358010000001</cx:pt>
          <cx:pt idx="1494">1.003240479</cx:pt>
          <cx:pt idx="1495">1.0034137700000001</cx:pt>
          <cx:pt idx="1496">1.012676898</cx:pt>
          <cx:pt idx="1497">1.01349405</cx:pt>
          <cx:pt idx="1498">1.0136646060000001</cx:pt>
          <cx:pt idx="1499">1.015376241</cx:pt>
          <cx:pt idx="1500">1.0158894489999999</cx:pt>
          <cx:pt idx="1501">1.0165706510000001</cx:pt>
          <cx:pt idx="1502">1.0234063360000001</cx:pt>
          <cx:pt idx="1503">1.02443412</cx:pt>
          <cx:pt idx="1504">1.025115236</cx:pt>
          <cx:pt idx="1505">1.0264829369999999</cx:pt>
          <cx:pt idx="1506">1.026657596</cx:pt>
          <cx:pt idx="1507">1.0295609059999999</cx:pt>
          <cx:pt idx="1508">1.0302446709999999</cx:pt>
          <cx:pt idx="1509">1.033149348</cx:pt>
          <cx:pt idx="1510">1.0471607220000001</cx:pt>
          <cx:pt idx="1511">1.0514330140000001</cx:pt>
          <cx:pt idx="1512">1.0526313549999999</cx:pt>
          <cx:pt idx="1513">1.0529793039999999</cx:pt>
          <cx:pt idx="1514">1.0548508999999999</cx:pt>
          <cx:pt idx="1515">1.07040318</cx:pt>
          <cx:pt idx="1516">1.0712656199999999</cx:pt>
          <cx:pt idx="1517">1.0714348950000001</cx:pt>
          <cx:pt idx="1518">1.075703257</cx:pt>
          <cx:pt idx="1519">1.078434643</cx:pt>
          <cx:pt idx="1520">1.080830043</cx:pt>
          <cx:pt idx="1521">1.081512526</cx:pt>
          <cx:pt idx="1522">1.0866393110000001</cx:pt>
          <cx:pt idx="1523">1.086815251</cx:pt>
          <cx:pt idx="1524">1.0869832450000001</cx:pt>
          <cx:pt idx="1525">1.0900584790000001</cx:pt>
          <cx:pt idx="1526">1.090747712</cx:pt>
          <cx:pt idx="1527">1.0958664659999999</cx:pt>
          <cx:pt idx="1528">1.099285633</cx:pt>
          <cx:pt idx="1529">1.0994549929999999</cx:pt>
          <cx:pt idx="1530">1.099802857</cx:pt>
          <cx:pt idx="1531">1.100138759</cx:pt>
          <cx:pt idx="1532">1.1085141549999999</cx:pt>
          <cx:pt idx="1533">1.108854072</cx:pt>
          <cx:pt idx="1534">1.1132996559999999</cx:pt>
          <cx:pt idx="1535">1.117745325</cx:pt>
          <cx:pt idx="1536">1.1191143079999999</cx:pt>
          <cx:pt idx="1537">1.123386601</cx:pt>
          <cx:pt idx="1538">1.124924944</cx:pt>
          <cx:pt idx="1539">1.1266311950000001</cx:pt>
          <cx:pt idx="1540">1.1269711120000001</cx:pt>
          <cx:pt idx="1541">1.1274856879999999</cx:pt>
          <cx:pt idx="1542">1.128342744</cx:pt>
          <cx:pt idx="1543">1.128849287</cx:pt>
          <cx:pt idx="1544">1.14253809</cx:pt>
          <cx:pt idx="1545">1.143548528</cx:pt>
          <cx:pt idx="1546">1.1454280699999999</cx:pt>
          <cx:pt idx="1547">1.1456053770000001</cx:pt>
          <cx:pt idx="1548">1.146453119</cx:pt>
          <cx:pt idx="1549">1.1591141380000001</cx:pt>
          <cx:pt idx="1550">1.1601245760000001</cx:pt>
          <cx:pt idx="1551">1.16405567</cx:pt>
          <cx:pt idx="1552">1.1642316100000001</cx:pt>
          <cx:pt idx="1553">1.1645688780000001</cx:pt>
          <cx:pt idx="1554">1.1666243599999999</cx:pt>
          <cx:pt idx="1555">1.171580504</cx:pt>
          <cx:pt idx="1556">1.1732841060000001</cx:pt>
          <cx:pt idx="1557">1.1739719719999999</cx:pt>
          <cx:pt idx="1558">1.174486462</cx:pt>
          <cx:pt idx="1559">1.1749996709999999</cx:pt>
          <cx:pt idx="1560">1.1790987580000001</cx:pt>
          <cx:pt idx="1561">1.1799505159999999</cx:pt>
          <cx:pt idx="1562">1.180126456</cx:pt>
          <cx:pt idx="1563">1.1826831840000001</cx:pt>
          <cx:pt idx="1564">1.1833737</cx:pt>
          <cx:pt idx="1565">1.183552374</cx:pt>
          <cx:pt idx="1566">1.18388161</cx:pt>
          <cx:pt idx="1567">1.1924249140000001</cx:pt>
          <cx:pt idx="1568">1.1926008539999999</cx:pt>
          <cx:pt idx="1569">1.1946497570000001</cx:pt>
          <cx:pt idx="1570">1.198578116</cx:pt>
          <cx:pt idx="1571">1.1997778240000001</cx:pt>
          <cx:pt idx="1572">1.201154839</cx:pt>
          <cx:pt idx="1573">1.2013161670000001</cx:pt>
          <cx:pt idx="1574">1.201484075</cx:pt>
          <cx:pt idx="1575">1.2018293760000001</cx:pt>
          <cx:pt idx="1576">1.2021692930000001</cx:pt>
          <cx:pt idx="1577">1.2127654299999999</cx:pt>
          <cx:pt idx="1578">1.2218233089999999</cx:pt>
          <cx:pt idx="1579">1.2254117520000001</cx:pt>
          <cx:pt idx="1580">1.226092953</cx:pt>
          <cx:pt idx="1581">1.227463303</cx:pt>
          <cx:pt idx="1582">1.231732947</cx:pt>
          <cx:pt idx="1583">1.238912566</cx:pt>
          <cx:pt idx="1584">1.239264446</cx:pt>
          <cx:pt idx="1585">1.240110906</cx:pt>
          <cx:pt idx="1586">1.24455256</cx:pt>
          <cx:pt idx="1587">1.2447204679999999</cx:pt>
          <cx:pt idx="1588">1.2515588870000001</cx:pt>
          <cx:pt idx="1589">1.253779714</cx:pt>
          <cx:pt idx="1590">1.2563404579999999</cx:pt>
          <cx:pt idx="1591">1.257366875</cx:pt>
          <cx:pt idx="1592">1.2606180490000001</cx:pt>
          <cx:pt idx="1593">1.2618124580000001</cx:pt>
          <cx:pt idx="1594">1.261980452</cx:pt>
          <cx:pt idx="1595">1.2712088880000001</cx:pt>
          <cx:pt idx="1596">1.275651823</cx:pt>
          <cx:pt idx="1597">1.2761676799999999</cx:pt>
          <cx:pt idx="1598">1.276508964</cx:pt>
          <cx:pt idx="1599">1.281975667</cx:pt>
          <cx:pt idx="1600">1.2905336679999999</cx:pt>
          <cx:pt idx="1601">1.2915480370000001</cx:pt>
          <cx:pt idx="1602">1.2956604540000001</cx:pt>
          <cx:pt idx="1603">1.2966748219999999</cx:pt>
          <cx:pt idx="1604">1.29963282</cx:pt>
          <cx:pt idx="1605">1.303341233</cx:pt>
          <cx:pt idx="1606">1.311370046</cx:pt>
          <cx:pt idx="1607">1.3125697540000001</cx:pt>
          <cx:pt idx="1608">1.313252238</cx:pt>
          <cx:pt idx="1609">1.314790581</cx:pt>
          <cx:pt idx="1610">1.3211130579999999</cx:pt>
          <cx:pt idx="1611">1.325725268</cx:pt>
          <cx:pt idx="1612">1.3259092400000001</cx:pt>
          <cx:pt idx="1613">1.3320478309999999</cx:pt>
          <cx:pt idx="1614">1.334103313</cx:pt>
          <cx:pt idx="1615">1.3382036820000001</cx:pt>
          <cx:pt idx="1616">1.341105625</cx:pt>
          <cx:pt idx="1617">1.3412895970000001</cx:pt>
          <cx:pt idx="1618">1.3418028049999999</cx:pt>
          <cx:pt idx="1619">1.3477840830000001</cx:pt>
          <cx:pt idx="1620">1.351704496</cx:pt>
          <cx:pt idx="1621">1.3535853200000001</cx:pt>
          <cx:pt idx="1622">1.3544491270000001</cx:pt>
          <cx:pt idx="1623">1.354961053</cx:pt>
          <cx:pt idx="1624">1.3573538039999999</cx:pt>
          <cx:pt idx="1625">1.3588814659999999</cx:pt>
          <cx:pt idx="1626">1.3593933069999999</cx:pt>
          <cx:pt idx="1627">1.359746554</cx:pt>
          <cx:pt idx="1628">1.360258481</cx:pt>
          <cx:pt idx="1629">1.3607716889999999</cx:pt>
          <cx:pt idx="1630">1.360942246</cx:pt>
          <cx:pt idx="1631">1.3672660910000001</cx:pt>
          <cx:pt idx="1632">1.367607375</cx:pt>
          <cx:pt idx="1633">1.3708546180000001</cx:pt>
          <cx:pt idx="1634">1.3716997120000001</cx:pt>
          <cx:pt idx="1635">1.375810762</cx:pt>
          <cx:pt idx="1636">1.3766545729999999</cx:pt>
          <cx:pt idx="1637">1.3768358110000001</cx:pt>
          <cx:pt idx="1638">1.3775196620000001</cx:pt>
          <cx:pt idx="1639">1.3787060390000001</cx:pt>
          <cx:pt idx="1640">1.3804136579999999</cx:pt>
          <cx:pt idx="1641">1.3961472610000001</cx:pt>
          <cx:pt idx="1642">1.397161715</cx:pt>
          <cx:pt idx="1643">1.3973429530000001</cx:pt>
          <cx:pt idx="1644">1.3980188570000001</cx:pt>
          <cx:pt idx="1645">1.4105025680000001</cx:pt>
          <cx:pt idx="1646">1.4197216909999999</cx:pt>
          <cx:pt idx="1647">1.420404174</cx:pt>
          <cx:pt idx="1648">1.424848476</cx:pt>
          <cx:pt idx="1649">1.425199074</cx:pt>
          <cx:pt idx="1650">1.4453608309999999</cx:pt>
          <cx:pt idx="1651">1.4549288419999999</cx:pt>
          <cx:pt idx="1652">1.4607397339999999</cx:pt>
          <cx:pt idx="1653">1.4616037120000001</cx:pt>
          <cx:pt idx="1654">1.4621170910000001</cx:pt>
          <cx:pt idx="1655">1.4622784200000001</cx:pt>
          <cx:pt idx="1656">1.4627864159999999</cx:pt>
          <cx:pt idx="1657">1.463130434</cx:pt>
          <cx:pt idx="1658">1.463299795</cx:pt>
          <cx:pt idx="1659">1.463470437</cx:pt>
          <cx:pt idx="1660">1.463709097</cx:pt>
          <cx:pt idx="1661">1.4639971460000001</cx:pt>
          <cx:pt idx="1662">1.464495828</cx:pt>
          <cx:pt idx="1663">1.4646664700000001</cx:pt>
          <cx:pt idx="1664">1.4648371979999999</cx:pt>
          <cx:pt idx="1665">1.4651838660000001</cx:pt>
          <cx:pt idx="1666">1.465350492</cx:pt>
          <cx:pt idx="1667">1.465690494</cx:pt>
          <cx:pt idx="1668">1.465862504</cx:pt>
          <cx:pt idx="1669">1.4660398969999999</cx:pt>
          <cx:pt idx="1670">1.4662065230000001</cx:pt>
          <cx:pt idx="1671">1.466375883</cx:pt>
          <cx:pt idx="1672">1.466546525</cx:pt>
          <cx:pt idx="1673">1.466718535</cx:pt>
          <cx:pt idx="1674">1.466886613</cx:pt>
          <cx:pt idx="1675">1.467230547</cx:pt>
          <cx:pt idx="1676">1.467401274</cx:pt>
          <cx:pt idx="1677">1.467741277</cx:pt>
          <cx:pt idx="1678">1.4679132859999999</cx:pt>
          <cx:pt idx="1679">1.4679145680000001</cx:pt>
          <cx:pt idx="1680">1.4680852959999999</cx:pt>
          <cx:pt idx="1681">1.468254656</cx:pt>
          <cx:pt idx="1682">1.46859859</cx:pt>
          <cx:pt idx="1683">1.468941327</cx:pt>
          <cx:pt idx="1684">1.4691093200000001</cx:pt>
          <cx:pt idx="1685">1.4692799620000001</cx:pt>
          <cx:pt idx="1686">1.4703053530000001</cx:pt>
          <cx:pt idx="1687">1.470649372</cx:pt>
          <cx:pt idx="1688">1.4709920240000001</cx:pt>
          <cx:pt idx="1689">1.4715054030000001</cx:pt>
          <cx:pt idx="1690">1.4716733959999999</cx:pt>
          <cx:pt idx="1691">1.4720144150000001</cx:pt>
          <cx:pt idx="1692">1.4723587849999999</cx:pt>
          <cx:pt idx="1693">1.4725280599999999</cx:pt>
          <cx:pt idx="1694">1.472698788</cx:pt>
          <cx:pt idx="1695">1.473042806</cx:pt>
          <cx:pt idx="1696">1.473213449</cx:pt>
          <cx:pt idx="1697">1.4739654879999999</cx:pt>
          <cx:pt idx="1698">1.4740681120000001</cx:pt>
          <cx:pt idx="1699">1.4742388399999999</cx:pt>
          <cx:pt idx="1700">1.4745788419999999</cx:pt>
          <cx:pt idx="1701">1.474922861</cx:pt>
          <cx:pt idx="1702">1.475092136</cx:pt>
          <cx:pt idx="1703">1.4754361549999999</cx:pt>
          <cx:pt idx="1704">1.475606883</cx:pt>
          <cx:pt idx="1705">1.475777525</cx:pt>
          <cx:pt idx="1706">1.4759468849999999</cx:pt>
          <cx:pt idx="1707">1.4762909040000001</cx:pt>
          <cx:pt idx="1708">1.4764588970000001</cx:pt>
          <cx:pt idx="1709">1.476529564</cx:pt>
          <cx:pt idx="1710">1.476632189</cx:pt>
          <cx:pt idx="1711">1.476972191</cx:pt>
          <cx:pt idx="1712">1.4773135610000001</cx:pt>
          <cx:pt idx="1713">1.47748557</cx:pt>
          <cx:pt idx="1714">1.478000231</cx:pt>
          <cx:pt idx="1715">1.4781709590000001</cx:pt>
          <cx:pt idx="1716">1.4785122429999999</cx:pt>
          <cx:pt idx="1717">1.4786842529999999</cx:pt>
          <cx:pt idx="1718">1.4790269039999999</cx:pt>
          <cx:pt idx="1719">1.4790775759999999</cx:pt>
          <cx:pt idx="1720">1.4791975470000001</cx:pt>
          <cx:pt idx="1721">1.4795388309999999</cx:pt>
          <cx:pt idx="1722">1.479706824</cx:pt>
          <cx:pt idx="1723">1.4798774669999999</cx:pt>
          <cx:pt idx="1724">1.4803920420000001</cx:pt>
          <cx:pt idx="1725">1.485007414</cx:pt>
          <cx:pt idx="1726">1.48569135</cx:pt>
          <cx:pt idx="1727">1.485861992</cx:pt>
          <cx:pt idx="1728">1.486031267</cx:pt>
          <cx:pt idx="1729">1.486201909</cx:pt>
          <cx:pt idx="1730">1.4863751999999999</cx:pt>
          <cx:pt idx="1731">1.4865472099999999</cx:pt>
          <cx:pt idx="1732">1.4867164850000001</cx:pt>
          <cx:pt idx="1733">1.4867685230000001</cx:pt>
          <cx:pt idx="1734">1.4868871269999999</cx:pt>
          <cx:pt idx="1735">1.487056487</cx:pt>
          <cx:pt idx="1736">1.488254999</cx:pt>
          <cx:pt idx="1737">1.4884229069999999</cx:pt>
          <cx:pt idx="1738">1.488594916</cx:pt>
          <cx:pt idx="1739">1.4887655580000001</cx:pt>
          <cx:pt idx="1740">1.488938849</cx:pt>
          <cx:pt idx="1741">1.4891068430000001</cx:pt>
          <cx:pt idx="1742">1.489281501</cx:pt>
          <cx:pt idx="1743">1.4894521430000001</cx:pt>
          <cx:pt idx="1744">1.4896227849999999</cx:pt>
          <cx:pt idx="1745">1.4897934269999999</cx:pt>
          <cx:pt idx="1746">1.4899640700000001</cx:pt>
          <cx:pt idx="1747">1.4901347119999999</cx:pt>
          <cx:pt idx="1748">1.4903039870000001</cx:pt>
          <cx:pt idx="1749">1.4904746289999999</cx:pt>
          <cx:pt idx="1750">1.49064792</cx:pt>
          <cx:pt idx="1751">1.490815913</cx:pt>
          <cx:pt idx="1752">1.490989205</cx:pt>
          <cx:pt idx="1753">1.491159847</cx:pt>
          <cx:pt idx="1754">1.491331856</cx:pt>
          <cx:pt idx="1755">1.491502498</cx:pt>
          <cx:pt idx="1756">1.4916731409999999</cx:pt>
          <cx:pt idx="1757">1.491843783</cx:pt>
          <cx:pt idx="1758">1.492186434</cx:pt>
          <cx:pt idx="1759">1.4923570770000001</cx:pt>
          <cx:pt idx="1760">1.4926969940000001</cx:pt>
          <cx:pt idx="1761">1.492869003</cx:pt>
          <cx:pt idx="1762">1.4932089200000001</cx:pt>
          <cx:pt idx="1763">1.4933822109999999</cx:pt>
          <cx:pt idx="1764">1.493550205</cx:pt>
          <cx:pt idx="1765">1.493895505</cx:pt>
          <cx:pt idx="1766">1.494234141</cx:pt>
          <cx:pt idx="1767">1.4944100810000001</cx:pt>
          <cx:pt idx="1768">1.4947513649999999</cx:pt>
          <cx:pt idx="1769">1.4950886329999999</cx:pt>
          <cx:pt idx="1770">1.49526201</cx:pt>
          <cx:pt idx="1771">1.4956019270000001</cx:pt>
          <cx:pt idx="1772">1.4957752179999999</cx:pt>
          <cx:pt idx="1773">1.495943212</cx:pt>
          <cx:pt idx="1774">1.49679779</cx:pt>
          <cx:pt idx="1775">1.496972363</cx:pt>
          <cx:pt idx="1776">1.4973136469999999</cx:pt>
          <cx:pt idx="1777">1.497484289</cx:pt>
          <cx:pt idx="1778">1.4976549320000001</cx:pt>
          <cx:pt idx="1779">1.497824292</cx:pt>
          <cx:pt idx="1780">1.4979975830000001</cx:pt>
          <cx:pt idx="1781">1.4981682249999999</cx:pt>
          <cx:pt idx="1782">1.4985068610000001</cx:pt>
          <cx:pt idx="1783">1.4986801519999999</cx:pt>
          <cx:pt idx="1784">1.4990228029999999</cx:pt>
          <cx:pt idx="1785">1.499193446</cx:pt>
          <cx:pt idx="1786">1.4993614390000001</cx:pt>
          <cx:pt idx="1787">1.499586683</cx:pt>
          <cx:pt idx="1788">1.4997066539999999</cx:pt>
          <cx:pt idx="1789">1.4998746469999999</cx:pt>
          <cx:pt idx="1790">1.500217299</cx:pt>
          <cx:pt idx="1791">1.500389223</cx:pt>
          <cx:pt idx="1792">1.500731874</cx:pt>
          <cx:pt idx="1793">1.5009025170000001</cx:pt>
          <cx:pt idx="1794">1.5010705099999999</cx:pt>
          <cx:pt idx="1795">1.501243801</cx:pt>
          <cx:pt idx="1796">1.5014158099999999</cx:pt>
          <cx:pt idx="1797">1.501583718</cx:pt>
          <cx:pt idx="1798">1.501925003</cx:pt>
          <cx:pt idx="1799">1.5020996609999999</cx:pt>
          <cx:pt idx="1800">1.502150332</cx:pt>
          <cx:pt idx="1801">1.502270303</cx:pt>
          <cx:pt idx="1802">1.502438296</cx:pt>
          <cx:pt idx="1803">1.5026115879999999</cx:pt>
          <cx:pt idx="1804">1.502779581</cx:pt>
          <cx:pt idx="1805">1.5029528720000001</cx:pt>
          <cx:pt idx="1806">1.5031222319999999</cx:pt>
          <cx:pt idx="1807">1.5032955240000001</cx:pt>
          <cx:pt idx="1808">1.5034635169999999</cx:pt>
          <cx:pt idx="1809">1.503806083</cx:pt>
          <cx:pt idx="1810">1.503976725</cx:pt>
          <cx:pt idx="1811">1.5041500160000001</cx:pt>
          <cx:pt idx="1812">1.50431801</cx:pt>
          <cx:pt idx="1813">1.5044913010000001</cx:pt>
          <cx:pt idx="1814">1.504660661</cx:pt>
          <cx:pt idx="1815">1.504715263</cx:pt>
          <cx:pt idx="1816">1.505005876</cx:pt>
          <cx:pt idx="1817">1.505175237</cx:pt>
          <cx:pt idx="1818">1.505345793</cx:pt>
          <cx:pt idx="1819">1.505515154</cx:pt>
          <cx:pt idx="1820">1.5056857960000001</cx:pt>
          <cx:pt idx="1821">1.5058590869999999</cx:pt>
          <cx:pt idx="1822">1.506026995</cx:pt>
          <cx:pt idx="1823">1.5062002860000001</cx:pt>
          <cx:pt idx="1824">1.5063696470000001</cx:pt>
          <cx:pt idx="1825">1.506544219</cx:pt>
          <cx:pt idx="1826">1.5068814880000001</cx:pt>
          <cx:pt idx="1827">1.507053497</cx:pt>
          <cx:pt idx="1828">1.5072267880000001</cx:pt>
          <cx:pt idx="1829">1.5072827579999999</cx:pt>
          <cx:pt idx="1830">1.507394782</cx:pt>
          <cx:pt idx="1831">1.507565338</cx:pt>
          <cx:pt idx="1832">1.5077387149999999</cx:pt>
          <cx:pt idx="1833">1.507906623</cx:pt>
          <cx:pt idx="1834">1.5080786319999999</cx:pt>
          <cx:pt idx="1835">1.508251923</cx:pt>
          <cx:pt idx="1836">1.5084198310000001</cx:pt>
          <cx:pt idx="1837">1.5085904729999999</cx:pt>
          <cx:pt idx="1838">1.508933125</cx:pt>
          <cx:pt idx="1839">1.509105049</cx:pt>
          <cx:pt idx="1840">1.5091064160000001</cx:pt>
          <cx:pt idx="1841">1.5092743239999999</cx:pt>
          <cx:pt idx="1842">1.509444966</cx:pt>
          <cx:pt idx="1843">1.5096169749999999</cx:pt>
          <cx:pt idx="1844">1.5099609089999999</cx:pt>
          <cx:pt idx="1845">1.5101288159999999</cx:pt>
          <cx:pt idx="1846">1.5108127520000001</cx:pt>
          <cx:pt idx="1847">1.510983309</cx:pt>
          <cx:pt idx="1848">1.5111539510000001</cx:pt>
          <cx:pt idx="1849">1.5114966030000001</cx:pt>
          <cx:pt idx="1850">1.5116711759999999</cx:pt>
          <cx:pt idx="1851">1.511840536</cx:pt>
          <cx:pt idx="1852">1.512181735</cx:pt>
          <cx:pt idx="1853">1.512351096</cx:pt>
          <cx:pt idx="1854">1.512521652</cx:pt>
          <cx:pt idx="1855">1.512865586</cx:pt>
          <cx:pt idx="1856">1.5130349460000001</cx:pt>
          <cx:pt idx="1857">1.5132055879999999</cx:pt>
          <cx:pt idx="1858">1.5133761450000001</cx:pt>
          <cx:pt idx="1859">1.5135495219999999</cx:pt>
          <cx:pt idx="1860">1.51371743</cx:pt>
          <cx:pt idx="1861">1.5138907210000001</cx:pt>
          <cx:pt idx="1862">1.5142306379999999</cx:pt>
          <cx:pt idx="1863">1.514404015</cx:pt>
          <cx:pt idx="1864">1.51457329</cx:pt>
          <cx:pt idx="1865">1.514743932</cx:pt>
          <cx:pt idx="1866">1.5150878649999999</cx:pt>
          <cx:pt idx="1867">1.515255773</cx:pt>
          <cx:pt idx="1868">1.5154290640000001</cx:pt>
          <cx:pt idx="1869">1.5157690669999999</cx:pt>
          <cx:pt idx="1870">1.515939623</cx:pt>
          <cx:pt idx="1871">1.516113</cx:pt>
          <cx:pt idx="1872">1.709172194</cx:pt>
          <cx:pt idx="1873">2.1031505159999999</cx:pt>
          <cx:pt idx="1874">2.303873136</cx:pt>
          <cx:pt idx="1875">2.4985043170000001</cx:pt>
          <cx:pt idx="1876">2.6916617760000001</cx:pt>
          <cx:pt idx="1877">3.4825658850000001</cx:pt>
          <cx:pt idx="1878">3.6771970660000002</cx:pt>
          <cx:pt idx="1879">3.8719265119999999</cx:pt>
          <cx:pt idx="1880">4.0711754109999996</cx:pt>
          <cx:pt idx="1881">4.2642346050000004</cx:pt>
          <cx:pt idx="1882">4.65664094</cx:pt>
          <cx:pt idx="1883">4.8544160940000003</cx:pt>
          <cx:pt idx="1884">5.0536649929999999</cx:pt>
          <cx:pt idx="1885">5.2467241869999999</cx:pt>
          <cx:pt idx="1886">5.6421762299999996</cx:pt>
          <cx:pt idx="1887">5.8369056759999998</cx:pt>
          <cx:pt idx="1888">6.0361545750000003</cx:pt>
          <cx:pt idx="1889">6.4254169369999996</cx:pt>
          <cx:pt idx="1890">6.6231920899999999</cx:pt>
          <cx:pt idx="1891">6.8224409660000003</cx:pt>
          <cx:pt idx="1892">7.214847324</cx:pt>
          <cx:pt idx="1893">7.4079065179999999</cx:pt>
          <cx:pt idx="1894">7.6071553940000003</cx:pt>
          <cx:pt idx="1895">7.9979897649999998</cx:pt>
          <cx:pt idx="1896">8.1988106270000003</cx:pt>
          <cx:pt idx="1897">8.3934418080000004</cx:pt>
          <cx:pt idx="1898">8.7858481659999992</cx:pt>
          <cx:pt idx="1899">8.9804793469999993</cx:pt>
          <cx:pt idx="1900">9.1798264879999998</cx:pt>
          <cx:pt idx="1901">9.3728856819999997</cx:pt>
          <cx:pt idx="1902">10.159172099999999</cx:pt>
          <cx:pt idx="1903">10.355375260000001</cx:pt>
          <cx:pt idx="1904">10.55462414</cx:pt>
          <cx:pt idx="1905">10.94545851</cx:pt>
          <cx:pt idx="1906">11.144707390000001</cx:pt>
          <cx:pt idx="1907">11.337864850000001</cx:pt>
          <cx:pt idx="1908">11.535640000000001</cx:pt>
          <cx:pt idx="1909">12.181631619999999</cx:pt>
          <cx:pt idx="1910">12.817670039999999</cx:pt>
          <cx:pt idx="1911">13.468798700000001</cx:pt>
          <cx:pt idx="1912">14.75114978</cx:pt>
          <cx:pt idx="1913">15.38718828</cx:pt>
          <cx:pt idx="1914">16.03863806</cx:pt>
          <cx:pt idx="1915">16.669539360000002</cx:pt>
          <cx:pt idx="1916">17.310714900000001</cx:pt>
          <cx:pt idx="1917">17.95702756</cx:pt>
          <cx:pt idx="1918">18.59788206</cx:pt>
          <cx:pt idx="1919">19.239057599999999</cx:pt>
          <cx:pt idx="1920">20.531361799999999</cx:pt>
          <cx:pt idx="1921">21.162584219999999</cx:pt>
          <cx:pt idx="1922">21.818850000000001</cx:pt>
          <cx:pt idx="1923">23.495703580000001</cx:pt>
          <cx:pt idx="1924">24.389167220000001</cx:pt>
          <cx:pt idx="1925">25.654692839999999</cx:pt>
          <cx:pt idx="1926">26.960128090000001</cx:pt>
          <cx:pt idx="1927">32.102049999999998</cx:pt>
          <cx:pt idx="1928">35.65186542</cx:pt>
          <cx:pt idx="1929">36.090362910000003</cx:pt>
          <cx:pt idx="1930">36.525540149999998</cx:pt>
          <cx:pt idx="1931">37.412938689999997</cx:pt>
          <cx:pt idx="1932">37.861839680000003</cx:pt>
          <cx:pt idx="1933">38.297016919999997</cx:pt>
          <cx:pt idx="1934">38.739056040000001</cx:pt>
          <cx:pt idx="1935">39.626454580000001</cx:pt>
          <cx:pt idx="1936">40.068493699999998</cx:pt>
          <cx:pt idx="1937">40.520714990000002</cx:pt>
          <cx:pt idx="1938">41.39793135</cx:pt>
          <cx:pt idx="1939">41.84683235</cx:pt>
          <cx:pt idx="1940">42.282009590000001</cx:pt>
          <cx:pt idx="1941">43.176270000000002</cx:pt>
          <cx:pt idx="1942">43.769878310000003</cx:pt>
          <cx:pt idx="1943">44.382206670000002</cx:pt>
          <cx:pt idx="1944">45.587841419999997</cx:pt>
          <cx:pt idx="1945">46.181449729999997</cx:pt>
          <cx:pt idx="1946">46.793778080000003</cx:pt>
          <cx:pt idx="1947">47.994883819999998</cx:pt>
          <cx:pt idx="1948">48.607212169999997</cx:pt>
          <cx:pt idx="1949">49.200820479999997</cx:pt>
          <cx:pt idx="1950">50.420646259999998</cx:pt>
          <cx:pt idx="1951">51.014254569999999</cx:pt>
          <cx:pt idx="1952">51.617222900000002</cx:pt>
          <cx:pt idx="1953">52.82768858</cx:pt>
          <cx:pt idx="1954">53.440017009999998</cx:pt>
          <cx:pt idx="1955">54.645953669999997</cx:pt>
          <cx:pt idx="1956">55.239260000000002</cx:pt>
          <cx:pt idx="1957">56.027448460000002</cx:pt>
          <cx:pt idx="1958">56.419970290000002</cx:pt>
          <cx:pt idx="1959">56.821533629999998</cx:pt>
          <cx:pt idx="1960">57.603432300000001</cx:pt>
          <cx:pt idx="1961">58.394569060000002</cx:pt>
          <cx:pt idx="1962">58.77785274</cx:pt>
          <cx:pt idx="1963">59.176467770000002</cx:pt>
          <cx:pt idx="1964">59.958366439999999</cx:pt>
          <cx:pt idx="1965">60.356981470000001</cx:pt>
          <cx:pt idx="1966">60.743409999999997</cx:pt>
          <cx:pt idx="1967">61.53140192</cx:pt>
          <cx:pt idx="1968">61.923923700000003</cx:pt>
          <cx:pt idx="1969">62.316445479999999</cx:pt>
          <cx:pt idx="1970">63.101489039999997</cx:pt>
          <cx:pt idx="1971">63.50010408</cx:pt>
          <cx:pt idx="1972">63.88948096</cx:pt>
          <cx:pt idx="1973">64.680617769999998</cx:pt>
          <cx:pt idx="1974">65.069994660000006</cx:pt>
          <cx:pt idx="1975">65.462516440000002</cx:pt>
          <cx:pt idx="1976">66.247559999999993</cx:pt>
          <cx:pt idx="1977">66.147246580000001</cx:pt>
          <cx:pt idx="1978">66.046078789999996</cx:pt>
          <cx:pt idx="1979">65.944157149999995</cx:pt>
          <cx:pt idx="1980">65.542752710000002</cx:pt>
          <cx:pt idx="1981">65.441584910000003</cx:pt>
          <cx:pt idx="1982">65.240103700000006</cx:pt>
          <cx:pt idx="1983">65.207939080000003</cx:pt>
          <cx:pt idx="1984">65.142102120000004</cx:pt>
          <cx:pt idx="1985">65.04098458</cx:pt>
          <cx:pt idx="1986">64.840257230000006</cx:pt>
          <cx:pt idx="1987">64.739893559999999</cx:pt>
          <cx:pt idx="1988">64.637971919999998</cx:pt>
          <cx:pt idx="1989">64.538412350000002</cx:pt>
          <cx:pt idx="1990">64.337684999999993</cx:pt>
          <cx:pt idx="1991">64.235763360000007</cx:pt>
          <cx:pt idx="1992">64.136957649999999</cx:pt>
          <cx:pt idx="1993">63.935476440000002</cx:pt>
          <cx:pt idx="1994">63.833554800000002</cx:pt>
          <cx:pt idx="1995">63.734749090000001</cx:pt>
          <cx:pt idx="1996">63.533267879999997</cx:pt>
          <cx:pt idx="1997">63.432904209999997</cx:pt>
          <cx:pt idx="1998">63.330982570000003</cx:pt>
          <cx:pt idx="1999">63.130305470000003</cx:pt>
          <cx:pt idx="2000">63.030695649999998</cx:pt>
          <cx:pt idx="2001">62.93038224</cx:pt>
          <cx:pt idx="2002">62.729654879999998</cx:pt>
          <cx:pt idx="2003">62.62692912</cx:pt>
          <cx:pt idx="2004">62.528173690000003</cx:pt>
          <cx:pt idx="2005">62.426252030000001</cx:pt>
          <cx:pt idx="2006">62.22708265</cx:pt>
          <cx:pt idx="2007">62.12671898</cx:pt>
          <cx:pt idx="2008">61.925237780000003</cx:pt>
          <cx:pt idx="2009">61.121624779999998</cx:pt>
          <cx:pt idx="2010">61.019703130000003</cx:pt>
          <cx:pt idx="2011">60.920093319999999</cx:pt>
          <cx:pt idx="2012">60.719416219999999</cx:pt>
          <cx:pt idx="2013">60.617494569999998</cx:pt>
          <cx:pt idx="2014">60.517884760000001</cx:pt>
          <cx:pt idx="2015">60.417571340000002</cx:pt>
          <cx:pt idx="2016">60.317207660000001</cx:pt>
          <cx:pt idx="2017">60.216843990000001</cx:pt>
          <cx:pt idx="2018">60.115676200000003</cx:pt>
          <cx:pt idx="2019">60.014558659999999</cx:pt>
          <cx:pt idx="2020">59.914999109999997</cx:pt>
          <cx:pt idx="2021">59.813077450000002</cx:pt>
          <cx:pt idx="2022">59.714271760000003</cx:pt>
          <cx:pt idx="2023">59.512790549999998</cx:pt>
          <cx:pt idx="2024">59.412426869999997</cx:pt>
          <cx:pt idx="2025">59.312063199999997</cx:pt>
          <cx:pt idx="2026">59.109777870000002</cx:pt>
          <cx:pt idx="2027">59.01021832</cx:pt>
          <cx:pt idx="2028">58.909854639999999</cx:pt>
          <cx:pt idx="2029">58.70917755</cx:pt>
          <cx:pt idx="2030">58.608813869999999</cx:pt>
          <cx:pt idx="2031">58.506892219999997</cx:pt>
          <cx:pt idx="2032">58.407282410000001</cx:pt>
          <cx:pt idx="2033">58.306968990000001</cx:pt>
          <cx:pt idx="2034">58.205047350000001</cx:pt>
          <cx:pt idx="2035">58.105437530000003</cx:pt>
          <cx:pt idx="2036">57.704033080000002</cx:pt>
          <cx:pt idx="2037">57.603669410000002</cx:pt>
          <cx:pt idx="2038">57.199902880000003</cx:pt>
          <cx:pt idx="2039">57.10034332</cx:pt>
          <cx:pt idx="2040">56.998421669999999</cx:pt>
          <cx:pt idx="2041">56.797694329999999</cx:pt>
          <cx:pt idx="2042">56.698938869999999</cx:pt>
          <cx:pt idx="2043">56.597771080000001</cx:pt>
          <cx:pt idx="2044">56.196366640000001</cx:pt>
          <cx:pt idx="2045">55.994885439999997</cx:pt>
          <cx:pt idx="2046">55.892963790000003</cx:pt>
          <cx:pt idx="2047">55.794158080000003</cx:pt>
          <cx:pt idx="2048">55.593430740000002</cx:pt>
          <cx:pt idx="2049">55.492313209999999</cx:pt>
          <cx:pt idx="2050">55.390391559999998</cx:pt>
          <cx:pt idx="2051">55.189664209999997</cx:pt>
          <cx:pt idx="2052">55.090104650000001</cx:pt>
          <cx:pt idx="2053">54.989740980000001</cx:pt>
          <cx:pt idx="2054">54.889377289999999</cx:pt>
          <cx:pt idx="2055">54.787455649999998</cx:pt>
          <cx:pt idx="2056">54.68870021</cx:pt>
          <cx:pt idx="2057">54.586778559999999</cx:pt>
          <cx:pt idx="2058">54.38524709</cx:pt>
          <cx:pt idx="2059">54.286491650000002</cx:pt>
          <cx:pt idx="2060">54.184570000000001</cx:pt>
          <cx:pt idx="2061">54.101708739999999</cx:pt>
          <cx:pt idx="2062">54.018262180000001</cx:pt>
          <cx:pt idx="2063">53.348432109999997</cx:pt>
          <cx:pt idx="2064">53.264316649999998</cx:pt>
          <cx:pt idx="2065">53.182124289999997</cx:pt>
          <cx:pt idx="2066">53.097339900000001</cx:pt>
          <cx:pt idx="2067">53.015189360000001</cx:pt>
          <cx:pt idx="2068">52.930404979999999</cx:pt>
          <cx:pt idx="2069">52.846916610000001</cx:pt>
          <cx:pt idx="2070">52.76405535</cx:pt>
          <cx:pt idx="2071">52.68060878</cx:pt>
          <cx:pt idx="2072">52.597120420000003</cx:pt>
          <cx:pt idx="2073">52.512336040000001</cx:pt>
          <cx:pt idx="2074">52.34602821</cx:pt>
          <cx:pt idx="2075">52.262539840000002</cx:pt>
          <cx:pt idx="2076">52.179051469999997</cx:pt>
          <cx:pt idx="2077">52.011447629999999</cx:pt>
          <cx:pt idx="2078">51.927959260000002</cx:pt>
          <cx:pt idx="2079">51.843174879999999</cx:pt>
          <cx:pt idx="2080">51.76098253</cx:pt>
          <cx:pt idx="2081">51.676198149999998</cx:pt>
          <cx:pt idx="2082">51.593378690000002</cx:pt>
          <cx:pt idx="2083">51.509890319999997</cx:pt>
          <cx:pt idx="2084">51.34295539</cx:pt>
          <cx:pt idx="2085">51.258798110000001</cx:pt>
          <cx:pt idx="2086">51.17468264</cx:pt>
          <cx:pt idx="2087">50.841398079999998</cx:pt>
          <cx:pt idx="2088">50.81464167</cx:pt>
          <cx:pt idx="2089">50.757282609999997</cx:pt>
          <cx:pt idx="2090">50.589009859999997</cx:pt>
          <cx:pt idx="2091">50.506817499999997</cx:pt>
          <cx:pt idx="2092">50.422033120000002</cx:pt>
          <cx:pt idx="2093">50.339213669999999</cx:pt>
          <cx:pt idx="2094">50.172236920000003</cx:pt>
          <cx:pt idx="2095">50.087452550000002</cx:pt>
          <cx:pt idx="2096">50.005302</cx:pt>
          <cx:pt idx="2097">49.669425410000002</cx:pt>
          <cx:pt idx="2098">49.586564150000001</cx:pt>
          <cx:pt idx="2099">49.503075780000003</cx:pt>
          <cx:pt idx="2100">49.419629219999997</cx:pt>
          <cx:pt idx="2101">49.334844830000002</cx:pt>
          <cx:pt idx="2102">49.252652480000002</cx:pt>
          <cx:pt idx="2103">49.083752619999999</cx:pt>
          <cx:pt idx="2104">49.001560269999999</cx:pt>
          <cx:pt idx="2105">48.916775889999997</cx:pt>
          <cx:pt idx="2106">48.834583539999997</cx:pt>
          <cx:pt idx="2107">48.666979699999999</cx:pt>
          <cx:pt idx="2108">48.582195310000003</cx:pt>
          <cx:pt idx="2109">48.500002960000003</cx:pt>
          <cx:pt idx="2110">48.41521857</cx:pt>
          <cx:pt idx="2111">48.332399119999998</cx:pt>
          <cx:pt idx="2112">48.247614730000002</cx:pt>
          <cx:pt idx="2113">48.165422380000003</cx:pt>
          <cx:pt idx="2114">47.998487449999999</cx:pt>
          <cx:pt idx="2115">47.91433018</cx:pt>
          <cx:pt idx="2116">47.829545789999997</cx:pt>
          <cx:pt idx="2117">47.662610870000002</cx:pt>
          <cx:pt idx="2118">47.580418510000001</cx:pt>
          <cx:pt idx="2119">47.328030290000001</cx:pt>
          <cx:pt idx="2120">47.161053559999999</cx:pt>
          <cx:pt idx="2121">47.077565180000001</cx:pt>
          <cx:pt idx="2122">47.051477679999998</cx:pt>
          <cx:pt idx="2123">46.994745719999997</cx:pt>
          <cx:pt idx="2124">46.660165149999997</cx:pt>
          <cx:pt idx="2125">46.575380770000002</cx:pt>
          <cx:pt idx="2126">46.409741850000003</cx:pt>
          <cx:pt idx="2127">46.324957470000001</cx:pt>
          <cx:pt idx="2128">46.240800190000002</cx:pt>
          <cx:pt idx="2129">46.073865259999998</cx:pt>
          <cx:pt idx="2130">45.991672909999998</cx:pt>
          <cx:pt idx="2131">45.906888530000003</cx:pt>
          <cx:pt idx="2132">45.822773050000002</cx:pt>
          <cx:pt idx="2133">45.795347739999997</cx:pt>
          <cx:pt idx="2134">45.740580700000002</cx:pt>
          <cx:pt idx="2135">45.657092329999998</cx:pt>
          <cx:pt idx="2136">45.572307950000003</cx:pt>
          <cx:pt idx="2137">45.490115590000002</cx:pt>
          <cx:pt idx="2138">45.405331220000001</cx:pt>
          <cx:pt idx="2139">45.322511749999997</cx:pt>
          <cx:pt idx="2140">45.237727380000003</cx:pt>
          <cx:pt idx="2141">45.155576830000001</cx:pt>
          <cx:pt idx="2142">44.987931189999998</cx:pt>
          <cx:pt idx="2143">44.903146800000002</cx:pt>
          <cx:pt idx="2144">44.82099625</cx:pt>
          <cx:pt idx="2145">44.6527235</cx:pt>
          <cx:pt idx="2146">44.569904049999998</cx:pt>
          <cx:pt idx="2147">44.485119660000002</cx:pt>
          <cx:pt idx="2148">44.235950580000001</cx:pt>
          <cx:pt idx="2149">44.151166189999998</cx:pt>
          <cx:pt idx="2150">44.068346730000002</cx:pt>
          <cx:pt idx="2151">43.90137</cx:pt>
          <cx:pt idx="2152">43.839164410000002</cx:pt>
          <cx:pt idx="2153">43.778400480000002</cx:pt>
          <cx:pt idx="2154">43.7157348</cx:pt>
          <cx:pt idx="2155">43.594667029999997</cx:pt>
          <cx:pt idx="2156">43.532461439999999</cx:pt>
          <cx:pt idx="2157">43.471697509999998</cx:pt>
          <cx:pt idx="2158">43.410442799999998</cx:pt>
          <cx:pt idx="2159">43.286982510000001</cx:pt>
          <cx:pt idx="2160">43.225727800000001</cx:pt>
          <cx:pt idx="2161">43.164963870000001</cx:pt>
          <cx:pt idx="2162">43.041503579999997</cx:pt>
          <cx:pt idx="2163">42.981199740000001</cx:pt>
          <cx:pt idx="2164">42.918994159999997</cx:pt>
          <cx:pt idx="2165">42.796975519999997</cx:pt>
          <cx:pt idx="2166">42.735751479999998</cx:pt>
          <cx:pt idx="2167">42.673545900000001</cx:pt>
          <cx:pt idx="2168">42.612751289999999</cx:pt>
          <cx:pt idx="2169">42.489321670000002</cx:pt>
          <cx:pt idx="2170">42.42901784</cx:pt>
          <cx:pt idx="2171">42.366812260000003</cx:pt>
          <cx:pt idx="2172">42.244793610000002</cx:pt>
          <cx:pt idx="2173">42.183538900000002</cx:pt>
          <cx:pt idx="2174">42.061029490000003</cx:pt>
          <cx:pt idx="2175">41.998823909999999</cx:pt>
          <cx:pt idx="2176">41.753375640000002</cx:pt>
          <cx:pt idx="2177">41.570102300000002</cx:pt>
          <cx:pt idx="2178">41.507405929999997</cx:pt>
          <cx:pt idx="2179">41.446641999999997</cx:pt>
          <cx:pt idx="2180">41.13990836</cx:pt>
          <cx:pt idx="2181">41.079144429999999</cx:pt>
          <cx:pt idx="2182">41.017889719999999</cx:pt>
          <cx:pt idx="2183">40.955684130000002</cx:pt>
          <cx:pt idx="2184">40.834156270000001</cx:pt>
          <cx:pt idx="2185">40.771950680000003</cx:pt>
          <cx:pt idx="2186">40.711186750000003</cx:pt>
          <cx:pt idx="2187">40.588677330000003</cx:pt>
          <cx:pt idx="2188">40.526471739999998</cx:pt>
          <cx:pt idx="2189">40.465707809999998</cx:pt>
          <cx:pt idx="2190">40.343198399999999</cx:pt>
          <cx:pt idx="2191">40.280992820000002</cx:pt>
          <cx:pt idx="2192">40.220688979999998</cx:pt>
          <cx:pt idx="2193">40.09771946</cx:pt>
          <cx:pt idx="2194">40.035053779999998</cx:pt>
          <cx:pt idx="2195">39.974259170000003</cx:pt>
          <cx:pt idx="2196">39.852240530000003</cx:pt>
          <cx:pt idx="2197">39.790034949999999</cx:pt>
          <cx:pt idx="2198">39.72881091</cx:pt>
          <cx:pt idx="2199">39.606301500000001</cx:pt>
          <cx:pt idx="2200">39.54553756</cx:pt>
          <cx:pt idx="2201">39.483331980000003</cx:pt>
          <cx:pt idx="2202">39.36177343</cx:pt>
          <cx:pt idx="2203">39.299567850000003</cx:pt>
          <cx:pt idx="2204">39.238803910000001</cx:pt>
          <cx:pt idx="2205">39.177549200000001</cx:pt>
          <cx:pt idx="2206">39.115343629999998</cx:pt>
          <cx:pt idx="2207">38.992864879999999</cx:pt>
          <cx:pt idx="2208">38.932070269999997</cx:pt>
          <cx:pt idx="2209">38.870846239999999</cx:pt>
          <cx:pt idx="2210">38.625367310000001</cx:pt>
          <cx:pt idx="2211">38.563161719999997</cx:pt>
          <cx:pt idx="2212">38.441603180000001</cx:pt>
          <cx:pt idx="2213">38.379397599999997</cx:pt>
          <cx:pt idx="2214">38.257378959999997</cx:pt>
          <cx:pt idx="2215">38.133918659999999</cx:pt>
          <cx:pt idx="2216">38.07269462</cx:pt>
          <cx:pt idx="2217">38.011900019999999</cx:pt>
          <cx:pt idx="2218">37.949694430000001</cx:pt>
          <cx:pt idx="2219">37.888470400000003</cx:pt>
          <cx:pt idx="2220">37.82816657</cx:pt>
          <cx:pt idx="2221">37.765960980000003</cx:pt>
          <cx:pt idx="2222">37.705197050000002</cx:pt>
          <cx:pt idx="2223">37.643942340000002</cx:pt>
          <cx:pt idx="2224">37.581736759999998</cx:pt>
          <cx:pt idx="2225">37.521432930000003</cx:pt>
          <cx:pt idx="2226">37.397972629999998</cx:pt>
          <cx:pt idx="2227">37.337208699999998</cx:pt>
          <cx:pt idx="2228">37.275003120000001</cx:pt>
          <cx:pt idx="2229">37.214729949999999</cx:pt>
          <cx:pt idx="2230">36.416087570000002</cx:pt>
          <cx:pt idx="2231">36.354832860000002</cx:pt>
          <cx:pt idx="2232">36.293578160000003</cx:pt>
          <cx:pt idx="2233">36.232814210000001</cx:pt>
          <cx:pt idx="2234">36.171559510000002</cx:pt>
          <cx:pt idx="2235">36.109353929999997</cx:pt>
          <cx:pt idx="2236">35.986384409999999</cx:pt>
          <cx:pt idx="2237">35.926111249999998</cx:pt>
          <cx:pt idx="2238">35.86390566</cx:pt>
          <cx:pt idx="2239">35.741396250000001</cx:pt>
          <cx:pt idx="2240">35.680141540000001</cx:pt>
          <cx:pt idx="2241">35.619377610000001</cx:pt>
          <cx:pt idx="2242">35.496868190000001</cx:pt>
          <cx:pt idx="2243">35.434662609999997</cx:pt>
          <cx:pt idx="2244">35.373407899999997</cx:pt>
          <cx:pt idx="2245">35.312643970000003</cx:pt>
          <cx:pt idx="2246">35.250438379999999</cx:pt>
          <cx:pt idx="2247">35.190165219999997</cx:pt>
          <cx:pt idx="2248">35.128910509999997</cx:pt>
          <cx:pt idx="2249">35.06621415</cx:pt>
          <cx:pt idx="2250">35.005940989999999</cx:pt>
          <cx:pt idx="2251">34.943735420000003</cx:pt>
          <cx:pt idx="2252">34.88343158</cx:pt>
          <cx:pt idx="2253">34.821225990000002</cx:pt>
          <cx:pt idx="2254">34.76092216</cx:pt>
          <cx:pt idx="2255">34.392013609999999</cx:pt>
          <cx:pt idx="2256">34.331218999999997</cx:pt>
          <cx:pt idx="2257">34.085279970000002</cx:pt>
          <cx:pt idx="2258">33.962310449999997</cx:pt>
          <cx:pt idx="2259">33.902006610000001</cx:pt>
          <cx:pt idx="2260">33.839801039999998</cx:pt>
          <cx:pt idx="2261">33.33019376</cx:pt>
          <cx:pt idx="2262">33.28857</cx:pt>
          <cx:pt idx="2263">30.54237856</cx:pt>
          <cx:pt idx="2264">23.034276070000001</cx:pt>
          <cx:pt idx="2265">22.34619</cx:pt>
          <cx:pt idx="2266">20.27317833</cx:pt>
          <cx:pt idx="2267">16.553348840000002</cx:pt>
          <cx:pt idx="2268">16.13357177</cx:pt>
          <cx:pt idx="2269">15.726628079999999</cx:pt>
          <cx:pt idx="2270">15.30374613</cx:pt>
          <cx:pt idx="2271">14.89680244</cx:pt>
          <cx:pt idx="2272">13.65692827</cx:pt>
          <cx:pt idx="2273">11.997070000000001</cx:pt>
          <cx:pt idx="2274">11.555861760000001</cx:pt>
          <cx:pt idx="2275">10.680242079999999</cx:pt>
          <cx:pt idx="2276">10.097616240000001</cx:pt>
          <cx:pt idx="2277">9.6575773460000001</cx:pt>
          <cx:pt idx="2278">8.9290027129999991</cx:pt>
          <cx:pt idx="2279">6.733120145</cx:pt>
          <cx:pt idx="2280">6.5895100580000001</cx:pt>
          <cx:pt idx="2281">6.0034492740000003</cx:pt>
          <cx:pt idx="2282">5.2737783909999996</cx:pt>
          <cx:pt idx="2283">4.9785189399999998</cx:pt>
          <cx:pt idx="2284">4.248848057</cx:pt>
          <cx:pt idx="2285">3.3732283810000001</cx:pt>
          <cx:pt idx="2286">2.9331163889999998</cx:pt>
          <cx:pt idx="2287">2.642388151</cx:pt>
          <cx:pt idx="2288">1.911621</cx:pt>
          <cx:pt idx="2289">1.905212232</cx:pt>
          <cx:pt idx="2290">1.8988034650000001</cx:pt>
          <cx:pt idx="2291">1.888555845</cx:pt>
          <cx:pt idx="2292">1.885976316</cx:pt>
          <cx:pt idx="2293">1.82316078</cx:pt>
          <cx:pt idx="2294">1.8154824359999999</cx:pt>
          <cx:pt idx="2295">1.80524507</cx:pt>
          <cx:pt idx="2296">1.8026655410000001</cx:pt>
          <cx:pt idx="2297">1.794987197</cx:pt>
          <cx:pt idx="2298">1.7898582599999999</cx:pt>
          <cx:pt idx="2299">1.7834700000000001</cx:pt>
          <cx:pt idx="2300">1.779590773</cx:pt>
          <cx:pt idx="2301">1.7757615339999999</cx:pt>
          <cx:pt idx="2302">1.7398698720000001</cx:pt>
          <cx:pt idx="2303">1.7334508500000001</cx:pt>
          <cx:pt idx="2304">1.729601744</cx:pt>
          <cx:pt idx="2305">1.724493316</cx:pt>
          <cx:pt idx="2306">1.7155050190000001</cx:pt>
          <cx:pt idx="2307">1.7078068070000001</cx:pt>
          <cx:pt idx="2308">1.706567352</cx:pt>
          <cx:pt idx="2309">1.7039775690000001</cx:pt>
          <cx:pt idx="2310">1.6975591880000001</cx:pt>
          <cx:pt idx="2311">1.68601187</cx:pt>
          <cx:pt idx="2312">1.6821928859999999</cx:pt>
          <cx:pt idx="2313">1.642461731</cx:pt>
          <cx:pt idx="2314">1.6270653070000001</cx:pt>
          <cx:pt idx="2315">1.6129781949999999</cx:pt>
          <cx:pt idx="2316">1.605290237</cx:pt>
          <cx:pt idx="2317">1.603990539</cx:pt>
          <cx:pt idx="2318">1.6027203210000001</cx:pt>
          <cx:pt idx="2319">1.6001612999999999</cx:pt>
          <cx:pt idx="2320">1.593752533</cx:pt>
          <cx:pt idx="2321">1.5911928710000001</cx:pt>
          <cx:pt idx="2322">1.5898835600000001</cx:pt>
          <cx:pt idx="2323">1.5886235959999999</cx:pt>
          <cx:pt idx="2324">1.587343765</cx:pt>
          <cx:pt idx="2325">1.586064575</cx:pt>
          <cx:pt idx="2326">1.584764877</cx:pt>
          <cx:pt idx="2327">1.5834850460000001</cx:pt>
          <cx:pt idx="2328">1.5822052150000001</cx:pt>
          <cx:pt idx="2329">1.5809253839999999</cx:pt>
          <cx:pt idx="2330">1.578356109</cx:pt>
          <cx:pt idx="2331">1.573227173</cx:pt>
          <cx:pt idx="2332">1.5719672090000001</cx:pt>
          <cx:pt idx="2333">1.5706578980000001</cx:pt>
          <cx:pt idx="2334">1.566828659</cx:pt>
          <cx:pt idx="2335">1.5642593840000001</cx:pt>
          <cx:pt idx="2336">1.5629898069999999</cx:pt>
          <cx:pt idx="2337">1.561699722</cx:pt>
          <cx:pt idx="2338">1.5616901089999999</cx:pt>
          <cx:pt idx="2339">1.560430145</cx:pt>
          <cx:pt idx="2340">1.559130447</cx:pt>
          <cx:pt idx="2341">1.5578608700000001</cx:pt>
          <cx:pt idx="2342">1.5578506160000001</cx:pt>
          <cx:pt idx="2343">1.55658104</cx:pt>
          <cx:pt idx="2344">1.555290955</cx:pt>
          <cx:pt idx="2345">1.5501626589999999</cx:pt>
          <cx:pt idx="2346">1.547613251</cx:pt>
          <cx:pt idx="2347">1.516849884</cx:pt>
          <cx:pt idx="2348">1.5104411170000001</cx:pt>
          <cx:pt idx="2349">1.5091619270000001</cx:pt>
          <cx:pt idx="2350">1.5078622290000001</cx:pt>
          <cx:pt idx="2351">1.506592011</cx:pt>
          <cx:pt idx="2352">1.5001736299999999</cx:pt>
          <cx:pt idx="2353">1.498904053</cx:pt>
          <cx:pt idx="2354">1.4899362650000001</cx:pt>
          <cx:pt idx="2355">1.487366349</cx:pt>
          <cx:pt idx="2356">1.4822380530000001</cx:pt>
          <cx:pt idx="2357">1.4809582219999999</cx:pt>
          <cx:pt idx="2358">1.479678391</cx:pt>
          <cx:pt idx="2359">1.47839856</cx:pt>
          <cx:pt idx="2360">1.4770886080000001</cx:pt>
          <cx:pt idx="2361">1.469420518</cx:pt>
          <cx:pt idx="2362">1.4655714120000001</cx:pt>
          <cx:pt idx="2363">1.46173256</cx:pt>
          <cx:pt idx="2364">1.460442475</cx:pt>
          <cx:pt idx="2365">1.4578930670000001</cx:pt>
          <cx:pt idx="2366">1.45276413</cx:pt>
          <cx:pt idx="2367">1.4501948549999999</cx:pt>
          <cx:pt idx="2368">1.448915025</cx:pt>
          <cx:pt idx="2369">1.4450761729999999</cx:pt>
          <cx:pt idx="2370">1.441216813</cx:pt>
          <cx:pt idx="2371">1.43609813</cx:pt>
          <cx:pt idx="2372">1.4296797489999999</cx:pt>
          <cx:pt idx="2373">1.4220014050000001</cx:pt>
          <cx:pt idx="2374">1.415592637</cx:pt>
          <cx:pt idx="2375">1.40918451</cx:pt>
          <cx:pt idx="2376">1.404055574</cx:pt>
          <cx:pt idx="2377">1.4027654890000001</cx:pt>
          <cx:pt idx="2378">1.4002064679999999</cx:pt>
          <cx:pt idx="2379">1.3950871439999999</cx:pt>
          <cx:pt idx="2380">1.392517869</cx:pt>
          <cx:pt idx="2381">1.391228425</cx:pt>
          <cx:pt idx="2382">1.3848299120000001</cx:pt>
          <cx:pt idx="2383">1.3822503829999999</cx:pt>
          <cx:pt idx="2384">1.3681632699999999</cx:pt>
          <cx:pt idx="2385">1.365604249</cx:pt>
          <cx:pt idx="2386">1.360465059</cx:pt>
          <cx:pt idx="2387">1.3579060380000001</cx:pt>
          <cx:pt idx="2388">1.355346376</cx:pt>
          <cx:pt idx="2389">1.347658418</cx:pt>
          <cx:pt idx="2390">1.3425294809999999</cx:pt>
          <cx:pt idx="2391">1.3386701219999999</cx:pt>
          <cx:pt idx="2392">1.3322818620000001</cx:pt>
          <cx:pt idx="2393">1.3232839519999999</cx:pt>
          <cx:pt idx="2394">1.3130561999999999</cx:pt>
          <cx:pt idx="2395">1.2963895590000001</cx:pt>
          <cx:pt idx="2396">1.277144029</cx:pt>
          <cx:pt idx="2397">1.259218065</cx:pt>
          <cx:pt idx="2398">1.257918367</cx:pt>
          <cx:pt idx="2399">1.2438113879999999</cx:pt>
          <cx:pt idx="2400">1.23998279</cx:pt>
          <cx:pt idx="2401">1.233574022</cx:pt>
          <cx:pt idx="2402">1.227155642</cx:pt>
          <cx:pt idx="2403">1.1566611200000001</cx:pt>
          <cx:pt idx="2404">1.1541020989999999</cx:pt>
          <cx:pt idx="2405">1.129787235</cx:pt>
          <cx:pt idx="2406">1.115650775</cx:pt>
          <cx:pt idx="2407">1.114370944</cx:pt>
          <cx:pt idx="2408">1.1105615719999999</cx:pt>
          <cx:pt idx="2409">1.1066823450000001</cx:pt>
          <cx:pt idx="2410">1.1002838319999999</cx:pt>
          <cx:pt idx="2411">1.0989943879999999</cx:pt>
          <cx:pt idx="2412">1.0938757050000001</cx:pt>
          <cx:pt idx="2413">1.0848976619999999</cx:pt>
          <cx:pt idx="2414">1.0810581699999999</cx:pt>
          <cx:pt idx="2415">1.078488895</cx:pt>
          <cx:pt idx="2416">1.0759196200000001</cx:pt>
          <cx:pt idx="2417">1.0733702119999999</cx:pt>
          <cx:pt idx="2418">1.0669614439999999</cx:pt>
          <cx:pt idx="2419">1.063112338</cx:pt>
          <cx:pt idx="2420">1.052834598</cx:pt>
          <cx:pt idx="2421">1.0490156129999999</cx:pt>
          <cx:pt idx="2422">1.0387577400000001</cx:pt>
          <cx:pt idx="2423">1.033608936</cx:pt>
          <cx:pt idx="2424">1.010554035</cx:pt>
          <cx:pt idx="2425">1.009284458</cx:pt>
          <cx:pt idx="2426">1.0067151830000001</cx:pt>
          <cx:pt idx="2427">0.96570419699999999</cx:pt>
          <cx:pt idx="2428">0.836233632</cx:pt>
          <cx:pt idx="2429">0.83496405500000004</cx:pt>
          <cx:pt idx="2430">0.75037280799999995</cx:pt>
          <cx:pt idx="2431">0.57346326299999995</cx:pt>
          <cx:pt idx="2432">0.56450508700000002</cx:pt>
          <cx:pt idx="2433">0.50427869299999994</cx:pt>
          <cx:pt idx="2434">0.49528078399999997</cx:pt>
          <cx:pt idx="2435">0.46837677700000002</cx:pt>
          <cx:pt idx="2436">0.42992545300000001</cx:pt>
          <cx:pt idx="2437">0.40557085399999998</cx:pt>
          <cx:pt idx="2438">0.39916208600000003</cx:pt>
          <cx:pt idx="2439">0.39661267900000002</cx:pt>
          <cx:pt idx="2440">0.35047339599999999</cx:pt>
          <cx:pt idx="2441">0.34917369799999998</cx:pt>
          <cx:pt idx="2442">0.34276493099999999</cx:pt>
          <cx:pt idx="2443">0.33635680400000001</cx:pt>
          <cx:pt idx="2444">0.314581734</cx:pt>
          <cx:pt idx="2445">0.28636777499999999</cx:pt>
          <cx:pt idx="2446">0.17870240100000001</cx:pt>
          <cx:pt idx="2447">0.15564750099999999</cx:pt>
          <cx:pt idx="2448">0.147939035</cx:pt>
          <cx:pt idx="2449">0.140251077</cx:pt>
          <cx:pt idx="2450">0.13384230899999999</cx:pt>
          <cx:pt idx="2451">0.12359468999999999</cx:pt>
          <cx:pt idx="2452">0.121025415</cx:pt>
          <cx:pt idx="2453">0.119755838</cx:pt>
          <cx:pt idx="2454">0.11846575299999999</cx:pt>
          <cx:pt idx="2455">0.117196176</cx:pt>
          <cx:pt idx="2456">0.11204737200000001</cx:pt>
          <cx:pt idx="2457">0.112037118</cx:pt>
          <cx:pt idx="2458">0.110757287</cx:pt>
          <cx:pt idx="2459">0.10821813399999999</cx:pt>
          <cx:pt idx="2460">0.10820788000000001</cx:pt>
          <cx:pt idx="2461">0.105648859</cx:pt>
          <cx:pt idx="2462">0.104379282</cx:pt>
          <cx:pt idx="2463">0.103079584</cx:pt>
          <cx:pt idx="2464">0.10179975300000001</cx:pt>
          <cx:pt idx="2465">0.097970513999999995</cx:pt>
          <cx:pt idx="2466">0.096690682999999999</cx:pt>
          <cx:pt idx="2467">0.094121408000000004</cx:pt>
          <cx:pt idx="2468">0.092821710000000002</cx:pt>
          <cx:pt idx="2469">0.085133111999999997</cx:pt>
          <cx:pt idx="2470">0.076165322999999993</cx:pt>
          <cx:pt idx="2471">0.067197534000000003</cx:pt>
          <cx:pt idx="2472">0.064628260000000007</cx:pt>
          <cx:pt idx="2473">0.062078851999999997</cx:pt>
          <cx:pt idx="2474">0.060788767</cx:pt>
          <cx:pt idx="2475">0.058239358999999997</cx:pt>
          <cx:pt idx="2476">0.055670084000000002</cx:pt>
          <cx:pt idx="2477">0.053080301000000003</cx:pt>
          <cx:pt idx="2478">0.050541147000000002</cx:pt>
          <cx:pt idx="2479">0.049251703000000001</cx:pt>
          <cx:pt idx="2480">0.047971871999999999</cx:pt>
          <cx:pt idx="2481">0.046692042000000003</cx:pt>
          <cx:pt idx="2482">0.046681788000000002</cx:pt>
          <cx:pt idx="2483">0.045412211000000001</cx:pt>
          <cx:pt idx="2484">0.040283274000000001</cx:pt>
          <cx:pt idx="2485">0.035144724000000002</cx:pt>
          <cx:pt idx="2486">0.035134470000000001</cx:pt>
          <cx:pt idx="2487">0.033875147000000001</cx:pt>
          <cx:pt idx="2488">0.032595315999999999</cx:pt>
          <cx:pt idx="2489">0.031315484999999997</cx:pt>
          <cx:pt idx="2490">0.028755823999999999</cx:pt>
          <cx:pt idx="2491">0.024897104</cx:pt>
          <cx:pt idx="2492">0.022337442999999998</cx:pt>
          <cx:pt idx="2493">0.021057612</cx:pt>
          <cx:pt idx="2494">0.019778422</cx:pt>
          <cx:pt idx="2495">0.018498591000000002</cx:pt>
          <cx:pt idx="2496">0.018488337000000001</cx:pt>
          <cx:pt idx="2497">0.015908808</cx:pt>
          <cx:pt idx="2498">0.014639231000000001</cx:pt>
          <cx:pt idx="2499">0.0133594</cx:pt>
          <cx:pt idx="2500">0.012079569</cx:pt>
          <cx:pt idx="2501">0.010800379000000001</cx:pt>
          <cx:pt idx="2502">0.0095301610000000005</cx:pt>
          <cx:pt idx="2503">0.006951273</cx:pt>
          <cx:pt idx="2504">0.0056714419999999996</cx:pt>
          <cx:pt idx="2505">0.0044018649999999996</cx:pt>
          <cx:pt idx="2506">0.00055276000000000001</cx:pt>
          <cx:pt idx="2507">-0.00073732500000000005</cx:pt>
          <cx:pt idx="2508">-0.0045966849999999997</cx:pt>
          <cx:pt idx="2509">-0.0071460930000000001</cx:pt>
          <cx:pt idx="2510">-0.0096955010000000005</cx:pt>
          <cx:pt idx="2511">-0.012274389</cx:pt>
          <cx:pt idx="2512">-0.014823797</cx:pt>
          <cx:pt idx="2513">-0.017393711999999999</cx:pt>
          <cx:pt idx="2514">-0.018672902000000002</cx:pt>
          <cx:pt idx="2515">-0.022542515999999999</cx:pt>
          <cx:pt idx="2516">-0.025091924000000002</cx:pt>
          <cx:pt idx="2517">-0.026361500999999999</cx:pt>
          <cx:pt idx="2518">-0.027641332000000001</cx:pt>
          <cx:pt idx="2519">-0.02894103</cx:pt>
          <cx:pt idx="2520">-0.031490438000000003</cx:pt>
          <cx:pt idx="2521">-0.035329289999999999</cx:pt>
          <cx:pt idx="2522">-0.036619375000000003</cx:pt>
          <cx:pt idx="2523">-0.040468480000000001</cx:pt>
          <cx:pt idx="2524">-0.043048008999999998</cx:pt>
          <cx:pt idx="2525">-0.044307331999999998</cx:pt>
          <cx:pt idx="2526">-0.046876607000000001</cx:pt>
          <cx:pt idx="2527">-0.048146824999999997</cx:pt>
          <cx:pt idx="2528">-0.057134481000000001</cx:pt>
          <cx:pt idx="2529">-0.058414312000000003</cx:pt>
          <cx:pt idx="2530">-0.069951374999999996</cx:pt>
          <cx:pt idx="2531">-0.080219502999999998</cx:pt>
          <cx:pt idx="2532">-0.085318318000000004</cx:pt>
          <cx:pt idx="2533">-0.086598148999999999</cx:pt>
          <cx:pt idx="2534">-0.094305974000000001</cx:pt>
          <cx:pt idx="2535">-0.103264149</cx:pt>
          <cx:pt idx="2536">-0.104563848</cx:pt>
          <cx:pt idx="2537">-0.10840269900000001</cx:pt>
          <cx:pt idx="2538">-0.11095210699999999</cx:pt>
          <cx:pt idx="2539">-0.114811467</cx:pt>
          <cx:pt idx="2540">-0.11608104399999999</cx:pt>
          <cx:pt idx="2541">-0.117360875</cx:pt>
          <cx:pt idx="2542">-0.11867082700000001</cx:pt>
          <cx:pt idx="2543">-0.11996027099999999</cx:pt>
          <cx:pt idx="2544">-0.121220235</cx:pt>
          <cx:pt idx="2545">-0.12378951000000001</cx:pt>
          <cx:pt idx="2546">-0.12889857900000001</cx:pt>
          <cx:pt idx="2547">-0.130177769</cx:pt>
          <cx:pt idx="2548">-0.13145760000000001</cx:pt>
          <cx:pt idx="2549">-0.13789648900000001</cx:pt>
          <cx:pt idx="2550">-0.139166066</cx:pt>
          <cx:pt idx="2551">-0.14171547400000001</cx:pt>
          <cx:pt idx="2552">-0.143015172</cx:pt>
          <cx:pt idx="2553">-0.144275135</cx:pt>
          <cx:pt idx="2554">-0.14429500300000001</cx:pt>
          <cx:pt idx="2555">-0.169928791</cx:pt>
          <cx:pt idx="2556">-0.17635742600000001</cx:pt>
          <cx:pt idx="2557">-0.18274632699999999</cx:pt>
          <cx:pt idx="2558">-0.19042467099999999</cx:pt>
          <cx:pt idx="2559">-0.191703861</cx:pt>
          <cx:pt idx="2560">-0.19298369200000001</cx:pt>
          <cx:pt idx="2561">-0.19428339</cx:pt>
          <cx:pt idx="2562">-0.21092952300000001</cx:pt>
          <cx:pt idx="2563">-0.213489185</cx:pt>
          <cx:pt idx="2564">-0.217348545</cx:pt>
          <cx:pt idx="2565">-0.22888560899999999</cx:pt>
          <cx:pt idx="2566">-0.237843784</cx:pt>
          <cx:pt idx="2567">-0.24169288999999999</cx:pt>
          <cx:pt idx="2568">-0.24170314400000001</cx:pt>
          <cx:pt idx="2569">-0.24427241899999999</cx:pt>
          <cx:pt idx="2570">-0.248101658</cx:pt>
          <cx:pt idx="2571">-0.24938084799999999</cx:pt>
          <cx:pt idx="2572">-0.25196037700000001</cx:pt>
          <cx:pt idx="2573">-0.254520038</cx:pt>
          <cx:pt idx="2574">-0.25578961500000003</cx:pt>
          <cx:pt idx="2575">-0.25706944599999998</cx:pt>
          <cx:pt idx="2576">-0.258369144</cx:pt>
          <cx:pt idx="2577">-0.25963872100000002</cx:pt>
          <cx:pt idx="2578">-0.259648975</cx:pt>
          <cx:pt idx="2579">-0.26091855200000003</cx:pt>
          <cx:pt idx="2580">-0.262207996</cx:pt>
          <cx:pt idx="2581">-0.26476765800000002</cx:pt>
          <cx:pt idx="2582">-0.26732731999999998</cx:pt>
          <cx:pt idx="2583">-0.280144214</cx:pt>
          <cx:pt idx="2584">-0.28143365799999998</cx:pt>
          <cx:pt idx="2585">-0.28655298200000001</cx:pt>
          <cx:pt idx="2586">-0.28924210099999997</cx:pt>
          <cx:pt idx="2587">-0.29426080700000001</cx:pt>
          <cx:pt idx="2588">-0.29810029900000001</cx:pt>
          <cx:pt idx="2589">-0.30577864399999999</cx:pt>
          <cx:pt idx="2590">-0.31604613100000001</cx:pt>
          <cx:pt idx="2591">-0.317315707</cx:pt>
          <cx:pt idx="2592">-0.31859553800000001</cx:pt>
          <cx:pt idx="2593">-0.31989523600000003</cx:pt>
          <cx:pt idx="2594">-0.32122505600000001</cx:pt>
          <cx:pt idx="2595">-0.322444644</cx:pt>
          <cx:pt idx="2596">-0.32372447500000001</cx:pt>
          <cx:pt idx="2597">-0.32628349600000001</cx:pt>
          <cx:pt idx="2598">-0.33143230000000001</cx:pt>
          <cx:pt idx="2599">-0.33269226400000002</cx:pt>
          <cx:pt idx="2600">-0.335261539</cx:pt>
          <cx:pt idx="2601">-0.33654137000000001</cx:pt>
          <cx:pt idx="2602">-0.33912089899999998</cx:pt>
          <cx:pt idx="2603">-0.34295013699999999</cx:pt>
          <cx:pt idx="2604">-0.346808856</cx:pt>
          <cx:pt idx="2605">-0.349378772</cx:pt>
          <cx:pt idx="2606">-0.34938838500000002</cx:pt>
          <cx:pt idx="2607">-0.351937793</cx:pt>
          <cx:pt idx="2608">-0.35704686299999999</cx:pt>
          <cx:pt idx="2609">-0.35834656100000001</cx:pt>
          <cx:pt idx="2610">-0.36486491799999998</cx:pt>
          <cx:pt idx="2611">-0.36603451799999998</cx:pt>
          <cx:pt idx="2612">-0.36730473600000002</cx:pt>
          <cx:pt idx="2613">-0.36989387800000001</cx:pt>
          <cx:pt idx="2614">-0.37116345499999998</cx:pt>
          <cx:pt idx="2615">-0.372433032</cx:pt>
          <cx:pt idx="2616">-0.37372311699999999</cx:pt>
          <cx:pt idx="2617">-0.37499269400000002</cx:pt>
          <cx:pt idx="2618">-0.37627252500000002</cx:pt>
          <cx:pt idx="2619">-0.37757222299999998</cx:pt>
          <cx:pt idx="2620">-0.37884180000000001</cx:pt>
          <cx:pt idx="2621">-0.38141107499999999</cx:pt>
          <cx:pt idx="2622">-0.38268129200000001</cx:pt>
          <cx:pt idx="2623">-0.38531016899999998</cx:pt>
          <cx:pt idx="2624">-0.39550780000000002</cx:pt>
          <cx:pt idx="2625">-0.39517139299999998</cx:pt>
          <cx:pt idx="2626">-0.39466551799999999</cx:pt>
          <cx:pt idx="2627">-0.39448939700000002</cx:pt>
          <cx:pt idx="2628">-0.39448156400000001</cx:pt>
          <cx:pt idx="2629">-0.39264328399999998</cx:pt>
          <cx:pt idx="2630">-0.39230561400000002</cx:pt>
          <cx:pt idx="2631">-0.39196263599999998</cx:pt>
          <cx:pt idx="2632">-0.39195480300000002</cx:pt>
          <cx:pt idx="2633">-0.391463332</cx:pt>
          <cx:pt idx="2634">-0.39096015299999998</cx:pt>
          <cx:pt idx="2635">-0.39062113399999998</cx:pt>
          <cx:pt idx="2636">-0.39044770899999998</cx:pt>
          <cx:pt idx="2637">-0.390284727</cx:pt>
          <cx:pt idx="2638">-0.39011652400000002</cx:pt>
          <cx:pt idx="2639">-0.38994840400000003</cx:pt>
          <cx:pt idx="2640">-0.38978146400000002</cx:pt>
          <cx:pt idx="2641">-0.38960668999999998</cx:pt>
          <cx:pt idx="2642">-0.389441182</cx:pt>
          <cx:pt idx="2643">-0.389274326</cx:pt>
          <cx:pt idx="2644">-0.38893530799999998</cx:pt>
          <cx:pt idx="2645">-0.38860151199999998</cx:pt>
          <cx:pt idx="2646">-0.38843339199999999</cx:pt>
          <cx:pt idx="2647">-0.38809698500000001</cx:pt>
          <cx:pt idx="2648">-0.38792751800000003</cx:pt>
          <cx:pt idx="2649">-0.38775796600000001</cx:pt>
          <cx:pt idx="2650">-0.38742290699999998</cx:pt>
          <cx:pt idx="2651">-0.38725470299999998</cx:pt>
          <cx:pt idx="2652">-0.38707731899999998</cx:pt>
          <cx:pt idx="2653">-0.38691703199999999</cx:pt>
          <cx:pt idx="2654">-0.38657936199999998</cx:pt>
          <cx:pt idx="2655">-0.38640981000000002</cx:pt>
          <cx:pt idx="2656">-0.38624034299999999</cx:pt>
          <cx:pt idx="2657">-0.38607475099999999</cx:pt>
          <cx:pt idx="2658">-0.385906631</cx:pt>
          <cx:pt idx="2659">-0.38590528400000002</cx:pt>
          <cx:pt idx="2660">-0.38556365399999998</cx:pt>
          <cx:pt idx="2661">-0.384220805</cx:pt>
          <cx:pt idx="2662">-0.382536241</cx:pt>
          <cx:pt idx="2663">-0.380683559</cx:pt>
          <cx:pt idx="2664">-0.38050878500000002</cx:pt>
          <cx:pt idx="2665">-0.38034723500000001</cx:pt>
          <cx:pt idx="2666">-0.38017903199999997</cx:pt>
          <cx:pt idx="2667">-0.38000948099999998</cx:pt>
          <cx:pt idx="2668">-0.379667851</cx:pt>
          <cx:pt idx="2669">-0.37950234300000002</cx:pt>
          <cx:pt idx="2670">-0.37882952800000003</cx:pt>
          <cx:pt idx="2671">-0.378494469</cx:pt>
          <cx:pt idx="2672">-0.378493205</cx:pt>
          <cx:pt idx="2673">-0.37832634900000001</cx:pt>
          <cx:pt idx="2674">-0.37765092300000003</cx:pt>
          <cx:pt idx="2675">-0.37748271999999999</cx:pt>
          <cx:pt idx="2676">-0.37730803099999999</cx:pt>
          <cx:pt idx="2677">-0.376976845</cx:pt>
          <cx:pt idx="2678">-0.37512416300000001</cx:pt>
          <cx:pt idx="2679">-0.37428196499999999</cx:pt>
          <cx:pt idx="2680">-0.37343968399999999</cx:pt>
          <cx:pt idx="2681">-0.37327147999999999</cx:pt>
          <cx:pt idx="2682">-0.37309670700000003</cx:pt>
          <cx:pt idx="2683">-0.372933809</cx:pt>
          <cx:pt idx="2684">-0.37276695300000001</cx:pt>
          <cx:pt idx="2685">-0.37259740200000002</cx:pt>
          <cx:pt idx="2686">-0.37242919800000002</cx:pt>
          <cx:pt idx="2687">-0.37226107899999999</cx:pt>
          <cx:pt idx="2688">-0.372091528</cx:pt>
          <cx:pt idx="2689">-0.37124798199999998</cx:pt>
          <cx:pt idx="2690">-0.37040570099999998</cx:pt>
          <cx:pt idx="2691">-0.36939791100000002</cx:pt>
          <cx:pt idx="2692">-0.36922844399999999</cx:pt>
          <cx:pt idx="2693">-0.36889068899999999</cx:pt>
          <cx:pt idx="2694">-0.36855301800000001</cx:pt>
          <cx:pt idx="2695">-0.368211389</cx:pt>
          <cx:pt idx="2696">-0.36804579599999998</cx:pt>
          <cx:pt idx="2697">-0.36771208399999999</cx:pt>
          <cx:pt idx="2698">-0.36754387999999999</cx:pt>
          <cx:pt idx="2699">-0.36736910699999997</cx:pt>
          <cx:pt idx="2700">-0.36720225099999998</cx:pt>
          <cx:pt idx="2701">-0.36501711999999997</cx:pt>
          <cx:pt idx="2702">-0.36451124499999998</cx:pt>
          <cx:pt idx="2703">-0.36181628100000002</cx:pt>
          <cx:pt idx="2704">-0.36046820899999998</cx:pt>
          <cx:pt idx="2705">-0.358272549</cx:pt>
          <cx:pt idx="2706">-0.35810308200000002</cx:pt>
          <cx:pt idx="2707">-0.35777324500000002</cx:pt>
          <cx:pt idx="2708">-0.35760504100000001</cx:pt>
          <cx:pt idx="2709">-0.357099167</cx:pt>
          <cx:pt idx="2710">-0.356764107</cx:pt>
          <cx:pt idx="2711">-0.35658933399999998</cx:pt>
          <cx:pt idx="2712">-0.35608741799999999</cx:pt>
          <cx:pt idx="2713">-0.35591795100000001</cx:pt>
          <cx:pt idx="2714">-0.35557758499999997</cx:pt>
          <cx:pt idx="2715">-0.355408118</cx:pt>
          <cx:pt idx="2716">-0.355070363</cx:pt>
          <cx:pt idx="2717">-0.35490485500000002</cx:pt>
          <cx:pt idx="2718">-0.354739262</cx:pt>
          <cx:pt idx="2719">-0.35372355500000002</cx:pt>
          <cx:pt idx="2720">-0.353560657</cx:pt>
          <cx:pt idx="2721">-0.35321902799999999</cx:pt>
          <cx:pt idx="2722">-0.35288792699999999</cx:pt>
          <cx:pt idx="2723">-0.35271972299999999</cx:pt>
          <cx:pt idx="2724">-0.35254629700000001</cx:pt>
          <cx:pt idx="2725">-0.35238070500000002</cx:pt>
          <cx:pt idx="2726">-0.352215112</cx:pt>
          <cx:pt idx="2727">-0.35203907499999998</cx:pt>
          <cx:pt idx="2728">-0.35187744199999998</cx:pt>
          <cx:pt idx="2729">-0.35170140500000002</cx:pt>
          <cx:pt idx="2730">-0.351535812</cx:pt>
          <cx:pt idx="2731">-0.35137030400000002</cx:pt>
          <cx:pt idx="2732">-0.35120336400000002</cx:pt>
          <cx:pt idx="2733">-0.35086173399999998</cx:pt>
          <cx:pt idx="2734">-0.35034667899999999</cx:pt>
          <cx:pt idx="2735">-0.34950439700000002</cx:pt>
          <cx:pt idx="2736">-0.34716032699999999</cx:pt>
          <cx:pt idx="2737">-0.34345361400000002</cx:pt>
          <cx:pt idx="2738">-0.340591794</cx:pt>
          <cx:pt idx="2739">-0.33637398400000001</cx:pt>
          <cx:pt idx="2740">-0.33587333200000002</cx:pt>
          <cx:pt idx="2741">-0.33569855900000001</cx:pt>
          <cx:pt idx="2742">-0.33266727099999999</cx:pt>
          <cx:pt idx="2743">-0.33250167800000002</cx:pt>
          <cx:pt idx="2744">-0.33233616999999999</cx:pt>
          <cx:pt idx="2745">-0.33199184500000001</cx:pt>
          <cx:pt idx="2746">-0.33182633700000003</cx:pt>
          <cx:pt idx="2747">-0.33149515200000002</cx:pt>
          <cx:pt idx="2748">-0.33132046300000001</cx:pt>
          <cx:pt idx="2749">-0.33081980999999999</cx:pt>
          <cx:pt idx="2750">-0.33014312099999998</cx:pt>
          <cx:pt idx="2751">-0.32980283999999999</cx:pt>
          <cx:pt idx="2752">-0.32964120600000002</cx:pt>
          <cx:pt idx="2753">-0.32946643199999998</cx:pt>
          <cx:pt idx="2754">-0.32913533099999998</cx:pt>
          <cx:pt idx="2755">-0.32879235400000001</cx:pt>
          <cx:pt idx="2756">-0.32846125300000001</cx:pt>
          <cx:pt idx="2757">-0.32829304999999998</cx:pt>
          <cx:pt idx="2758">-0.32795537899999999</cx:pt>
          <cx:pt idx="2759">-0.32778060599999997</cx:pt>
          <cx:pt idx="2760">-0.32777403599999999</cx:pt>
          <cx:pt idx="2761">-0.32744950499999997</cx:pt>
          <cx:pt idx="2762">-0.32728391200000001</cx:pt>
          <cx:pt idx="2763">-0.32711444499999998</cx:pt>
          <cx:pt idx="2764">-0.32693967200000001</cx:pt>
          <cx:pt idx="2765">-0.32660857100000001</cx:pt>
          <cx:pt idx="2766">-0.326272163</cx:pt>
          <cx:pt idx="2767">-0.32609738999999999</cx:pt>
          <cx:pt idx="2768">-0.32608955699999997</cx:pt>
          <cx:pt idx="2769">-0.32593188200000001</cx:pt>
          <cx:pt idx="2770">-0.325591515</cx:pt>
          <cx:pt idx="2771">-0.32558494599999999</cx:pt>
          <cx:pt idx="2772">-0.32408046200000001</cx:pt>
          <cx:pt idx="2773">-0.32391487000000002</cx:pt>
          <cx:pt idx="2774">-0.323738833</cx:pt>
          <cx:pt idx="2775">-0.32357323999999998</cx:pt>
          <cx:pt idx="2776">-0.323407732</cx:pt>
          <cx:pt idx="2777">-0.32306736600000002</cx:pt>
          <cx:pt idx="2778">-0.322727084</cx:pt>
          <cx:pt idx="2779">-0.32256149099999998</cx:pt>
          <cx:pt idx="2780">-0.322395983</cx:pt>
          <cx:pt idx="2781">-0.322230391</cx:pt>
          <cx:pt idx="2782">-0.32172451600000002</cx:pt>
          <cx:pt idx="2783">-0.31818465899999998</cx:pt>
          <cx:pt idx="2784">-0.31801654000000001</cx:pt>
          <cx:pt idx="2785">-0.317175606</cx:pt>
          <cx:pt idx="2786">-0.314634358</cx:pt>
          <cx:pt idx="2787">-0.31447533500000002</cx:pt>
          <cx:pt idx="2788">-0.31245579600000001</cx:pt>
          <cx:pt idx="2789">-0.31211551399999998</cx:pt>
          <cx:pt idx="2790">-0.31060572400000003</cx:pt>
          <cx:pt idx="2791">-0.30857700500000002</cx:pt>
          <cx:pt idx="2792">-0.30824582</cx:pt>
          <cx:pt idx="2793">-0.30790553799999998</cx:pt>
          <cx:pt idx="2794">-0.30773994500000001</cx:pt>
          <cx:pt idx="2795">-0.30757443699999998</cx:pt>
          <cx:pt idx="2796">-0.30739966400000002</cx:pt>
          <cx:pt idx="2797">-0.30723280800000002</cx:pt>
          <cx:pt idx="2798">-0.30706856300000002</cx:pt>
          <cx:pt idx="2799">-0.30672819699999998</cx:pt>
          <cx:pt idx="2800">-0.30656268800000003</cx:pt>
          <cx:pt idx="2801">-0.30638791500000001</cx:pt>
          <cx:pt idx="2802">-0.30621836299999999</cx:pt>
          <cx:pt idx="2803">-0.30621179399999998</cx:pt>
          <cx:pt idx="2804">-0.30605285500000001</cx:pt>
          <cx:pt idx="2805">-0.30588726300000002</cx:pt>
          <cx:pt idx="2806">-0.30572175400000001</cx:pt>
          <cx:pt idx="2807">-0.30555220300000002</cx:pt>
          <cx:pt idx="2808">-0.30521579599999998</cx:pt>
          <cx:pt idx="2809">-0.30504110600000001</cx:pt>
          <cx:pt idx="2810">-0.30436963900000003</cx:pt>
          <cx:pt idx="2811">-0.30420404699999998</cx:pt>
          <cx:pt idx="2812">-0.30386376500000001</cx:pt>
          <cx:pt idx="2813">-0.30352348299999998</cx:pt>
          <cx:pt idx="2814">-0.30335789099999999</cx:pt>
          <cx:pt idx="2815">-0.30268516000000001</cx:pt>
          <cx:pt idx="2816">-0.29846996199999998</cx:pt>
          <cx:pt idx="2817">-0.29830436900000001</cx:pt>
          <cx:pt idx="2818">-0.29813877700000002</cx:pt>
          <cx:pt idx="2819">-0.297798495</cx:pt>
          <cx:pt idx="2820">-0.297467394</cx:pt>
          <cx:pt idx="2821">-0.29661854300000001</cx:pt>
          <cx:pt idx="2822">-0.29645168599999999</cx:pt>
          <cx:pt idx="2823">-0.29458847500000002</cx:pt>
          <cx:pt idx="2824">-0.29240730300000001</cx:pt>
          <cx:pt idx="2825">-0.29123391999999998</cx:pt>
          <cx:pt idx="2826">-0.29072543499999998</cx:pt>
          <cx:pt idx="2827">-0.29039163800000001</cx:pt>
          <cx:pt idx="2828">-0.29021955999999999</cx:pt>
          <cx:pt idx="2829">-0.28852446799999998</cx:pt>
          <cx:pt idx="2830">-0.28819993700000002</cx:pt>
          <cx:pt idx="2831">-0.28735378099999997</cx:pt>
          <cx:pt idx="2832">-0.28601219500000002</cx:pt>
          <cx:pt idx="2833">-0.28500044600000002</cx:pt>
          <cx:pt idx="2834">-0.28380735400000001</cx:pt>
          <cx:pt idx="2835">-0.28281009299999998</cx:pt>
          <cx:pt idx="2836">-0.282468463</cx:pt>
          <cx:pt idx="2837">-0.28230287100000001</cx:pt>
          <cx:pt idx="2838">-0.28196258899999999</cx:pt>
          <cx:pt idx="2839">-0.28163140399999997</cx:pt>
          <cx:pt idx="2840">-0.28145662999999999</cx:pt>
          <cx:pt idx="2841">-0.28112552899999999</cx:pt>
          <cx:pt idx="2842">-0.28095867299999999</cx:pt>
          <cx:pt idx="2843">-0.28061839199999999</cx:pt>
          <cx:pt idx="2844">-0.28061704399999998</cx:pt>
          <cx:pt idx="2845">-0.28045279899999997</cx:pt>
          <cx:pt idx="2846">-0.280283332</cx:pt>
          <cx:pt idx="2847">-0.28011251700000001</cx:pt>
          <cx:pt idx="2848">-0.27994692500000001</cx:pt>
          <cx:pt idx="2849">-0.27977215100000002</cx:pt>
          <cx:pt idx="2850">-0.27976431800000001</cx:pt>
          <cx:pt idx="2851">-0.278258487</cx:pt>
          <cx:pt idx="2852">-0.27589066499999998</cx:pt>
          <cx:pt idx="2853">-0.27489340299999998</cx:pt>
          <cx:pt idx="2854">-0.27471079700000001</cx:pt>
          <cx:pt idx="2855">-0.27438752900000002</cx:pt>
          <cx:pt idx="2856">-0.27404724699999999</cx:pt>
          <cx:pt idx="2857">-0.27354128799999999</cx:pt>
          <cx:pt idx="2858">-0.27169256400000003</cx:pt>
          <cx:pt idx="2859">-0.270510001</cx:pt>
          <cx:pt idx="2860">-0.27017233000000002</cx:pt>
          <cx:pt idx="2861">-0.26949960000000001</cx:pt>
          <cx:pt idx="2862">-0.26933400699999999</cx:pt>
          <cx:pt idx="2863">-0.26798189300000003</cx:pt>
          <cx:pt idx="2864">-0.26629876099999999</cx:pt>
          <cx:pt idx="2865">-0.266133169</cx:pt>
          <cx:pt idx="2866">-0.26595839500000001</cx:pt>
          <cx:pt idx="2867">-0.26578892799999998</cx:pt>
          <cx:pt idx="2868">-0.265783622</cx:pt>
          <cx:pt idx="2869">-0.26562333500000002</cx:pt>
          <cx:pt idx="2870">-0.26545782699999998</cx:pt>
          <cx:pt idx="2871">-0.26529223499999999</cx:pt>
          <cx:pt idx="2872">-0.26512276699999998</cx:pt>
          <cx:pt idx="2873">-0.26478636</cx:pt>
          <cx:pt idx="2874">-0.26428048599999998</cx:pt>
          <cx:pt idx="2875">-0.26394020400000001</cx:pt>
          <cx:pt idx="2876">-0.26377461099999999</cx:pt>
          <cx:pt idx="2877">-0.26359983799999998</cx:pt>
          <cx:pt idx="2878">-0.26326873699999997</cx:pt>
          <cx:pt idx="2879">-0.26309396400000001</cx:pt>
          <cx:pt idx="2880">-0.26308739399999997</cx:pt>
          <cx:pt idx="2881">-0.26276286300000001</cx:pt>
          <cx:pt idx="2882">-0.26225698800000002</cx:pt>
          <cx:pt idx="2883">-0.26191662199999999</cx:pt>
          <cx:pt idx="2884">-0.26040295800000002</cx:pt>
          <cx:pt idx="2885">-0.260237365</cx:pt>
          <cx:pt idx="2886">-0.259897084</cx:pt>
          <cx:pt idx="2887">-0.25939120900000001</cx:pt>
          <cx:pt idx="2888">-0.25922561700000002</cx:pt>
          <cx:pt idx="2889">-0.25905092699999999</cx:pt>
          <cx:pt idx="2890">-0.25854505300000002</cx:pt>
          <cx:pt idx="2891">-0.25837946000000001</cx:pt>
          <cx:pt idx="2892">-0.25821386800000001</cx:pt>
          <cx:pt idx="2893">-0.25634939299999998</cx:pt>
          <cx:pt idx="2894">-0.25534943599999999</cx:pt>
          <cx:pt idx="2895">-0.25518384399999999</cx:pt>
          <cx:pt idx="2896">-0.255015724</cx:pt>
          <cx:pt idx="2897">-0.25484356200000002</cx:pt>
          <cx:pt idx="2898">-0.25467796999999998</cx:pt>
          <cx:pt idx="2899">-0.25366622100000003</cx:pt>
          <cx:pt idx="2900">-0.25316034599999998</cx:pt>
          <cx:pt idx="2901">-0.252994838</cx:pt>
          <cx:pt idx="2902">-0.25282006499999998</cx:pt>
          <cx:pt idx="2903">-0.252148598</cx:pt>
          <cx:pt idx="2904">-0.25198308899999999</cx:pt>
          <cx:pt idx="2905">-0.25164272300000001</cx:pt>
          <cx:pt idx="2906">-0.25147721499999998</cx:pt>
          <cx:pt idx="2907">-0.25130244200000001</cx:pt>
          <cx:pt idx="2908">-0.251136849</cx:pt>
          <cx:pt idx="2909">-0.25097134100000001</cx:pt>
          <cx:pt idx="2910">-0.25063628100000002</cx:pt>
          <cx:pt idx="2911">-0.25029591499999998</cx:pt>
          <cx:pt idx="2912">-0.24574304599999999</cx:pt>
          <cx:pt idx="2913">-0.24573773900000001</cx:pt>
          <cx:pt idx="2914">-0.245242393</cx:pt>
          <cx:pt idx="2915">-0.24507680100000001</cx:pt>
          <cx:pt idx="2916">-0.24490868099999999</cx:pt>
          <cx:pt idx="2917">-0.24473651900000001</cx:pt>
          <cx:pt idx="2918">-0.244389667</cx:pt>
          <cx:pt idx="2919">-0.23798799000000001</cx:pt>
          <cx:pt idx="2920">-0.23766345899999999</cx:pt>
          <cx:pt idx="2921">-0.236977505</cx:pt>
          <cx:pt idx="2922">-0.236817218</cx:pt>
          <cx:pt idx="2923">-0.23513534999999999</cx:pt>
          <cx:pt idx="2924">-0.23496984200000001</cx:pt>
          <cx:pt idx="2925">-0.234629476</cx:pt>
          <cx:pt idx="2926">-0.23311185300000001</cx:pt>
          <cx:pt idx="2927">-0.23277157100000001</cx:pt>
          <cx:pt idx="2928">-0.232766265</cx:pt>
          <cx:pt idx="2929">-0.23260597899999999</cx:pt>
          <cx:pt idx="2930">-0.232440386</cx:pt>
          <cx:pt idx="2931">-0.23227353000000001</cx:pt>
          <cx:pt idx="2932">-0.232100104</cx:pt>
          <cx:pt idx="2933">-0.231769003</cx:pt>
          <cx:pt idx="2934">-0.23142863699999999</cx:pt>
          <cx:pt idx="2935">-0.23059031399999999</cx:pt>
          <cx:pt idx="2936">-0.23024742200000001</cx:pt>
          <cx:pt idx="2937">-0.22991632100000001</cx:pt>
          <cx:pt idx="2938">-0.22974154699999999</cx:pt>
          <cx:pt idx="2939">-0.22973362999999999</cx:pt>
          <cx:pt idx="2940">-0.229235673</cx:pt>
          <cx:pt idx="2941">-0.22872979800000001</cx:pt>
          <cx:pt idx="2942">-0.22856420599999999</cx:pt>
          <cx:pt idx="2943">-0.22822392399999999</cx:pt>
          <cx:pt idx="2944">-0.228058331</cx:pt>
          <cx:pt idx="2945">-0.22789273900000001</cx:pt>
          <cx:pt idx="2946">-0.22771805000000001</cx:pt>
          <cx:pt idx="2947">-0.22738686499999999</cx:pt>
          <cx:pt idx="2948">-0.22738560099999999</cx:pt>
          <cx:pt idx="2949">-0.223669707</cx:pt>
          <cx:pt idx="2950">-0.22233334299999999</cx:pt>
          <cx:pt idx="2951">-0.22166195999999999</cx:pt>
          <cx:pt idx="2952">-0.221156086</cx:pt>
          <cx:pt idx="2953">-0.22081571999999999</cx:pt>
          <cx:pt idx="2954">-0.22065021200000001</cx:pt>
          <cx:pt idx="2955">-0.22013903100000001</cx:pt>
          <cx:pt idx="2956">-0.21980793000000001</cx:pt>
          <cx:pt idx="2957">-0.21946764799999999</cx:pt>
          <cx:pt idx="2958">-0.219302056</cx:pt>
          <cx:pt idx="2959">-0.21879618100000001</cx:pt>
          <cx:pt idx="2960">-0.21862140799999999</cx:pt>
          <cx:pt idx="2961">-0.218455815</cx:pt>
          <cx:pt idx="2962">-0.218115533</cx:pt>
          <cx:pt idx="2963">-0.21794994100000001</cx:pt>
          <cx:pt idx="2964">-0.21761884000000001</cx:pt>
          <cx:pt idx="2965">-0.21744406599999999</cx:pt>
          <cx:pt idx="2966">-0.21710900699999999</cx:pt>
          <cx:pt idx="2967">-0.216607091</cx:pt>
          <cx:pt idx="2968">-0.216266809</cx:pt>
          <cx:pt idx="2969">-0.21576093499999999</cx:pt>
          <cx:pt idx="2970">-0.21542056900000001</cx:pt>
          <cx:pt idx="2971">-0.215260283</cx:pt>
          <cx:pt idx="2972">-0.21508550900000001</cx:pt>
          <cx:pt idx="2973">-0.212565318</cx:pt>
          <cx:pt idx="2974">-0.21222503700000001</cx:pt>
          <cx:pt idx="2975">-0.211884671</cx:pt>
          <cx:pt idx="2976">-0.21171916199999999</cx:pt>
          <cx:pt idx="2977">-0.21155357</cx:pt>
          <cx:pt idx="2978">-0.211213288</cx:pt>
          <cx:pt idx="2979">-0.21070741300000001</cx:pt>
          <cx:pt idx="2980">-0.21020676099999999</cx:pt>
          <cx:pt idx="2981">-0.21002541799999999</cx:pt>
          <cx:pt idx="2982">-0.20986647899999999</cx:pt>
          <cx:pt idx="2983">-0.209532683</cx:pt>
          <cx:pt idx="2984">-0.20935791000000001</cx:pt>
          <cx:pt idx="2985">-0.20902680900000001</cx:pt>
          <cx:pt idx="2986">-0.207674778</cx:pt>
          <cx:pt idx="2987">-0.20649743700000001</cx:pt>
          <cx:pt idx="2988">-0.20615715500000001</cx:pt>
          <cx:pt idx="2989">-0.20599156299999999</cx:pt>
          <cx:pt idx="2990">-0.20582597</cx:pt>
          <cx:pt idx="2991">-0.20565119700000001</cx:pt>
          <cx:pt idx="2992">-0.205485688</cx:pt>
          <cx:pt idx="2993">-0.20363426900000001</cx:pt>
          <cx:pt idx="2994">-0.20278937599999999</cx:pt>
          <cx:pt idx="2995">-0.202449095</cx:pt>
          <cx:pt idx="2996">-0.202117994</cx:pt>
          <cx:pt idx="2997">-0.20194978999999999</cx:pt>
          <cx:pt idx="2998">-0.20194844200000001</cx:pt>
          <cx:pt idx="2999">-0.20147762799999999</cx:pt>
          <cx:pt idx="3000">-0.201271753</cx:pt>
          <cx:pt idx="3001">-0.20126518299999999</cx:pt>
          <cx:pt idx="3002">-0.200940652</cx:pt>
          <cx:pt idx="3003">-0.20060037</cx:pt>
          <cx:pt idx="3004">-0.20043351400000001</cx:pt>
          <cx:pt idx="3005">-0.20009971800000001</cx:pt>
          <cx:pt idx="3006">-0.19992494499999999</cx:pt>
          <cx:pt idx="3007">-0.19975943600000001</cx:pt>
          <cx:pt idx="3008">-0.19959384399999999</cx:pt>
          <cx:pt idx="3009">-0.19942563999999999</cx:pt>
          <cx:pt idx="3010">-0.199253562</cx:pt>
          <cx:pt idx="3011">-0.19908797</cx:pt>
          <cx:pt idx="3012">-0.19891319599999999</cx:pt>
          <cx:pt idx="3013">-0.19874768800000001</cx:pt>
          <cx:pt idx="3014">-0.19858209499999999</cx:pt>
          <cx:pt idx="3015">-0.198076221</cx:pt>
          <cx:pt idx="3016">-0.19773585499999999</cx:pt>
          <cx:pt idx="3017">-0.19757034600000001</cx:pt>
          <cx:pt idx="3018">-0.19689626800000001</cx:pt>
          <cx:pt idx="3019">-0.19621166200000001</cx:pt>
          <cx:pt idx="3020">-0.19588713099999999</cx:pt>
          <cx:pt idx="3021">-0.19503305700000001</cx:pt>
          <cx:pt idx="3022">-0.19454032199999999</cx:pt>
          <cx:pt idx="3023">-0.19318829200000001</cx:pt>
          <cx:pt idx="3024">-0.19184274700000001</cx:pt>
          <cx:pt idx="3025">-0.190653614</cx:pt>
          <cx:pt idx="3026">-0.18898092699999999</cx:pt>
          <cx:pt idx="3027">-0.188806153</cx:pt>
          <cx:pt idx="3028">-0.188640645</cx:pt>
          <cx:pt idx="3029">-0.18830027899999999</cx:pt>
          <cx:pt idx="3030">-0.18813477000000001</cx:pt>
          <cx:pt idx="3031">-0.18796917799999999</cx:pt>
          <cx:pt idx="3032">-0.18728330800000001</cx:pt>
          <cx:pt idx="3033">-0.18645155499999999</cx:pt>
          <cx:pt idx="3034">-0.186104619</cx:pt>
          <cx:pt idx="3035">-0.184929973</cx:pt>
          <cx:pt idx="3036">-0.184598872</cx:pt>
          <cx:pt idx="3037">-0.18425850599999999</cx:pt>
          <cx:pt idx="3038">-0.18409299800000001</cx:pt>
          <cx:pt idx="3039">-0.18392740499999999</cx:pt>
          <cx:pt idx="3040">-0.183752632</cx:pt>
          <cx:pt idx="3041">-0.18342018299999999</cx:pt>
          <cx:pt idx="3042">-0.18291565600000001</cx:pt>
          <cx:pt idx="3043">-0.18274088299999999</cx:pt>
          <cx:pt idx="3044">-0.182235008</cx:pt>
          <cx:pt idx="3045">-0.18139803299999999</cx:pt>
          <cx:pt idx="3046">-0.18123244099999999</cx:pt>
          <cx:pt idx="3047">-0.18105766700000001</cx:pt>
          <cx:pt idx="3048">-0.18072656600000001</cx:pt>
          <cx:pt idx="3049">-0.18038628400000001</cx:pt>
          <cx:pt idx="3050">-0.18022069199999999</cx:pt>
          <cx:pt idx="3051">-0.180040696</cx:pt>
          <cx:pt idx="3052">-0.17869784699999999</cx:pt>
          <cx:pt idx="3053">-0.178532254</cx:pt>
          <cx:pt idx="3054">-0.17836666200000001</cx:pt>
          <cx:pt idx="3055">-0.17802638000000001</cx:pt>
          <cx:pt idx="3056">-0.17768609799999999</cx:pt>
          <cx:pt idx="3057">-0.177354913</cx:pt>
          <cx:pt idx="3058">-0.17701463100000001</cx:pt>
          <cx:pt idx="3059">-0.17684903799999999</cx:pt>
          <cx:pt idx="3060">-0.176343164</cx:pt>
          <cx:pt idx="3061">-0.17617765599999999</cx:pt>
          <cx:pt idx="3062">-0.17583729000000001</cx:pt>
          <cx:pt idx="3063">-0.17567043399999999</cx:pt>
          <cx:pt idx="3064">-0.17549700800000001</cx:pt>
          <cx:pt idx="3065">-0.17499113399999999</cx:pt>
          <cx:pt idx="3066">-0.17483084700000001</cx:pt>
          <cx:pt idx="3067">-0.17465607399999999</cx:pt>
          <cx:pt idx="3068">-0.17432497299999999</cx:pt>
          <cx:pt idx="3069">-0.17381901399999999</cx:pt>
          <cx:pt idx="3070">-0.17364432499999999</cx:pt>
          <cx:pt idx="3071">-0.17363901900000001</cx:pt>
          <cx:pt idx="3072">-0.17331314</cx:pt>
          <cx:pt idx="3073">-0.17297285800000001</cx:pt>
          <cx:pt idx="3074">-0.17280726599999999</cx:pt>
          <cx:pt idx="3075">-0.17263257600000001</cx:pt>
          <cx:pt idx="3076">-0.172301391</cx:pt>
          <cx:pt idx="3077">-0.171961109</cx:pt>
          <cx:pt idx="3078">-0.17195453999999999</cx:pt>
          <cx:pt idx="3079">-0.17162739699999999</cx:pt>
          <cx:pt idx="3080">-0.17112413400000001</cx:pt>
          <cx:pt idx="3081">-0.17094936099999999</cx:pt>
          <cx:pt idx="3082">-0.170783768</cx:pt>
          <cx:pt idx="3083">-0.17061825999999999</cx:pt>
          <cx:pt idx="3084">-0.17044348600000001</cx:pt>
          <cx:pt idx="3085">-0.170112385</cx:pt>
          <cx:pt idx="3086">-0.16960255199999999</cx:pt>
          <cx:pt idx="3087">-0.16927145099999999</cx:pt>
          <cx:pt idx="3088">-0.16910324800000001</cx:pt>
          <cx:pt idx="3089">-0.16876549299999999</cx:pt>
          <cx:pt idx="3090">-0.16859080400000001</cx:pt>
          <cx:pt idx="3091">-0.16842521099999999</cx:pt>
          <cx:pt idx="3092">-0.168259618</cx:pt>
          <cx:pt idx="3093">-0.167919337</cx:pt>
          <cx:pt idx="3094">-0.167579055</cx:pt>
          <cx:pt idx="3095">-0.16757509600000001</cx:pt>
          <cx:pt idx="3096">-0.16724786999999999</cx:pt>
          <cx:pt idx="3097">-0.16707318099999999</cx:pt>
          <cx:pt idx="3098">-0.166907588</cx:pt>
          <cx:pt idx="3099">-0.16657387600000001</cx:pt>
          <cx:pt idx="3100">-0.16623612099999999</cx:pt>
          <cx:pt idx="3101">-0.165730247</cx:pt>
          <cx:pt idx="3102">-0.16556473799999999</cx:pt>
          <cx:pt idx="3103">-0.16522437200000001</cx:pt>
          <cx:pt idx="3104">-0.165058864</cx:pt>
          <cx:pt idx="3105">-0.16454903100000001</cx:pt>
          <cx:pt idx="3106">-0.16421793000000001</cx:pt>
          <cx:pt idx="3107">-0.163877564</cx:pt>
          <cx:pt idx="3108">-0.16353728200000001</cx:pt>
          <cx:pt idx="3109">-0.16337169000000001</cx:pt>
          <cx:pt idx="3110">-0.162865815</cx:pt>
          <cx:pt idx="3111">-0.162525533</cx:pt>
          <cx:pt idx="3112">-0.16219434799999999</cx:pt>
          <cx:pt idx="3113">-0.16201965900000001</cx:pt>
          <cx:pt idx="3114">-0.16184749700000001</cx:pt>
          <cx:pt idx="3115">-0.161688474</cx:pt>
          <cx:pt idx="3116">-0.161520354</cx:pt>
          <cx:pt idx="3117">-0.161348192</cx:pt>
          <cx:pt idx="3118">-0.16118260000000001</cx:pt>
          <cx:pt idx="3119">-0.161017091</cx:pt>
          <cx:pt idx="3120">-0.16084231800000001</cx:pt>
          <cx:pt idx="3121">-0.160170851</cx:pt>
          <cx:pt idx="3122">-0.15949550900000001</cx:pt>
          <cx:pt idx="3123">-0.15932991699999999</cx:pt>
          <cx:pt idx="3124">-0.15696217900000001</cx:pt>
          <cx:pt idx="3125">-0.15596357</cx:pt>
          <cx:pt idx="3126">-0.15578879600000001</cx:pt>
          <cx:pt idx="3127">-0.15562320399999999</cx:pt>
          <cx:pt idx="3128">-0.155117329</cx:pt>
          <cx:pt idx="3129">-0.15495182099999999</cx:pt>
          <cx:pt idx="3130">-0.15495047300000001</cx:pt>
          <cx:pt idx="3131">-0.154777048</cx:pt>
          <cx:pt idx="3132">-0.15477174099999999</cx:pt>
          <cx:pt idx="3133">-0.15460749600000001</cx:pt>
          <cx:pt idx="3134">-0.154441988</cx:pt>
          <cx:pt idx="3135">-0.15427639500000001</cx:pt>
          <cx:pt idx="3136">-0.15275877199999999</cx:pt>
          <cx:pt idx="3137">-0.15208730500000001</cx:pt>
          <cx:pt idx="3138">-0.151912616</cx:pt>
          <cx:pt idx="3139">-0.15158143099999999</cx:pt>
          <cx:pt idx="3140">-0.15124114899999999</cx:pt>
          <cx:pt idx="3141">-0.151075557</cx:pt>
          <cx:pt idx="3142">-0.15091004799999999</cx:pt>
          <cx:pt idx="3143">-0.15056968200000001</cx:pt>
          <cx:pt idx="3144">-0.15022940000000001</cx:pt>
          <cx:pt idx="3145">-0.15006380799999999</cx:pt>
          <cx:pt idx="3146">-0.14989829900000001</cx:pt>
          <cx:pt idx="3147">-0.149723526</cx:pt>
          <cx:pt idx="3148">-0.14922287400000001</cx:pt>
          <cx:pt idx="3149">-0.14888259200000001</cx:pt>
          <cx:pt idx="3150">-0.14871699899999999</cx:pt>
          <cx:pt idx="3151">-0.14855149100000001</cx:pt>
          <cx:pt idx="3152">-0.147033784</cx:pt>
          <cx:pt idx="3153">-0.146859095</cx:pt>
          <cx:pt idx="3154">-0.14635844200000001</cx:pt>
          <cx:pt idx="3155">-0.14567518300000001</cx:pt>
          <cx:pt idx="3156">-0.144169352</cx:pt>
          <cx:pt idx="3157">-0.14130626800000001</cx:pt>
          <cx:pt idx="3158">-0.14113410600000001</cx:pt>
          <cx:pt idx="3159">-0.141127536</cx:pt>
          <cx:pt idx="3160">-0.14096851399999999</cx:pt>
          <cx:pt idx="3161">-0.14080300500000001</cx:pt>
          <cx:pt idx="3162">-0.14062823199999999</cx:pt>
          <cx:pt idx="3163">-0.140122357</cx:pt>
          <cx:pt idx="3164">-0.13961648300000001</cx:pt>
          <cx:pt idx="3165">-0.139611177</cx:pt>
          <cx:pt idx="3166">-0.13945484899999999</cx:pt>
          <cx:pt idx="3167">-0.13945350200000001</cx:pt>
          <cx:pt idx="3168">-0.13911456699999999</cx:pt>
          <cx:pt idx="3169">-0.13877420100000001</cx:pt>
          <cx:pt idx="3170">-0.13860869300000001</cx:pt>
          <cx:pt idx="3171">-0.138268327</cx:pt>
          <cx:pt idx="3172">-0.137937226</cx:pt>
          <cx:pt idx="3173">-0.13743135200000001</cx:pt>
          <cx:pt idx="3174">-0.137090986</cx:pt>
          <cx:pt idx="3175">-0.136922866</cx:pt>
          <cx:pt idx="3176">-0.13675727400000001</cx:pt>
          <cx:pt idx="3177">-0.136251399</cx:pt>
          <cx:pt idx="3178">-0.13523965099999999</cx:pt>
          <cx:pt idx="3179">-0.13489936899999999</cx:pt>
          <cx:pt idx="3180">-0.13456818400000001</cx:pt>
          <cx:pt idx="3181">-0.13440132799999999</cx:pt>
          <cx:pt idx="3182">-0.133895453</cx:pt>
          <cx:pt idx="3183">-0.133555171</cx:pt>
          <cx:pt idx="3184">-0.13338957900000001</cx:pt>
          <cx:pt idx="3185">-0.13321480499999999</cx:pt>
          <cx:pt idx="3186">-0.13304929700000001</cx:pt>
          <cx:pt idx="3187">-0.13288370499999999</cx:pt>
          <cx:pt idx="3188">-0.13254342299999999</cx:pt>
          <cx:pt idx="3189">-0.13237783</cx:pt>
          <cx:pt idx="3190">-0.13220305700000001</cx:pt>
          <cx:pt idx="3191">-0.13203746399999999</cx:pt>
          <cx:pt idx="3192">-0.12984584699999999</cx:pt>
          <cx:pt idx="3193">-0.129514662</cx:pt>
          <cx:pt idx="3194">-0.12917303299999999</cx:pt>
          <cx:pt idx="3195">-0.12884193199999999</cx:pt>
          <cx:pt idx="3196">-0.12850165</cx:pt>
          <cx:pt idx="3197">-0.12799577600000001</cx:pt>
          <cx:pt idx="3198">-0.12765541</cx:pt>
          <cx:pt idx="3199">-0.127324309</cx:pt>
          <cx:pt idx="3200">-0.126984027</cx:pt>
          <cx:pt idx="3201">-0.12681447600000001</cx:pt>
          <cx:pt idx="3202">-0.12648337500000001</cx:pt>
          <cx:pt idx="3203">-0.126143009</cx:pt>
          <cx:pt idx="3204">-0.12597749999999999</cx:pt>
          <cx:pt idx="3205">-0.12563713400000001</cx:pt>
          <cx:pt idx="3206">-0.124965752</cx:pt>
          <cx:pt idx="3207">-0.124459877</cx:pt>
          <cx:pt idx="3208">-0.12395400299999999</cx:pt>
          <cx:pt idx="3209">-0.120923979</cx:pt>
          <cx:pt idx="3210">-0.120418104</cx:pt>
          <cx:pt idx="3211">-0.12024333099999999</cx:pt>
          <cx:pt idx="3212">-0.120239372</cx:pt>
          <cx:pt idx="3213">-0.120077738</cx:pt>
          <cx:pt idx="3214">-0.11991222999999999</cx:pt>
          <cx:pt idx="3215">-0.11973745700000001</cx:pt>
          <cx:pt idx="3216">-0.119571864</cx:pt>
          <cx:pt idx="3217">-0.118733541</cx:pt>
          <cx:pt idx="3218">-0.115024217</cx:pt>
          <cx:pt idx="3219">-0.114858709</cx:pt>
          <cx:pt idx="3220">-0.114679976</cx:pt>
          <cx:pt idx="3221">-0.11451834299999999</cx:pt>
          <cx:pt idx="3222">-0.114178061</cx:pt>
          <cx:pt idx="3223">-0.11384696</cx:pt>
          <cx:pt idx="3224">-0.11368136700000001</cx:pt>
          <cx:pt idx="3225">-0.113501372</cx:pt>
          <cx:pt idx="3226">-0.11334108499999999</cx:pt>
          <cx:pt idx="3227">-0.113175493</cx:pt>
          <cx:pt idx="3228">-0.112835211</cx:pt>
          <cx:pt idx="3229">-0.112163744</cx:pt>
          <cx:pt idx="3230">-0.11198501199999999</cx:pt>
          <cx:pt idx="3231">-0.111823462</cx:pt>
          <cx:pt idx="3232">-0.11132280999999999</cx:pt>
          <cx:pt idx="3233">-0.11114281500000001</cx:pt>
          <cx:pt idx="3234">-0.110982444</cx:pt>
          <cx:pt idx="3235">-0.110642162</cx:pt>
          <cx:pt idx="3236">-0.110136288</cx:pt>
          <cx:pt idx="3237">-0.10997069499999999</cx:pt>
          <cx:pt idx="3238">-0.109630414</cx:pt>
          <cx:pt idx="3239">-0.109626455</cx:pt>
          <cx:pt idx="3240">-0.109464821</cx:pt>
          <cx:pt idx="3241">-0.10912453900000001</cx:pt>
          <cx:pt idx="3242">-0.108958947</cx:pt>
          <cx:pt idx="3243">-0.108287564</cx:pt>
          <cx:pt idx="3244">-0.108121971</cx:pt>
          <cx:pt idx="3245">-0.108120624</cx:pt>
          <cx:pt idx="3246">-0.10794719799999999</cx:pt>
          <cx:pt idx="3247">-0.107941976</cx:pt>
          <cx:pt idx="3248">-0.10778169</cx:pt>
          <cx:pt idx="3249">-0.107614749</cx:pt>
          <cx:pt idx="3250">-0.10592900700000001</cx:pt>
          <cx:pt idx="3251">-0.105425744</cx:pt>
          <cx:pt idx="3252">-0.104078935</cx:pt>
          <cx:pt idx="3253">-0.10357306099999999</cx:pt>
          <cx:pt idx="3254">-0.10339828700000001</cx:pt>
          <cx:pt idx="3255">-0.10306710199999999</cx:pt>
          <cx:pt idx="3256">-0.102892413</cx:pt>
          <cx:pt idx="3257">-0.10272682</cx:pt>
          <cx:pt idx="3258">-0.102561228</cx:pt>
          <cx:pt idx="3259">-0.100369527</cx:pt>
          <cx:pt idx="3260">-0.100025286</cx:pt>
          <cx:pt idx="3261">-0.098171339999999996</cx:pt>
          <cx:pt idx="3262">-0.098013665</cx:pt>
          <cx:pt idx="3263">-0.097507706</cx:pt>
          <cx:pt idx="3264">-0.096827143000000004</cx:pt>
          <cx:pt idx="3265">-0.096661549999999999</cx:pt>
          <cx:pt idx="3266">-0.095821963999999996</cx:pt>
          <cx:pt idx="3267">-0.095481598000000001</cx:pt>
          <cx:pt idx="3268">-0.095316089000000007</cx:pt>
          <cx:pt idx="3269">-0.095150497000000001</cx:pt>
          <cx:pt idx="3270">-0.094975722999999998</cx:pt>
          <cx:pt idx="3271">-0.094810131000000006</cx:pt>
          <cx:pt idx="3272">-0.094469848999999995</cx:pt>
          <cx:pt idx="3273">-0.093631526000000007</cx:pt>
          <cx:pt idx="3274">-0.092785370000000006</cx:pt>
          <cx:pt idx="3275">-0.092619777</cx:pt>
          <cx:pt idx="3276">-0.092279496000000003</cx:pt>
          <cx:pt idx="3277">-0.092113902999999997</cx:pt>
          <cx:pt idx="3278">-0.092107333</cx:pt>
          <cx:pt idx="3279">-0.091948310000000005</cx:pt>
          <cx:pt idx="3280">-0.091096932000000005</cx:pt>
          <cx:pt idx="3281">-0.088738290999999997</cx:pt>
          <cx:pt idx="3282">-0.088578005000000001</cx:pt>
          <cx:pt idx="3283">-0.088237723000000004</cx:pt>
          <cx:pt idx="3284">-0.088072129999999998</cx:pt>
          <cx:pt idx="3285">-0.087906622000000004</cx:pt>
          <cx:pt idx="3286">-0.087222015</cx:pt>
          <cx:pt idx="3287">-0.086894789</cx:pt>
          <cx:pt idx="3288">-0.086720099999999994</cx:pt>
          <cx:pt idx="3289">-0.086554507000000003</cx:pt>
          <cx:pt idx="3290">-0.086386303999999997</cx:pt>
          <cx:pt idx="3291">-0.086220795000000003</cx:pt>
          <cx:pt idx="3292">-0.086046022</cx:pt>
          <cx:pt idx="3293">-0.085714920999999999</cx:pt>
          <cx:pt idx="3294">-0.085369333000000006</cx:pt>
          <cx:pt idx="3295">-0.085209045999999997</cx:pt>
          <cx:pt idx="3296">-0.085043454000000004</cx:pt>
          <cx:pt idx="3297">-0.084868680000000002</cx:pt>
          <cx:pt idx="3298">-0.084863458000000003</cx:pt>
          <cx:pt idx="3299">-0.084703087999999996</cx:pt>
          <cx:pt idx="3300">-0.084362805999999999</cx:pt>
          <cx:pt idx="3301">-0.084197214000000006</cx:pt>
          <cx:pt idx="3302">-0.084190643999999995</cx:pt>
          <cx:pt idx="3303">-0.084031704999999998</cx:pt>
          <cx:pt idx="3304">-0.083184200999999999</cx:pt>
          <cx:pt idx="3305">-0.083018608999999993</cx:pt>
          <cx:pt idx="3306">-0.082853099999999999</cx:pt>
          <cx:pt idx="3307">-0.082678326999999996</cx:pt>
          <cx:pt idx="3308">-0.082172453000000006</cx:pt>
          <cx:pt idx="3309">-0.082006860000000001</cx:pt>
          <cx:pt idx="3310">-0.079989932</cx:pt>
          <cx:pt idx="3311">-0.079815158999999997</cx:pt>
          <cx:pt idx="3312">-0.079484057999999996</cx:pt>
          <cx:pt idx="3313">-0.079309284999999993</cx:pt>
          <cx:pt idx="3314">-0.079143692000000002</cx:pt>
          <cx:pt idx="3315">-0.079137122000000004</cx:pt>
          <cx:pt idx="3316">-0.078802063000000006</cx:pt>
          <cx:pt idx="3317">-0.078631248000000001</cx:pt>
          <cx:pt idx="3318">-0.078305452999999997</cx:pt>
          <cx:pt idx="3319">-0.077965087000000002</cx:pt>
          <cx:pt idx="3320">-0.077624805000000005</cx:pt>
          <cx:pt idx="3321">-0.077118931000000002</cx:pt>
          <cx:pt idx="3322">-0.076787746000000004</cx:pt>
          <cx:pt idx="3323">-0.076613056999999998</cx:pt>
          <cx:pt idx="3324">-0.076447464000000007</cx:pt>
          <cx:pt idx="3325">-0.076440893999999995</cx:pt>
          <cx:pt idx="3326">-0.076113752000000007</cx:pt>
          <cx:pt idx="3327">-0.075938979000000004</cx:pt>
          <cx:pt idx="3328">-0.075773385999999998</cx:pt>
          <cx:pt idx="3329">-0.075607878000000003</cx:pt>
          <cx:pt idx="3330">-0.075433104000000001</cx:pt>
          <cx:pt idx="3331">-0.075267511999999995</cx:pt>
          <cx:pt idx="3332">-0.074936410999999994</cx:pt>
          <cx:pt idx="3333">-0.074935062999999996</cx:pt>
          <cx:pt idx="3334">-0.074761637000000006</cx:pt>
          <cx:pt idx="3335">-0.074756415000000007</cx:pt>
          <cx:pt idx="3336">-0.074430537000000005</cx:pt>
          <cx:pt idx="3337">-0.074255763000000002</cx:pt>
          <cx:pt idx="3338">-0.074082336999999998</cx:pt>
          <cx:pt idx="3339">-0.073924662000000002</cx:pt>
          <cx:pt idx="3340">-0.073748541000000001</cx:pt>
          <cx:pt idx="3341">-0.073251932000000006</cx:pt>
          <cx:pt idx="3342">-0.073077158000000003</cx:pt>
          <cx:pt idx="3343">-0.072911565999999997</cx:pt>
          <cx:pt idx="3344">-0.072746057000000003</cx:pt>
          <cx:pt idx="3345">-0.072405690999999994</cx:pt>
          <cx:pt idx="3346">-0.072240182999999999</cx:pt>
          <cx:pt idx="3347">-0.071559534999999994</cx:pt>
          <cx:pt idx="3348">-0.071225738999999996</cx:pt>
          <cx:pt idx="3349">-0.070713294999999995</cx:pt>
          <cx:pt idx="3350">-0.070554355999999999</cx:pt>
          <cx:pt idx="3351">-0.070376971999999996</cx:pt>
          <cx:pt idx="3352">-0.070213990000000004</cx:pt>
          <cx:pt idx="3353">-0.069198282999999999</cx:pt>
          <cx:pt idx="3354">-0.067344337000000004</cx:pt>
          <cx:pt idx="3355">-0.065160468999999999</cx:pt>
          <cx:pt idx="3356">-0.064994960000000004</cx:pt>
          <cx:pt idx="3357">-0.064654593999999996</cx:pt>
          <cx:pt idx="3358">-0.064489086000000001</cx:pt>
          <cx:pt idx="3359">-0.064323493999999995</cx:pt>
          <cx:pt idx="3360">-0.064148720000000006</cx:pt>
          <cx:pt idx="3361">-0.063983211999999998</cx:pt>
          <cx:pt idx="3362">-0.063817619000000006</cx:pt>
          <cx:pt idx="3363">-0.063649415000000001</cx:pt>
          <cx:pt idx="3364">-0.062637666999999994</cx:pt>
          <cx:pt idx="3365">-0.062290814999999999</cx:pt>
          <cx:pt idx="3366">-0.061957019000000002</cx:pt>
          <cx:pt idx="3367">-0.061625918000000002</cx:pt>
          <cx:pt idx="3368">-0.060778414000000003</cx:pt>
          <cx:pt idx="3369">-0.060612821999999997</cx:pt>
          <cx:pt idx="3370">-0.060106947000000001</cx:pt>
          <cx:pt idx="3371">-0.059268623999999999</cx:pt>
          <cx:pt idx="3372">-0.059093935</cx:pt>
          <cx:pt idx="3373">-0.058762750000000002</cx:pt>
          <cx:pt idx="3374">-0.058595894000000003</cx:pt>
          <cx:pt idx="3375">-0.058417162000000002</cx:pt>
          <cx:pt idx="3376">-0.058255611999999998</cx:pt>
          <cx:pt idx="3377">-0.057921816000000001</cx:pt>
          <cx:pt idx="3378">-0.057749738000000002</cx:pt>
          <cx:pt idx="3379">-0.057243862999999999</cx:pt>
          <cx:pt idx="3380">-0.057078271</cx:pt>
          <cx:pt idx="3381">-0.056572397000000003</cx:pt>
          <cx:pt idx="3382">-0.056397623000000001</cx:pt>
          <cx:pt idx="3383">-0.056232114999999999</cx:pt>
          <cx:pt idx="3384">-0.056063911000000001</cx:pt>
          <cx:pt idx="3385">-0.055723544999999999</cx:pt>
          <cx:pt idx="3386">-0.055558036999999998</cx:pt>
          <cx:pt idx="3387">-0.055392443999999999</cx:pt>
          <cx:pt idx="3388">-0.055226852</cx:pt>
          <cx:pt idx="3389">-0.051518874999999999</cx:pt>
          <cx:pt idx="3390">-0.050338923000000001</cx:pt>
          <cx:pt idx="3391">-0.049667455999999999</cx:pt>
          <cx:pt idx="3392">-0.049488808000000002</cx:pt>
          <cx:pt idx="3393">-0.049327174000000001</cx:pt>
          <cx:pt idx="3394">-0.049161581000000003</cx:pt>
          <cx:pt idx="3395">-0.048488850999999999</cx:pt>
          <cx:pt idx="3396">-0.048314078000000003</cx:pt>
          <cx:pt idx="3397">-0.046287968999999998</cx:pt>
          <cx:pt idx="3398">-0.044779527</cx:pt>
          <cx:pt idx="3399">-0.044771608999999997</cx:pt>
          <cx:pt idx="3400">-0.044273651999999997</cx:pt>
          <cx:pt idx="3401">-0.043933370999999999</cx:pt>
          <cx:pt idx="3402">-0.043929412000000001</cx:pt>
          <cx:pt idx="3403">-0.043602185000000002</cx:pt>
          <cx:pt idx="3404">-0.043435329000000002</cx:pt>
          <cx:pt idx="3405">-0.043095047999999997</cx:pt>
          <cx:pt idx="3406">-0.042929454999999998</cx:pt>
          <cx:pt idx="3407">-0.042589173000000001</cx:pt>
          <cx:pt idx="3408">-0.042423581000000002</cx:pt>
          <cx:pt idx="3409">-0.042248806999999999</cx:pt>
          <cx:pt idx="3410">-0.041742933000000003</cx:pt>
          <cx:pt idx="3411">-0.041577425000000001</cx:pt>
          <cx:pt idx="3412">-0.041237059</cx:pt>
          <cx:pt idx="3413">-0.041071549999999998</cx:pt>
          <cx:pt idx="3414">-0.040898039999999997</cx:pt>
          <cx:pt idx="3415">-0.040737754000000001</cx:pt>
          <cx:pt idx="3416">-0.040562980999999998</cx:pt>
          <cx:pt idx="3417">-0.040392166</cx:pt>
          <cx:pt idx="3418">-0.040231879999999998</cx:pt>
          <cx:pt idx="3419">-0.040057106000000002</cx:pt>
          <cx:pt idx="3420">-0.039726005000000002</cx:pt>
          <cx:pt idx="3421">-0.039560413000000003</cx:pt>
          <cx:pt idx="3422">-0.039220130999999998</cx:pt>
          <cx:pt idx="3423">-0.038879849000000001</cx:pt>
          <cx:pt idx="3424">-0.038875890000000003</cx:pt>
          <cx:pt idx="3425">-0.038714257000000002</cx:pt>
          <cx:pt idx="3426">-0.038548664000000003</cx:pt>
          <cx:pt idx="3427">-0.038372626999999999</cx:pt>
          <cx:pt idx="3428">-0.038041525999999999</cx:pt>
          <cx:pt idx="3429">-0.037707730000000002</cx:pt>
          <cx:pt idx="3430">-0.037535652000000003</cx:pt>
          <cx:pt idx="3431">-0.037370058999999997</cx:pt>
          <cx:pt idx="3432">-0.037029777</cx:pt>
          <cx:pt idx="3433">-0.036689410999999998</cx:pt>
          <cx:pt idx="3434">-0.036523903000000003</cx:pt>
          <cx:pt idx="3435">-0.036358310999999997</cx:pt>
          <cx:pt idx="3436">-0.036018029</cx:pt>
          <cx:pt idx="3437">-0.035849825000000002</cx:pt>
          <cx:pt idx="3438">-0.035684233000000003</cx:pt>
          <cx:pt idx="3439">-0.035178358</cx:pt>
          <cx:pt idx="3440">-0.034838076000000003</cx:pt>
          <cx:pt idx="3441">-0.034506890999999998</cx:pt>
          <cx:pt idx="3442">-0.034166609000000001</cx:pt>
          <cx:pt idx="3443">-0.033660734999999997</cx:pt>
          <cx:pt idx="3444">-0.032647638999999999</cx:pt>
          <cx:pt idx="3445">-0.031976256000000002</cx:pt>
          <cx:pt idx="3446">-0.03163589</cx:pt>
          <cx:pt idx="3447">-0.031304789</cx:pt>
          <cx:pt idx="3448">-0.031130016</cx:pt>
          <cx:pt idx="3449">-0.030455937999999998</cx:pt>
          <cx:pt idx="3450">-0.030290429000000001</cx:pt>
          <cx:pt idx="3451">-0.029618961999999999</cx:pt>
          <cx:pt idx="3452">-0.02945337</cx:pt>
          <cx:pt idx="3453">-0.028607213999999999</cx:pt>
          <cx:pt idx="3454">-0.028265584</cx:pt>
          <cx:pt idx="3455">-0.027594117000000001</cx:pt>
          <cx:pt idx="3456">-0.027088243000000001</cx:pt>
          <cx:pt idx="3457">-0.026922734</cx:pt>
          <cx:pt idx="3458">-0.026582367999999999</cx:pt>
          <cx:pt idx="3459">-0.02641686</cx:pt>
          <cx:pt idx="3460">-0.026076493999999999</cx:pt>
          <cx:pt idx="3461">-0.025577189</cx:pt>
          <cx:pt idx="3462">-0.025236907999999999</cx:pt>
          <cx:pt idx="3463">-0.025071315</cx:pt>
          <cx:pt idx="3464">-0.024896542000000001</cx:pt>
          <cx:pt idx="3465">-0.024059566000000001</cx:pt>
          <cx:pt idx="3466">-0.023388098999999999</cx:pt>
          <cx:pt idx="3467">-0.023219980000000001</cx:pt>
          <cx:pt idx="3468">-0.022879614</cx:pt>
          <cx:pt idx="3469">-0.022873043999999999</cx:pt>
          <cx:pt idx="3470">-0.022714106000000001</cx:pt>
          <cx:pt idx="3471">-0.02237374</cx:pt>
          <cx:pt idx="3472">-0.022367169999999999</cx:pt>
          <cx:pt idx="3473">-0.021527582999999999</cx:pt>
          <cx:pt idx="3474">-0.021361991</cx:pt>
          <cx:pt idx="3475">-0.021356769000000001</cx:pt>
          <cx:pt idx="3476">-0.021196398000000002</cx:pt>
          <cx:pt idx="3477">-0.021021709</cx:pt>
          <cx:pt idx="3478">-0.020689261</cx:pt>
          <cx:pt idx="3479">-0.020523667999999998</cx:pt>
          <cx:pt idx="3480">-0.020183386000000001</cx:pt>
          <cx:pt idx="3481">-0.019840409</cx:pt>
          <cx:pt idx="3482">-0.019337146</cx:pt>
          <cx:pt idx="3483">-0.019171636999999998</cx:pt>
          <cx:pt idx="3484">-0.019166331000000002</cx:pt>
          <cx:pt idx="3485">-0.019004697000000001</cx:pt>
          <cx:pt idx="3486">-0.018839188999999999</cx:pt>
          <cx:pt idx="3487">-0.018664415</cx:pt>
          <cx:pt idx="3488">-0.018661804000000001</cx:pt>
          <cx:pt idx="3489">-0.018498823000000001</cx:pt>
          <cx:pt idx="3490">-0.018493600999999998</cx:pt>
          <cx:pt idx="3491">-0.018333314999999999</cx:pt>
          <cx:pt idx="3492">-0.017991685</cx:pt>
          <cx:pt idx="3493">-0.017826093000000001</cx:pt>
          <cx:pt idx="3494">-0.017660584</cx:pt>
          <cx:pt idx="3495">-0.01715471</cx:pt>
          <cx:pt idx="3496">-0.016474062000000001</cx:pt>
          <cx:pt idx="3497">-0.013944689999999999</cx:pt>
          <cx:pt idx="3498">-0.012607063</cx:pt>
          <cx:pt idx="3499">-0.011249726</cx:pt>
          <cx:pt idx="3500">-0.0085534140000000005</cx:pt>
          <cx:pt idx="3501">-0.0083865580000000006</cx:pt>
          <cx:pt idx="3502">-0.0075535410000000004</cx:pt>
          <cx:pt idx="3503">-0.0041753179999999999</cx:pt>
          <cx:pt idx="3504">-0.0035012400000000001</cx:pt>
          <cx:pt idx="3505">-0.0033317730000000001</cx:pt>
          <cx:pt idx="3506">-0.0031727499999999998</cx:pt>
          <cx:pt idx="3507">-0.0026655279999999999</cx:pt>
          <cx:pt idx="3508">-0.0025000199999999999</cx:pt>
          <cx:pt idx="3509">-0.0019941450000000001</cx:pt>
          <cx:pt idx="3510">-0.001488271</cx:pt>
          <cx:pt idx="3511">-0.0013134970000000001</cx:pt>
          <cx:pt idx="3512">-0.00098239700000000009</cx:pt>
          <cx:pt idx="3513">-0.00064203100000000005</cx:pt>
          <cx:pt idx="3514">-0.00030958199999999998</cx:pt>
          <cx:pt idx="3515">3.0700000000000001e-05</cx:pt>
          <cx:pt idx="3516">0.00037106599999999997</cx:pt>
          <cx:pt idx="3517">0.00053657399999999995</cx:pt>
          <cx:pt idx="3518">0.0015496710000000001</cx:pt>
          <cx:pt idx="3519">0.001880771</cx:pt>
          <cx:pt idx="3520">0.0020568930000000002</cx:pt>
          <cx:pt idx="3521">0.0023879930000000001</cx:pt>
          <cx:pt idx="3522">0.002893868</cx:pt>
          <cx:pt idx="3523">0.0030593759999999999</cx:pt>
          <cx:pt idx="3524">0.0035652510000000002</cx:pt>
          <cx:pt idx="3525">0.0039056170000000001</cx:pt>
          <cx:pt idx="3526">0.0042458979999999997</cx:pt>
          <cx:pt idx="3527">0.0044167130000000001</cx:pt>
          <cx:pt idx="3528">0.004578347</cx:pt>
          <cx:pt idx="3529">0.0061012760000000001</cx:pt>
          <cx:pt idx="3530">0.006269396</cx:pt>
          <cx:pt idx="3531">0.009631868</cx:pt>
          <cx:pt idx="3532">0.01148194</cx:pt>
          <cx:pt idx="3533">0.012671073</cx:pt>
          <cx:pt idx="3534">0.014686738</cx:pt>
          <cx:pt idx="3535">0.015027019000000001</cx:pt>
          <cx:pt idx="3536">0.015358119999999999</cx:pt>
          <cx:pt idx="3537">0.015698486000000001</cx:pt>
          <cx:pt idx="3538">0.015863994999999999</cx:pt>
          <cx:pt idx="3539">0.016376439</cx:pt>
          <cx:pt idx="3540">0.016711498000000002</cx:pt>
          <cx:pt idx="3541">0.016877091</cx:pt>
          <cx:pt idx="3542">0.017042683999999999</cx:pt>
          <cx:pt idx="3543">0.017213498000000001</cx:pt>
          <cx:pt idx="3544">0.017724594999999999</cx:pt>
          <cx:pt idx="3545">0.025641284</cx:pt>
          <cx:pt idx="3546">0.025969774000000001</cx:pt>
          <cx:pt idx="3547">0.030864273000000001</cx:pt>
          <cx:pt idx="3548">0.032374063000000002</cx:pt>
          <cx:pt idx="3549">0.033055974000000002</cx:pt>
          <cx:pt idx="3550">0.033220219000000002</cx:pt>
          <cx:pt idx="3551">0.033385812000000001</cx:pt>
          <cx:pt idx="3552">0.033551320000000003</cx:pt>
          <cx:pt idx="3553">0.033891685999999997</cx:pt>
          <cx:pt idx="3554">0.034224135000000003</cx:pt>
          <cx:pt idx="3555">0.034401518999999998</cx:pt>
          <cx:pt idx="3556">0.034730008999999999</cx:pt>
          <cx:pt idx="3557">0.035070291000000003</cx:pt>
          <cx:pt idx="3558">0.035576165</cx:pt>
          <cx:pt idx="3559">0.035911224999999998</cx:pt>
          <cx:pt idx="3560">0.036076816999999997</cx:pt>
          <cx:pt idx="3561">0.036417099000000001</cx:pt>
          <cx:pt idx="3562">0.036750894999999999</cx:pt>
          <cx:pt idx="3563">0.036925584999999997</cx:pt>
          <cx:pt idx="3564">0.037256770000000002</cx:pt>
          <cx:pt idx="3565">0.039623159999999998</cx:pt>
          <cx:pt idx="3566">0.041979106000000002</cx:pt>
          <cx:pt idx="3567">0.042310291</cx:pt>
          <cx:pt idx="3568">0.042983022000000003</cx:pt>
          <cx:pt idx="3569">0.043323303000000001</cx:pt>
          <cx:pt idx="3570">0.043663669000000002</cx:pt>
          <cx:pt idx="3571">0.043994770000000002</cx:pt>
          <cx:pt idx="3572">0.044169543999999998</cx:pt>
          <cx:pt idx="3573">0.044172154999999998</cx:pt>
          <cx:pt idx="3574">0.044335052</cx:pt>
          <cx:pt idx="3575">0.044340358000000003</cx:pt>
          <cx:pt idx="3576">0.044675418000000001</cx:pt>
          <cx:pt idx="3577">0.045007867</cx:pt>
          <cx:pt idx="3578">0.045014435999999998</cx:pt>
          <cx:pt idx="3579">0.047870950000000002</cx:pt>
          <cx:pt idx="3580">0.048036543000000001</cx:pt>
          <cx:pt idx="3581">0.048542416999999997</cx:pt>
          <cx:pt idx="3582">0.048882699000000002</cx:pt>
          <cx:pt idx="3583">0.049048292</cx:pt>
          <cx:pt idx="3584">0.049223065000000003</cx:pt>
          <cx:pt idx="3585">0.049388573999999998</cx:pt>
          <cx:pt idx="3586">0.049393880000000001</cx:pt>
          <cx:pt idx="3587">0.049554165999999997</cx:pt>
          <cx:pt idx="3588">0.050404281000000002</cx:pt>
          <cx:pt idx="3589">0.05191146</cx:pt>
          <cx:pt idx="3590">0.052088844000000002</cx:pt>
          <cx:pt idx="3591">0.053941527000000003</cx:pt>
          <cx:pt idx="3592">0.054612910000000001</cx:pt>
          <cx:pt idx="3593">0.056292166999999997</cx:pt>
          <cx:pt idx="3594">0.056805959000000003</cx:pt>
          <cx:pt idx="3595">0.058147545000000002</cx:pt>
          <cx:pt idx="3596">0.058322234000000001</cx:pt>
          <cx:pt idx="3597">0.058323581999999999</cx:pt>
          <cx:pt idx="3598">0.058487826999999999</cx:pt>
          <cx:pt idx="3599">0.058653418999999998</cx:pt>
          <cx:pt idx="3600">0.058658640999999997</cx:pt>
          <cx:pt idx="3601">0.058993701000000003</cx:pt>
          <cx:pt idx="3602">0.060503491</cx:pt>
          <cx:pt idx="3603">0.061859480000000001</cx:pt>
          <cx:pt idx="3604">0.062193192000000001</cx:pt>
          <cx:pt idx="3605">0.062358785</cx:pt>
          <cx:pt idx="3606">0.062524377000000006</cx:pt>
          <cx:pt idx="3607">0.067249324999999999</cx:pt>
          <cx:pt idx="3608">0.067577814</cx:pt>
          <cx:pt idx="3609">0.067755282999999999</cx:pt>
          <cx:pt idx="3610">0.069607965999999993</cx:pt>
          <cx:pt idx="3611">0.071452731000000005</cx:pt>
          <cx:pt idx="3612">0.073314678999999994</cx:pt>
          <cx:pt idx="3613">0.073482798000000002</cx:pt>
          <cx:pt idx="3614">0.075503685000000001</cx:pt>
          <cx:pt idx="3615">0.077188248000000001</cx:pt>
          <cx:pt idx="3616">0.077356367999999995</cx:pt>
          <cx:pt idx="3617">0.077519349000000001</cx:pt>
          <cx:pt idx="3618">0.077857019999999999</cx:pt>
          <cx:pt idx="3619">0.078022612000000005</cx:pt>
          <cx:pt idx="3620">0.078362894000000002</cx:pt>
          <cx:pt idx="3621">0.078539015000000004</cx:pt>
          <cx:pt idx="3622">0.078703259999999997</cx:pt>
          <cx:pt idx="3623">0.078868769000000005</cx:pt>
          <cx:pt idx="3624">0.078872727000000004</cx:pt>
          <cx:pt idx="3625">0.079209135</cx:pt>
          <cx:pt idx="3626">0.079540236</cx:pt>
          <cx:pt idx="3627">0.079880516999999998</cx:pt>
          <cx:pt idx="3628">0.080551983999999993</cx:pt>
          <cx:pt idx="3629">0.080892266000000004</cx:pt>
          <cx:pt idx="3630">0.081228673000000001</cx:pt>
          <cx:pt idx="3631">0.081394266000000007</cx:pt>
          <cx:pt idx="3632">0.081734548000000004</cx:pt>
          <cx:pt idx="3633">0.082910541000000004</cx:pt>
          <cx:pt idx="3634">0.083076133999999996</cx:pt>
          <cx:pt idx="3635">0.083250823000000002</cx:pt>
          <cx:pt idx="3636">0.083421722000000004</cx:pt>
          <cx:pt idx="3637">0.083592536999999995</cx:pt>
          <cx:pt idx="3638">0.083922289999999997</cx:pt>
          <cx:pt idx="3639">0.084262656000000005</cx:pt>
          <cx:pt idx="3640">0.084428164</cx:pt>
          <cx:pt idx="3641">0.084760612999999999</cx:pt>
          <cx:pt idx="3642">0.084935386000000002</cx:pt>
          <cx:pt idx="3643">0.085441261000000004</cx:pt>
          <cx:pt idx="3644">0.085947134999999994</cx:pt>
          <cx:pt idx="3645">0.086282195000000006</cx:pt>
          <cx:pt idx="3646">0.086613296000000006</cx:pt>
          <cx:pt idx="3647">0.086788068999999995</cx:pt>
          <cx:pt idx="3648">0.087121780999999995</cx:pt>
          <cx:pt idx="3649">0.087287374000000001</cx:pt>
          <cx:pt idx="3650">0.087462147000000004</cx:pt>
          <cx:pt idx="3651">0.087464758000000004</cx:pt>
          <cx:pt idx="3652">0.087801166</cx:pt>
          <cx:pt idx="3653">0.087964062999999995</cx:pt>
          <cx:pt idx="3654">0.088129655000000001</cx:pt>
          <cx:pt idx="3655">0.089485645000000003</cx:pt>
          <cx:pt idx="3656">0.089653847999999994</cx:pt>
          <cx:pt idx="3657">0.091000656999999999</cx:pt>
          <cx:pt idx="3658">0.09100192</cx:pt>
          <cx:pt idx="3659">0.091335715999999997</cx:pt>
          <cx:pt idx="3660">0.091501309000000003</cx:pt>
          <cx:pt idx="3661">0.091841591</cx:pt>
          <cx:pt idx="3662">0.092175303</cx:pt>
          <cx:pt idx="3663">0.092340895000000006</cx:pt>
          <cx:pt idx="3664">0.092515668999999995</cx:pt>
          <cx:pt idx="3665">0.092518279999999994</cx:pt>
          <cx:pt idx="3666">0.092846769999999995</cx:pt>
          <cx:pt idx="3667">0.093183177000000006</cx:pt>
          <cx:pt idx="3668">0.093699495999999993</cx:pt>
          <cx:pt idx="3669">0.094202758999999997</cx:pt>
          <cx:pt idx="3670">0.094369699000000001</cx:pt>
          <cx:pt idx="3671">0.094535206999999996</cx:pt>
          <cx:pt idx="3672">0.094867655999999995</cx:pt>
          <cx:pt idx="3673">0.095042428999999998</cx:pt>
          <cx:pt idx="3674">0.095207938000000006</cx:pt>
          <cx:pt idx="3675">0.097908208999999996</cx:pt>
          <cx:pt idx="3676">0.098071106000000005</cx:pt>
          <cx:pt idx="3677">0.098236697999999997</cx:pt>
          <cx:pt idx="3678">0.098576979999999995</cx:pt>
          <cx:pt idx="3679">0.098753016999999998</cx:pt>
          <cx:pt idx="3680">0.098917262000000006</cx:pt>
          <cx:pt idx="3681">0.099256280000000002</cx:pt>
          <cx:pt idx="3682">0.099592687999999999</cx:pt>
          <cx:pt idx="3683">0.10060308900000001</cx:pt>
          <cx:pt idx="3684">0.100767334</cx:pt>
          <cx:pt idx="3685">0.10093292600000001</cx:pt>
          <cx:pt idx="3686">0.100940844</cx:pt>
          <cx:pt idx="3687">0.10110769999999999</cx:pt>
          <cx:pt idx="3688">0.101273208</cx:pt>
          <cx:pt idx="3689">0.101608268</cx:pt>
          <cx:pt idx="3690">0.102114226</cx:pt>
          <cx:pt idx="3691">0.102447938</cx:pt>
          <cx:pt idx="3692">0.102622712</cx:pt>
          <cx:pt idx="3693">0.10295381300000001</cx:pt>
          <cx:pt idx="3694">0.103124627</cx:pt>
          <cx:pt idx="3695">0.10329022</cx:pt>
          <cx:pt idx="3696">0.10346490899999999</cx:pt>
          <cx:pt idx="3697">0.103467604</cx:pt>
          <cx:pt idx="3698">0.103630502</cx:pt>
          <cx:pt idx="3699">0.103635724</cx:pt>
          <cx:pt idx="3700">0.103806539</cx:pt>
          <cx:pt idx="3701">0.103970784</cx:pt>
          <cx:pt idx="3702">0.104136376</cx:pt>
          <cx:pt idx="3703">0.10430196899999999</cx:pt>
          <cx:pt idx="3704">0.104476742</cx:pt>
          <cx:pt idx="3705">0.104814413</cx:pt>
          <cx:pt idx="3706">0.104974699</cx:pt>
          <cx:pt idx="3707">0.105314981</cx:pt>
          <cx:pt idx="3708">0.105320287</cx:pt>
          <cx:pt idx="3709">0.10582085500000001</cx:pt>
          <cx:pt idx="3710">0.105986448</cx:pt>
          <cx:pt idx="3711">0.106496281</cx:pt>
          <cx:pt idx="3712">0.107002155</cx:pt>
          <cx:pt idx="3713">0.107335867</cx:pt>
          <cx:pt idx="3714">0.107676233</cx:pt>
          <cx:pt idx="3715">0.108007334</cx:pt>
          <cx:pt idx="3716">0.108352922</cx:pt>
          <cx:pt idx="3717">0.108518431</cx:pt>
          <cx:pt idx="3718">0.108689245</cx:pt>
          <cx:pt idx="3719">0.10886005999999999</cx:pt>
          <cx:pt idx="3720">0.11003740100000001</cx:pt>
          <cx:pt idx="3721">0.111715311</cx:pt>
          <cx:pt idx="3722">0.11205567700000001</cx:pt>
          <cx:pt idx="3723">0.11205828800000001</cx:pt>
          <cx:pt idx="3724">0.112226491</cx:pt>
          <cx:pt idx="3725">0.11238938900000001</cx:pt>
          <cx:pt idx="3726">0.11323167000000001</cx:pt>
          <cx:pt idx="3727">0.113571952</cx:pt>
          <cx:pt idx="3728">0.114243419</cx:pt>
          <cx:pt idx="3729">0.114583701</cx:pt>
          <cx:pt idx="3730">0.117617684</cx:pt>
          <cx:pt idx="3731">0.118791066</cx:pt>
          <cx:pt idx="3732">0.118797636</cx:pt>
          <cx:pt idx="3733">0.118967103</cx:pt>
          <cx:pt idx="3734">0.119131348</cx:pt>
          <cx:pt idx="3735">0.119302163</cx:pt>
          <cx:pt idx="3736">0.119637222</cx:pt>
          <cx:pt idx="3737">0.119969671</cx:pt>
          <cx:pt idx="3738">0.120144444</cx:pt>
          <cx:pt idx="3739">0.12031003699999999</cx:pt>
          <cx:pt idx="3740">0.12064113799999999</cx:pt>
          <cx:pt idx="3741">0.120815911</cx:pt>
          <cx:pt idx="3742">0.121323049</cx:pt>
          <cx:pt idx="3743">0.12149125299999999</cx:pt>
          <cx:pt idx="3744">0.124692092</cx:pt>
          <cx:pt idx="3745">0.12502976199999999</cx:pt>
          <cx:pt idx="3746">0.125869433</cx:pt>
          <cx:pt idx="3747">0.12587204399999999</cx:pt>
          <cx:pt idx="3748">0.12603494100000001</cx:pt>
          <cx:pt idx="3749">0.12604024799999999</cx:pt>
          <cx:pt idx="3750">0.126200534</cx:pt>
          <cx:pt idx="3751">0.12637530699999999</cx:pt>
          <cx:pt idx="3752">0.127042815</cx:pt>
          <cx:pt idx="3753">0.12772472700000001</cx:pt>
          <cx:pt idx="3754">0.127890319</cx:pt>
          <cx:pt idx="3755">0.12839223499999999</cx:pt>
          <cx:pt idx="3756">0.12873251699999999</cx:pt>
          <cx:pt idx="3757">0.12873521199999999</cx:pt>
          <cx:pt idx="3758">0.12889810900000001</cx:pt>
          <cx:pt idx="3759">0.129074146</cx:pt>
          <cx:pt idx="3760">0.12923839100000001</cx:pt>
          <cx:pt idx="3761">0.129409206</cx:pt>
          <cx:pt idx="3762">0.12974561300000001</cx:pt>
          <cx:pt idx="3763">0.13007671400000001</cx:pt>
          <cx:pt idx="3764">0.13041707999999999</cx:pt>
          <cx:pt idx="3765">0.130582588</cx:pt>
          <cx:pt idx="3766">0.13092295400000001</cx:pt>
          <cx:pt idx="3767">0.13108846299999999</cx:pt>
          <cx:pt idx="3768">0.13193596699999999</cx:pt>
          <cx:pt idx="3769">0.133284123</cx:pt>
          <cx:pt idx="3770">0.13345232600000001</cx:pt>
          <cx:pt idx="3771">0.13395685299999999</cx:pt>
          <cx:pt idx="3772">0.13614198399999999</cx:pt>
          <cx:pt idx="3773">0.13664785900000001</cx:pt>
          <cx:pt idx="3774">0.136818673</cx:pt>
          <cx:pt idx="3775">0.13698426599999999</cx:pt>
          <cx:pt idx="3776">0.13714985800000001</cx:pt>
          <cx:pt idx="3777">0.137656996</cx:pt>
          <cx:pt idx="3778">0.13783176999999999</cx:pt>
          <cx:pt idx="3779">0.13867405099999999</cx:pt>
          <cx:pt idx="3780">0.142885291</cx:pt>
          <cx:pt idx="3781">0.143727573</cx:pt>
          <cx:pt idx="3782">0.14456976999999999</cx:pt>
          <cx:pt idx="3783">0.144739322</cx:pt>
          <cx:pt idx="3784">0.14490483000000001</cx:pt>
          <cx:pt idx="3785">0.145070423</cx:pt>
          <cx:pt idx="3786">0.145237278</cx:pt>
          <cx:pt idx="3787">0.14541205200000001</cx:pt>
          <cx:pt idx="3788">0.14558025599999999</cx:pt>
          <cx:pt idx="3789">0.145917926</cx:pt>
          <cx:pt idx="3790">0.146249027</cx:pt>
          <cx:pt idx="3791">0.147938813</cx:pt>
          <cx:pt idx="3792">0.15130254900000001</cx:pt>
          <cx:pt idx="3793">0.15164291499999999</cx:pt>
          <cx:pt idx="3794">0.151645526</cx:pt>
          <cx:pt idx="3795">0.15214483000000001</cx:pt>
          <cx:pt idx="3796">0.15281756099999999</cx:pt>
          <cx:pt idx="3797">0.15332343500000001</cx:pt>
          <cx:pt idx="3798">0.15720357400000001</cx:pt>
          <cx:pt idx="3799">0.159562131</cx:pt>
          <cx:pt idx="3800">0.160404413</cx:pt>
          <cx:pt idx="3801">0.16225709599999999</cx:pt>
          <cx:pt idx="3802">0.16242664700000001</cx:pt>
          <cx:pt idx="3803">0.163100725</cx:pt>
          <cx:pt idx="3804">0.163268844</cx:pt>
          <cx:pt idx="3805">0.163431826</cx:pt>
          <cx:pt idx="3806">0.16427933</cx:pt>
          <cx:pt idx="3807">0.16848534700000001</cx:pt>
          <cx:pt idx="3808">0.168660121</cx:pt>
          <cx:pt idx="3809">0.168661384</cx:pt>
          <cx:pt idx="3810">0.168996444</cx:pt>
          <cx:pt idx="3811">0.169327545</cx:pt>
          <cx:pt idx="3812">0.16933285100000001</cx:pt>
          <cx:pt idx="3813">0.16983341900000001</cx:pt>
          <cx:pt idx="3814">0.169999012</cx:pt>
          <cx:pt idx="3815">0.17017378499999999</cx:pt>
          <cx:pt idx="3816">0.17050623400000001</cx:pt>
          <cx:pt idx="3817">0.170846515</cx:pt>
          <cx:pt idx="3818">0.17101733</cx:pt>
          <cx:pt idx="3819">0.17118688100000001</cx:pt>
          <cx:pt idx="3820">0.17135238999999999</cx:pt>
          <cx:pt idx="3821">0.17151798200000001</cx:pt>
          <cx:pt idx="3822">0.17185961199999999</cx:pt>
          <cx:pt idx="3823">0.172023857</cx:pt>
          <cx:pt idx="3824">0.172358916</cx:pt>
          <cx:pt idx="3825">0.17277020300000001</cx:pt>
          <cx:pt idx="3826">0.17303821699999999</cx:pt>
          <cx:pt idx="3827">0.17320380899999999</cx:pt>
          <cx:pt idx="3828">0.173369317</cx:pt>
          <cx:pt idx="3829">0.17354409100000001</cx:pt>
          <cx:pt idx="3830">0.173709684</cx:pt>
          <cx:pt idx="3831">0.17387519200000001</cx:pt>
          <cx:pt idx="3832">0.17388049799999999</cx:pt>
          <cx:pt idx="3833">0.17421555799999999</cx:pt>
          <cx:pt idx="3834">0.174381066</cx:pt>
          <cx:pt idx="3835">0.174557187</cx:pt>
          <cx:pt idx="3836">0.17488694099999999</cx:pt>
          <cx:pt idx="3837">0.17505253300000001</cx:pt>
          <cx:pt idx="3838">0.175227307</cx:pt>
          <cx:pt idx="3839">0.17555975500000001</cx:pt>
          <cx:pt idx="3840">0.17606563</cx:pt>
          <cx:pt idx="3841">0.176400689</cx:pt>
          <cx:pt idx="3842">0.176913133</cx:pt>
          <cx:pt idx="3843">0.17724684499999999</cx:pt>
          <cx:pt idx="3844">0.17741243800000001</cx:pt>
          <cx:pt idx="3845">0.17758721099999999</cx:pt>
          <cx:pt idx="3846">0.17775272</cx:pt>
          <cx:pt idx="3847">0.177918312</cx:pt>
          <cx:pt idx="3848">0.17826128899999999</cx:pt>
          <cx:pt idx="3849">0.178426798</cx:pt>
          <cx:pt idx="3850">0.17876716400000001</cx:pt>
          <cx:pt idx="3851">0.17910348700000001</cx:pt>
          <cx:pt idx="3852">0.179269079</cx:pt>
          <cx:pt idx="3853">0.17961070900000001</cx:pt>
          <cx:pt idx="3854">0.17977495399999999</cx:pt>
          <cx:pt idx="3855">0.179940462</cx:pt>
          <cx:pt idx="3856">0.18011523600000001</cx:pt>
          <cx:pt idx="3857">0.180116583</cx:pt>
          <cx:pt idx="3858">0.18044633600000001</cx:pt>
          <cx:pt idx="3859">0.18078805000000001</cx:pt>
          <cx:pt idx="3860">0.18095355799999999</cx:pt>
          <cx:pt idx="3861">0.18111915100000001</cx:pt>
          <cx:pt idx="3862">0.18112437300000001</cx:pt>
          <cx:pt idx="3863">0.181293924</cx:pt>
          <cx:pt idx="3864">0.181295188</cx:pt>
          <cx:pt idx="3865">0.181459433</cx:pt>
          <cx:pt idx="3866">0.182977056</cx:pt>
          <cx:pt idx="3867">0.18331481099999999</cx:pt>
          <cx:pt idx="3868">0.18432521199999999</cx:pt>
          <cx:pt idx="3869">0.18483108600000001</cx:pt>
          <cx:pt idx="3870">0.185170105</cx:pt>
          <cx:pt idx="3871">0.18549985799999999</cx:pt>
          <cx:pt idx="3872">0.18566679799999999</cx:pt>
          <cx:pt idx="3873">0.18567336800000001</cx:pt>
          <cx:pt idx="3874">0.18617267300000001</cx:pt>
          <cx:pt idx="3875">0.186347446</cx:pt>
          <cx:pt idx="3876">0.18651295400000001</cx:pt>
          <cx:pt idx="3877">0.187694254</cx:pt>
          <cx:pt idx="3878">0.18887420699999999</cx:pt>
          <cx:pt idx="3879">0.18921052999999999</cx:pt>
          <cx:pt idx="3880">0.18954163099999999</cx:pt>
          <cx:pt idx="3881">0.18971775199999999</cx:pt>
          <cx:pt idx="3882">0.189881997</cx:pt>
          <cx:pt idx="3883">0.19022227899999999</cx:pt>
          <cx:pt idx="3884">0.19055337899999999</cx:pt>
          <cx:pt idx="3885">0.19072032</cx:pt>
          <cx:pt idx="3886">0.190895009</cx:pt>
          <cx:pt idx="3887">0.191060601</cx:pt>
          <cx:pt idx="3888">0.19257300199999999</cx:pt>
          <cx:pt idx="3889">0.19274777600000001</cx:pt>
          <cx:pt idx="3890">0.19291328399999999</cx:pt>
          <cx:pt idx="3891">0.19324707999999999</cx:pt>
          <cx:pt idx="3892">0.19342176999999999</cx:pt>
          <cx:pt idx="3893">0.194089278</cx:pt>
          <cx:pt idx="3894">0.19426405099999999</cx:pt>
          <cx:pt idx="3895">0.19442964400000001</cx:pt>
          <cx:pt idx="3896">0.19459515199999999</cx:pt>
          <cx:pt idx="3897">0.19510102700000001</cx:pt>
          <cx:pt idx="3898">0.19510633299999999</cx:pt>
          <cx:pt idx="3899">0.1952758</cx:pt>
          <cx:pt idx="3900">0.19544139299999999</cx:pt>
          <cx:pt idx="3901">0.195606901</cx:pt>
          <cx:pt idx="3902">0.195773841</cx:pt>
          <cx:pt idx="3903">0.19578041099999999</cx:pt>
          <cx:pt idx="3904">0.19594853000000001</cx:pt>
          <cx:pt idx="3905">0.196114123</cx:pt>
          <cx:pt idx="3906">0.19611673399999999</cx:pt>
          <cx:pt idx="3907">0.19627971599999999</cx:pt>
          <cx:pt idx="3908">0.19645448900000001</cx:pt>
          <cx:pt idx="3909">0.196960363</cx:pt>
          <cx:pt idx="3910">0.197627787</cx:pt>
          <cx:pt idx="3911">0.19813366199999999</cx:pt>
          <cx:pt idx="3912">0.19830060199999999</cx:pt>
          <cx:pt idx="3913">0.201673519</cx:pt>
          <cx:pt idx="3914">0.20167613000000001</cx:pt>
          <cx:pt idx="3915">0.20183911099999999</cx:pt>
          <cx:pt idx="3916">0.202013885</cx:pt>
          <cx:pt idx="3917">0.20201514800000001</cx:pt>
          <cx:pt idx="3918">0.20336069300000001</cx:pt>
          <cx:pt idx="3919">0.20403468699999999</cx:pt>
          <cx:pt idx="3920">0.20470750200000001</cx:pt>
          <cx:pt idx="3921">0.206223777</cx:pt>
          <cx:pt idx="3922">0.20689785499999999</cx:pt>
          <cx:pt idx="3923">0.20706740600000001</cx:pt>
          <cx:pt idx="3924">0.20739850700000001</cx:pt>
          <cx:pt idx="3925">0.207569322</cx:pt>
          <cx:pt idx="3926">0.20773483000000001</cx:pt>
          <cx:pt idx="3927">0.20807519599999999</cx:pt>
          <cx:pt idx="3928">0.20976102299999999</cx:pt>
          <cx:pt idx="3929">0.21312871799999999</cx:pt>
          <cx:pt idx="3930">0.21313132900000001</cx:pt>
          <cx:pt idx="3931">0.21548988599999999</cx:pt>
          <cx:pt idx="3932">0.216162616</cx:pt>
          <cx:pt idx="3933">0.21632820899999999</cx:pt>
          <cx:pt idx="3934">0.21633082000000001</cx:pt>
          <cx:pt idx="3935">0.216500371</cx:pt>
          <cx:pt idx="3936">0.21683408300000001</cx:pt>
          <cx:pt idx="3937">0.21717436500000001</cx:pt>
          <cx:pt idx="3938">0.21750554999999999</cx:pt>
          <cx:pt idx="3939">0.21767636500000001</cx:pt>
          <cx:pt idx="3940">0.21801664700000001</cx:pt>
          <cx:pt idx="3941">0.218182239</cx:pt>
          <cx:pt idx="3942">0.21834774800000001</cx:pt>
          <cx:pt idx="3943">0.21885631699999999</cx:pt>
          <cx:pt idx="3944">0.21919525200000001</cx:pt>
          <cx:pt idx="3945">0.21936345500000001</cx:pt>
          <cx:pt idx="3946">0.22037393999999999</cx:pt>
          <cx:pt idx="3947">0.221553893</cx:pt>
          <cx:pt idx="3948">0.221890216</cx:pt>
          <cx:pt idx="3949">0.222229234</cx:pt>
          <cx:pt idx="3950">0.22407534700000001</cx:pt>
          <cx:pt idx="3951">0.22408065399999999</cx:pt>
          <cx:pt idx="3952">0.22424877300000001</cx:pt>
          <cx:pt idx="3953">0.22441040700000001</cx:pt>
          <cx:pt idx="3954">0.22458518</cx:pt>
          <cx:pt idx="3955">0.22475203599999999</cx:pt>
          <cx:pt idx="3956">0.226439211</cx:pt>
          <cx:pt idx="3957">0.22828928200000001</cx:pt>
          <cx:pt idx="3958">0.228460097</cx:pt>
          <cx:pt idx="3959">0.228622994</cx:pt>
          <cx:pt idx="3960">0.22912886900000001</cx:pt>
          <cx:pt idx="3961">0.229465276</cx:pt>
          <cx:pt idx="3962">0.22964004900000001</cx:pt>
          <cx:pt idx="3963">0.22980555799999999</cx:pt>
          <cx:pt idx="3964">0.22997115000000001</cx:pt>
          <cx:pt idx="3965">0.230147187</cx:pt>
          <cx:pt idx="3966">0.23031143200000001</cx:pt>
          <cx:pt idx="3967">0.230477025</cx:pt>
          <cx:pt idx="3968">0.230480984</cx:pt>
          <cx:pt idx="3969">0.23098289899999999</cx:pt>
          <cx:pt idx="3970">0.23114975500000001</cx:pt>
          <cx:pt idx="3971">0.231324529</cx:pt>
          <cx:pt idx="3972">0.23149012099999999</cx:pt>
          <cx:pt idx="3973">0.23149273200000001</cx:pt>
          <cx:pt idx="3974">0.23182905500000001</cx:pt>
          <cx:pt idx="3975">0.23266737800000001</cx:pt>
          <cx:pt idx="3976">0.23300243800000001</cx:pt>
          <cx:pt idx="3977">0.23334280399999999</cx:pt>
          <cx:pt idx="3978">0.23351361900000001</cx:pt>
          <cx:pt idx="3979">0.233676516</cx:pt>
          <cx:pt idx="3980">0.23385128899999999</cx:pt>
          <cx:pt idx="3981">0.234187697</cx:pt>
          <cx:pt idx="3982">0.235869565</cx:pt>
          <cx:pt idx="3983">0.23604037899999999</cx:pt>
          <cx:pt idx="3984">0.23620327699999999</cx:pt>
          <cx:pt idx="3985">0.23637805000000001</cx:pt>
          <cx:pt idx="3986">0.23670915100000001</cx:pt>
          <cx:pt idx="3987">0.23704951699999999</cx:pt>
          <cx:pt idx="3988">0.237215025</cx:pt>
          <cx:pt idx="3989">0.237890451</cx:pt>
          <cx:pt idx="3990">0.23805595900000001</cx:pt>
          <cx:pt idx="3991">0.23873003700000001</cx:pt>
          <cx:pt idx="3992">0.23907040299999999</cx:pt>
          <cx:pt idx="3993">0.23957231900000001</cx:pt>
          <cx:pt idx="3994">0.23974709299999999</cx:pt>
          <cx:pt idx="3995">0.239912601</cx:pt>
          <cx:pt idx="3996">0.24025423000000001</cx:pt>
          <cx:pt idx="3997">0.24041847499999999</cx:pt>
          <cx:pt idx="3998">0.240419823</cx:pt>
          <cx:pt idx="3999">0.24058406800000001</cx:pt>
          <cx:pt idx="4000">0.240758841</cx:pt>
          <cx:pt idx="4001">0.24463106300000001</cx:pt>
          <cx:pt idx="4002">0.24581236300000001</cx:pt>
          <cx:pt idx="4003">0.24648509299999999</cx:pt>
          <cx:pt idx="4004">0.24665068600000001</cx:pt>
          <cx:pt idx="4005">0.24699096700000001</cx:pt>
          <cx:pt idx="4006">0.24732737499999999</cx:pt>
          <cx:pt idx="4007">0.24749549400000001</cx:pt>
          <cx:pt idx="4008">0.24918005800000001</cx:pt>
          <cx:pt idx="4009">0.24934295500000001</cx:pt>
          <cx:pt idx="4010">0.24951772799999999</cx:pt>
          <cx:pt idx="4011">0.24967936199999999</cx:pt>
          <cx:pt idx="4012">0.25001964399999999</cx:pt>
          <cx:pt idx="4013">0.25018523599999998</cx:pt>
          <cx:pt idx="4014">0.25019045899999998</cx:pt>
          <cx:pt idx="4015">0.250525518</cx:pt>
          <cx:pt idx="4016">0.25069111100000002</cx:pt>
          <cx:pt idx="4017">0.25103139299999999</cx:pt>
          <cx:pt idx="4018">0.25136384099999998</cx:pt>
          <cx:pt idx="4019">0.25170420700000001</cx:pt>
          <cx:pt idx="4020">0.25204448899999998</cx:pt>
          <cx:pt idx="4021">0.252210082</cx:pt>
          <cx:pt idx="4022">0.252550363</cx:pt>
          <cx:pt idx="4023">0.252881464</cx:pt>
          <cx:pt idx="4024">0.25305101600000002</cx:pt>
          <cx:pt idx="4025">0.253216524</cx:pt>
          <cx:pt idx="4026">0.25355950100000002</cx:pt>
          <cx:pt idx="4027">0.25372635700000001</cx:pt>
          <cx:pt idx="4028">0.25389194999999998</cx:pt>
          <cx:pt idx="4029">0.253897172</cx:pt>
          <cx:pt idx="4030">0.25406663899999998</cx:pt>
          <cx:pt idx="4031">0.25423223099999998</cx:pt>
          <cx:pt idx="4032">0.25423357899999999</cx:pt>
          <cx:pt idx="4033">0.25439782399999999</cx:pt>
          <cx:pt idx="4034">0.25473288399999999</cx:pt>
          <cx:pt idx="4035">0.25490765700000001</cx:pt>
          <cx:pt idx="4036">0.25507316499999999</cx:pt>
          <cx:pt idx="4037">0.25592066899999999</cx:pt>
          <cx:pt idx="4038">0.25625446499999999</cx:pt>
          <cx:pt idx="4039">0.25659213600000003</cx:pt>
          <cx:pt idx="4040">0.25692854300000001</cx:pt>
          <cx:pt idx="4041">0.25760523200000002</cx:pt>
          <cx:pt idx="4042">0.258613023</cx:pt>
          <cx:pt idx="4043">0.25878122599999998</cx:pt>
          <cx:pt idx="4044">0.25895069300000001</cx:pt>
          <cx:pt idx="4045">0.26012929800000001</cx:pt>
          <cx:pt idx="4046">0.26029227900000002</cx:pt>
          <cx:pt idx="4047">0.26046831599999998</cx:pt>
          <cx:pt idx="4048">0.26063129800000001</cx:pt>
          <cx:pt idx="4049">0.26097157999999998</cx:pt>
          <cx:pt idx="4050">0.26113843599999997</cx:pt>
          <cx:pt idx="4051">0.26130402800000002</cx:pt>
          <cx:pt idx="4052">0.26181116599999998</cx:pt>
          <cx:pt idx="4053">0.261976759</cx:pt>
          <cx:pt idx="4054">0.26215153200000002</cx:pt>
          <cx:pt idx="4055">0.26231712499999998</cx:pt>
          <cx:pt idx="4056">0.26231973600000003</cx:pt>
          <cx:pt idx="4057">0.26265740599999998</cx:pt>
          <cx:pt idx="4058">0.262822999</cx:pt>
          <cx:pt idx="4059">0.26298850699999998</cx:pt>
          <cx:pt idx="4060">0.26315932199999997</cx:pt>
          <cx:pt idx="4061">0.26332491499999999</cx:pt>
          <cx:pt idx="4062">0.26333013700000002</cx:pt>
          <cx:pt idx="4063">0.26349968800000001</cx:pt>
          <cx:pt idx="4064">0.26366519599999999</cx:pt>
          <cx:pt idx="4065">0.263997645</cx:pt>
          <cx:pt idx="4066">0.26417241800000002</cx:pt>
          <cx:pt idx="4067">0.26433927400000001</cx:pt>
          <cx:pt idx="4068">0.26450486699999998</cx:pt>
          <cx:pt idx="4069">0.26518020799999997</cx:pt>
          <cx:pt idx="4070">0.26518281900000001</cx:pt>
          <cx:pt idx="4071">0.26568608300000002</cx:pt>
          <cx:pt idx="4072">0.26585167500000001</cx:pt>
          <cx:pt idx="4073">0.266026449</cx:pt>
          <cx:pt idx="4074">0.26619195699999998</cx:pt>
          <cx:pt idx="4075">0.26635755</cx:pt>
          <cx:pt idx="4076">0.26652440599999999</cx:pt>
          <cx:pt idx="4077">0.26686468699999999</cx:pt>
          <cx:pt idx="4078">0.26703028000000001</cx:pt>
          <cx:pt idx="4079">0.26703550199999998</cx:pt>
          <cx:pt idx="4080">0.26737064599999999</cx:pt>
          <cx:pt idx="4081">0.26753615400000003</cx:pt>
          <cx:pt idx="4082">0.26771092800000001</cx:pt>
          <cx:pt idx="4083">0.26804994599999998</cx:pt>
          <cx:pt idx="4084">0.268378436</cx:pt>
          <cx:pt idx="4085">0.26855320999999999</cx:pt>
          <cx:pt idx="4086">0.26888826900000001</cx:pt>
          <cx:pt idx="4087">0.27074221500000001</cx:pt>
          <cx:pt idx="4088">0.27107997</cx:pt>
          <cx:pt idx="4089">0.27124547900000001</cx:pt>
          <cx:pt idx="4090">0.27158710800000002</cx:pt>
          <cx:pt idx="4091">0.27175270099999999</cx:pt>
          <cx:pt idx="4092">0.27191955699999998</cx:pt>
          <cx:pt idx="4093">0.27225722699999999</cx:pt>
          <cx:pt idx="4094">0.27259489799999997</cx:pt>
          <cx:pt idx="4095">0.27276310199999998</cx:pt>
          <cx:pt idx="4096">0.27292608299999999</cx:pt>
          <cx:pt idx="4097">0.27327032400000001</cx:pt>
          <cx:pt idx="4098">0.273435916</cx:pt>
          <cx:pt idx="4099">0.27343718</cx:pt>
          <cx:pt idx="4100">0.27377619800000003</cx:pt>
          <cx:pt idx="4101">0.27394179099999999</cx:pt>
          <cx:pt idx="4102">0.27428207199999999</cx:pt>
          <cx:pt idx="4103">0.27478272500000001</cx:pt>
          <cx:pt idx="4104">0.27512165900000002</cx:pt>
          <cx:pt idx="4105">0.27529121000000001</cx:pt>
          <cx:pt idx="4106">0.275793126</cx:pt>
          <cx:pt idx="4107">0.27595871799999999</cx:pt>
          <cx:pt idx="4108">0.27613349199999998</cx:pt>
          <cx:pt idx="4109">0.27629900000000002</cx:pt>
          <cx:pt idx="4110">0.27646855100000001</cx:pt>
          <cx:pt idx="4111">0.27646981500000001</cx:pt>
          <cx:pt idx="4112">0.27680622199999999</cx:pt>
          <cx:pt idx="4113">0.27697568900000002</cx:pt>
          <cx:pt idx="4114">0.27731074900000002</cx:pt>
          <cx:pt idx="4115">0.277482911</cx:pt>
          <cx:pt idx="4116">0.27764842000000001</cx:pt>
          <cx:pt idx="4117">0.277817971</cx:pt>
          <cx:pt idx="4118">0.27798356299999999</cx:pt>
          <cx:pt idx="4119">0.27815698900000002</cx:pt>
          <cx:pt idx="4120">0.27831988600000002</cx:pt>
          <cx:pt idx="4121">0.27848547899999998</cx:pt>
          <cx:pt idx="4122">0.278995312</cx:pt>
          <cx:pt idx="4123">0.278996576</cx:pt>
          <cx:pt idx="4124">0.279159557</cx:pt>
          <cx:pt idx="4125">0.27949983900000003</cx:pt>
          <cx:pt idx="4126">0.27966543100000002</cx:pt>
          <cx:pt idx="4127">0.28118827699999999</cx:pt>
          <cx:pt idx="4128">0.281694151</cx:pt>
          <cx:pt idx="4129">0.283210511</cx:pt>
          <cx:pt idx="4130">0.28977508600000002</cx:pt>
          <cx:pt idx="4131">0.29045042700000001</cx:pt>
          <cx:pt idx="4132">0.29213625399999998</cx:pt>
          <cx:pt idx="4133">0.29247131300000001</cx:pt>
          <cx:pt idx="4134">0.292975924</cx:pt>
          <cx:pt idx="4135">0.292977188</cx:pt>
          <cx:pt idx="4136">0.29364604399999999</cx:pt>
          <cx:pt idx="4137">0.29365126600000002</cx:pt>
          <cx:pt idx="4138">0.29382081700000001</cx:pt>
          <cx:pt idx="4139">0.29415587700000001</cx:pt>
          <cx:pt idx="4140">0.29432012200000002</cx:pt>
          <cx:pt idx="4141">0.29432534399999999</cx:pt>
          <cx:pt idx="4142">0.295844314</cx:pt>
          <cx:pt idx="4143">0.29668390100000003</cx:pt>
          <cx:pt idx="4144">0.297022919</cx:pt>
          <cx:pt idx="4145">0.29718977499999999</cx:pt>
          <cx:pt idx="4146">0.29803205700000002</cx:pt>
          <cx:pt idx="4147">0.29937364300000002</cx:pt>
          <cx:pt idx="4148">0.29988473999999998</cx:pt>
          <cx:pt idx="4149">0.30089783599999997</cx:pt>
          <cx:pt idx="4150">0.30106073300000002</cx:pt>
          <cx:pt idx="4151">0.30122632599999999</cx:pt>
          <cx:pt idx="4152">0.30140101499999999</cx:pt>
          <cx:pt idx="4153">0.30291602699999998</cx:pt>
          <cx:pt idx="4154">0.30308684200000002</cx:pt>
          <cx:pt idx="4155">0.30325243400000002</cx:pt>
          <cx:pt idx="4156">0.30358749400000001</cx:pt>
          <cx:pt idx="4157">0.30376226699999997</cx:pt>
          <cx:pt idx="4158">0.30409597900000002</cx:pt>
          <cx:pt idx="4159">0.304427165</cx:pt>
          <cx:pt idx="4160">0.30460185400000001</cx:pt>
          <cx:pt idx="4161">0.304767446</cx:pt>
          <cx:pt idx="4162">0.30493303900000002</cx:pt>
          <cx:pt idx="4163">0.30577523600000001</cx:pt>
          <cx:pt idx="4164">0.30595135699999998</cx:pt>
          <cx:pt idx="4165">0.306114255</cx:pt>
          <cx:pt idx="4166">0.30628902800000002</cx:pt>
          <cx:pt idx="4167">0.30645453700000003</cx:pt>
          <cx:pt idx="4168">0.30662012900000002</cx:pt>
          <cx:pt idx="4169">0.30679094400000001</cx:pt>
          <cx:pt idx="4170">0.30695392500000002</cx:pt>
          <cx:pt idx="4171">0.30745980000000001</cx:pt>
          <cx:pt idx="4172">0.30746502199999998</cx:pt>
          <cx:pt idx="4173">0.30780142900000002</cx:pt>
          <cx:pt idx="4174">0.309317705</cx:pt>
          <cx:pt idx="4175">0.30965015299999998</cx:pt>
          <cx:pt idx="4176">0.30982492700000003</cx:pt>
          <cx:pt idx="4177">0.31033206400000002</cx:pt>
          <cx:pt idx="4178">0.31082875799999998</cx:pt>
          <cx:pt idx="4179">0.31100487900000001</cx:pt>
          <cx:pt idx="4180">0.311338591</cx:pt>
          <cx:pt idx="4181">0.31150418400000002</cx:pt>
          <cx:pt idx="4182">0.31150805799999998</cx:pt>
          <cx:pt idx="4183">0.31184446500000002</cx:pt>
          <cx:pt idx="4184">0.312184831</cx:pt>
          <cx:pt idx="4185">0.31268539899999998</cx:pt>
          <cx:pt idx="4186">0.31504395600000001</cx:pt>
          <cx:pt idx="4187">0.315385586</cx:pt>
          <cx:pt idx="4188">0.31555117799999999</cx:pt>
          <cx:pt idx="4189">0.31572064599999999</cx:pt>
          <cx:pt idx="4190">0.31588623799999999</cx:pt>
          <cx:pt idx="4191">0.31605840099999999</cx:pt>
          <cx:pt idx="4192">0.316396071</cx:pt>
          <cx:pt idx="4193">0.316731131</cx:pt>
          <cx:pt idx="4194">0.317062232</cx:pt>
          <cx:pt idx="4195">0.31723700500000002</cx:pt>
          <cx:pt idx="4196">0.31858516100000001</cx:pt>
          <cx:pt idx="4197">0.31976241799999999</cx:pt>
          <cx:pt idx="4198">0.319930622</cx:pt>
          <cx:pt idx="4199">0.32178330500000002</cx:pt>
          <cx:pt idx="4200">0.32279640100000001</cx:pt>
          <cx:pt idx="4201">0.32734143700000001</cx:pt>
          <cx:pt idx="4202">0.32869220399999999</cx:pt>
          <cx:pt idx="4203">0.32885905999999998</cx:pt>
          <cx:pt idx="4204">0.32919807899999998</cx:pt>
          <cx:pt idx="4205">0.32953179100000002</cx:pt>
          <cx:pt idx="4206">0.32970260499999998</cx:pt>
          <cx:pt idx="4207">0.32986946099999997</cx:pt>
          <cx:pt idx="4208">0.33003766499999998</cx:pt>
          <cx:pt idx="4209">0.33020848000000003</cx:pt>
          <cx:pt idx="4210">0.33037407200000002</cx:pt>
          <cx:pt idx="4211">0.330543539</cx:pt>
          <cx:pt idx="4212">0.33138582100000002</cx:pt>
          <cx:pt idx="4213">0.331890348</cx:pt>
          <cx:pt idx="4214">0.33223071399999998</cx:pt>
          <cx:pt idx="4215">0.33374698899999999</cx:pt>
          <cx:pt idx="4216">0.33509514499999998</cx:pt>
          <cx:pt idx="4217">0.33627374999999998</cx:pt>
          <cx:pt idx="4218">0.33728423499999999</cx:pt>
          <cx:pt idx="4219">0.337449744</cx:pt>
          <cx:pt idx="4220">0.343685829</cx:pt>
          <cx:pt idx="4221">0.35497156099999999</cx:pt>
          <cx:pt idx="4222">0.36288690200000001</cx:pt>
          <cx:pt idx="4223">0.365246723</cx:pt>
          <cx:pt idx="4224">0.365414927</cx:pt>
          <cx:pt idx="4225">0.38630309099999999</cx:pt>
          <cx:pt idx="4226">0.38663815000000001</cx:pt>
          <cx:pt idx="4227">0.39186248600000001</cx:pt>
          <cx:pt idx="4228">0.39219754600000001</cx:pt>
          <cx:pt idx="4229">0.392368361</cx:pt>
          <cx:pt idx="4230">0.39927195399999998</cx:pt>
          <cx:pt idx="4231">0.40011423600000001</cx:pt>
          <cx:pt idx="4232">0.40837120700000001</cx:pt>
          <cx:pt idx="4233">0.409551159</cx:pt>
          <cx:pt idx="4234">0.42150819</cx:pt>
          <cx:pt idx="4235">0.43162180300000003</cx:pt>
          <cx:pt idx="4236">0.432121107</cx:pt>
          <cx:pt idx="4237">0.43549015000000002</cx:pt>
          <cx:pt idx="4238">0.43717462899999998</cx:pt>
          <cx:pt idx="4239">0.44138856399999998</cx:pt>
          <cx:pt idx="4240">0.445262133</cx:pt>
          <cx:pt idx="4241">0.459412296</cx:pt>
          <cx:pt idx="4242">0.46901472900000002</cx:pt>
          <cx:pt idx="4243">0.48232496899999999</cx:pt>
          <cx:pt idx="4244">0.493448477</cx:pt>
          <cx:pt idx="4245">0.49562998699999999</cx:pt>
          <cx:pt idx="4246">0.49579440000000002</cx:pt>
          <cx:pt idx="4247">0.49630069599999999</cx:pt>
          <cx:pt idx="4248">0.49966965400000002</cx:pt>
          <cx:pt idx="4249">0.50017594899999995</cx:pt>
          <cx:pt idx="4250">0.51399433800000005</cx:pt>
          <cx:pt idx="4251">0.51635356899999996</cx:pt>
          <cx:pt idx="4252">0.522925219</cx:pt>
          <cx:pt idx="4253">0.52494669500000002</cx:pt>
          <cx:pt idx="4254">0.53354040999999996</cx:pt>
          <cx:pt idx="4255">0.53807803399999998</cx:pt>
          <cx:pt idx="4256">0.53893084499999999</cx:pt>
          <cx:pt idx="4257">0.55020588000000004</cx:pt>
          <cx:pt idx="4258">0.56014539299999999</cx:pt>
          <cx:pt idx="4259">0.56149616000000002</cx:pt>
          <cx:pt idx="4260">0.56452365699999996</cx:pt>
          <cx:pt idx="4261">0.56486663400000003</cx:pt>
          <cx:pt idx="4262">0.56503349000000003</cx:pt>
          <cx:pt idx="4263">0.56941049099999996</cx:pt>
          <cx:pt idx="4264">0.56957869500000002</cx:pt>
          <cx:pt idx="4265">0.583574131</cx:pt>
          <cx:pt idx="4266">0.59282592099999998</cx:pt>
          <cx:pt idx="4267">0.60107901799999996</cx:pt>
          <cx:pt idx="4268">0.60580935599999997</cx:pt>
          <cx:pt idx="4269">0.61371425400000001</cx:pt>
          <cx:pt idx="4270">0.64083597599999997</cx:pt>
          <cx:pt idx="4271">0.64605770100000004</cx:pt>
          <cx:pt idx="4272">0.66863295499999997</cx:pt>
          <cx:pt idx="4273">0.67149738699999995</cx:pt>
          <cx:pt idx="4274">0.67841411900000004</cx:pt>
          <cx:pt idx="4275">0.69054204900000005</cx:pt>
          <cx:pt idx="4276">0.69086919099999999</cx:pt>
          <cx:pt idx="4277">0.69120820900000002</cx:pt>
          <cx:pt idx="4278">0.70653562999999997</cx:pt>
          <cx:pt idx="4279">0.70686942600000002</cx:pt>
          <cx:pt idx="4280">0.71849274500000004</cx:pt>
          <cx:pt idx="4281">0.72271720800000006</cx:pt>
          <cx:pt idx="4282">0.72894933399999995</cx:pt>
          <cx:pt idx="4283">0.73871997</cx:pt>
          <cx:pt idx="4284">0.74056220900000003</cx:pt>
          <cx:pt idx="4285">0.77982222000000001</cx:pt>
          <cx:pt idx="4286">0.79009872999999997</cx:pt>
          <cx:pt idx="4287">0.797333509</cx:pt>
          <cx:pt idx="4288">0.79969989900000005</cx:pt>
          <cx:pt idx="4289">0.80054218099999996</cx:pt>
          <cx:pt idx="4290">0.819241255</cx:pt>
          <cx:pt idx="4291">0.82092573400000002</cx:pt>
          <cx:pt idx="4292">0.82125161199999996</cx:pt>
          <cx:pt idx="4293">0.83844493899999994</cx:pt>
          <cx:pt idx="4294">0.84518294000000005</cx:pt>
          <cx:pt idx="4295">0.85899669599999995</cx:pt>
          <cx:pt idx="4296">0.86337613999999996</cx:pt>
          <cx:pt idx="4297">0.86387283299999995</cx:pt>
          <cx:pt idx="4298">0.86405021800000004</cx:pt>
          <cx:pt idx="4299">0.87617023000000005</cx:pt>
          <cx:pt idx="4300">0.87988477600000004</cx:pt>
          <cx:pt idx="4301">0.88931782500000001</cx:pt>
          <cx:pt idx="4302">0.89268678300000004</cx:pt>
          <cx:pt idx="4303">0.89993074299999998</cx:pt>
          <cx:pt idx="4304">0.90430100499999999</cx:pt>
          <cx:pt idx="4305">0.90767914400000005</cx:pt>
          <cx:pt idx="4306">0.910711779</cx:pt>
          <cx:pt idx="4307">0.92620083399999997</cx:pt>
          <cx:pt idx="4308">0.95686755099999998</cx:pt>
          <cx:pt idx="4309">0.95855203</cx:pt>
          <cx:pt idx="4310">0.96865907299999998</cx:pt>
          <cx:pt idx="4311">0.98196695499999997</cx:pt>
          <cx:pt idx="4312">0.98230462600000001</cx:pt>
          <cx:pt idx="4313">0.99392802800000002</cx:pt>
          <cx:pt idx="4314">0.99409623199999997</cx:pt>
          <cx:pt idx="4315">0.99578071099999999</cx:pt>
          <cx:pt idx="4316">1.0193638389999999</cx:pt>
          <cx:pt idx="4317">1.021216522</cx:pt>
          <cx:pt idx="4318">1.0227327980000001</cx:pt>
          <cx:pt idx="4319">1.040589674</cx:pt>
          <cx:pt idx="4320">1.0439586320000001</cx:pt>
          <cx:pt idx="4321">1.056426928</cx:pt>
          <cx:pt idx="4322">1.0677125750000001</cx:pt>
          <cx:pt idx="4323">1.0827023250000001</cx:pt>
          <cx:pt idx="4324">1.087253931</cx:pt>
          <cx:pt idx="4325">1.0946633990000001</cx:pt>
          <cx:pt idx="4326">1.1017378069999999</cx:pt>
          <cx:pt idx="4327">1.102748208</cx:pt>
          <cx:pt idx="4328">1.1206050000000001</cx:pt>
          <cx:pt idx="4329">1.108718876</cx:pt>
          <cx:pt idx="4330">1.107631128</cx:pt>
          <cx:pt idx="4331">1.1068776979999999</cx:pt>
          <cx:pt idx="4332">1.1022727459999999</cx:pt>
          <cx:pt idx="4333">1.0977540100000001</cx:pt>
          <cx:pt idx="4334">1.0928154510000001</cx:pt>
          <cx:pt idx="4335">1.0872063300000001</cx:pt>
          <cx:pt idx="4336">1.087039841</cx:pt>
          <cx:pt idx="4337">1.086954964</cx:pt>
          <cx:pt idx="4338">1.081682756</cx:pt>
          <cx:pt idx="4339">1.080595008</cx:pt>
          <cx:pt idx="4340">1.080510801</cx:pt>
          <cx:pt idx="4341">1.0788367409999999</cx:pt>
          <cx:pt idx="4342">1.0714706919999999</cx:pt>
          <cx:pt idx="4343">1.0707178900000001</cx:pt>
          <cx:pt idx="4344">1.070466524</cx:pt>
          <cx:pt idx="4345">1.06594649</cx:pt>
          <cx:pt idx="4346">1.064021063</cx:pt>
          <cx:pt idx="4347">1.0631833850000001</cx:pt>
          <cx:pt idx="4348">1.050208885</cx:pt>
          <cx:pt idx="4349">1.0481176379999999</cx:pt>
          <cx:pt idx="4350">1.047950479</cx:pt>
          <cx:pt idx="4351">1.0383240579999999</cx:pt>
          <cx:pt idx="4352">1.0373185920000001</cx:pt>
          <cx:pt idx="4353">1.0344725770000001</cx:pt>
          <cx:pt idx="4354">1.033217042</cx:pt>
          <cx:pt idx="4355">1.032799856</cx:pt>
          <cx:pt idx="4356">1.0286147269999999</cx:pt>
          <cx:pt idx="4357">1.0243460600000001</cx:pt>
          <cx:pt idx="4358">1.0230043090000001</cx:pt>
          <cx:pt idx="4359">1.016306854</cx:pt>
          <cx:pt idx="4360">1.0107016680000001</cx:pt>
          <cx:pt idx="4361">0.99856484700000003</cx:pt>
          <cx:pt idx="4362">0.99772649800000002</cx:pt>
          <cx:pt idx="4363">0.99714215299999998</cx:pt>
          <cx:pt idx="4364">0.99705530899999995</cx:pt>
          <cx:pt idx="4365">0.99329000199999995</cx:pt>
          <cx:pt idx="4366">0.98600623600000004</cx:pt>
          <cx:pt idx="4367">0.98483750299999995</cx:pt>
          <cx:pt idx="4368">0.98458613699999997</cx:pt>
          <cx:pt idx="4369">0.98425056300000002</cx:pt>
          <cx:pt idx="4370">0.98190794999999997</cx:pt>
          <cx:pt idx="4371">0.98106960200000004</cx:pt>
          <cx:pt idx="4372">0.97931200399999996</cx:pt>
          <cx:pt idx="4373">0.96968558199999999</cx:pt>
          <cx:pt idx="4374">0.96742391299999997</cx:pt>
          <cx:pt idx="4375">0.96014144300000004</cx:pt>
          <cx:pt idx="4376">0.95537263800000005</cx:pt>
          <cx:pt idx="4377">0.95085256299999998</cx:pt>
          <cx:pt idx="4378">0.94733732500000001</cx:pt>
          <cx:pt idx="4379">0.94708595900000003</cx:pt>
          <cx:pt idx="4380">0.943235775</cx:pt>
          <cx:pt idx="4381">0.93754115000000005</cx:pt>
          <cx:pt idx="4382">0.93427857599999997</cx:pt>
          <cx:pt idx="4383">0.92833651800000005</cx:pt>
          <cx:pt idx="4384">0.92414812400000002</cx:pt>
          <cx:pt idx="4385">0.91845940000000004</cx:pt>
          <cx:pt idx="4386">0.91653137900000003</cx:pt>
          <cx:pt idx="4387">0.91209488299999997</cx:pt>
          <cx:pt idx="4388">0.90138397800000003</cx:pt>
          <cx:pt idx="4389">0.90063054899999995</cx:pt>
          <cx:pt idx="4390">0.89502142799999995</cx:pt>
          <cx:pt idx="4391">0.89426146900000003</cx:pt>
          <cx:pt idx="4392">0.89108833499999995</cx:pt>
          <cx:pt idx="4393">0.89100148999999995</cx:pt>
          <cx:pt idx="4394">0.88941364700000003</cx:pt>
          <cx:pt idx="4395">0.88916227999999997</cx:pt>
          <cx:pt idx="4396">0.88715197700000004</cx:pt>
          <cx:pt idx="4397">0.87568567500000005</cx:pt>
          <cx:pt idx="4398">0.87426302300000003</cx:pt>
          <cx:pt idx="4399">0.87191777400000003</cx:pt>
          <cx:pt idx="4400">0.86447011299999998</cx:pt>
          <cx:pt idx="4401">0.85852738500000003</cx:pt>
          <cx:pt idx="4402">0.85074214100000001</cx:pt>
          <cx:pt idx="4403">0.84923590999999998</cx:pt>
          <cx:pt idx="4404">0.846105883</cx:pt>
          <cx:pt idx="4405">0.84429538400000004</cx:pt>
          <cx:pt idx="4406">0.83809668599999998</cx:pt>
          <cx:pt idx="4407">0.83793413100000003</cx:pt>
          <cx:pt idx="4408">0.83517366199999998</cx:pt>
          <cx:pt idx="4409">0.83466958999999996</cx:pt>
          <cx:pt idx="4410">0.83065162000000003</cx:pt>
          <cx:pt idx="4411">0.826215166</cx:pt>
          <cx:pt idx="4412">0.824457526</cx:pt>
          <cx:pt idx="4413">0.81918402099999998</cx:pt>
          <cx:pt idx="4414">0.81525159700000005</cx:pt>
          <cx:pt idx="4415">0.81047952700000003</cx:pt>
          <cx:pt idx="4416">0.81039724499999999</cx:pt>
          <cx:pt idx="4417">0.80913974399999999</cx:pt>
          <cx:pt idx="4418">0.80335961300000003</cx:pt>
          <cx:pt idx="4419">0.80051749000000005</cx:pt>
          <cx:pt idx="4420">0.80009507300000005</cx:pt>
          <cx:pt idx="4421">0.79725558600000002</cx:pt>
          <cx:pt idx="4422">0.79641728000000001</cx:pt>
          <cx:pt idx="4423">0.79591454699999997</cx:pt>
          <cx:pt idx="4424">0.78829775899999999</cx:pt>
          <cx:pt idx="4425">0.78520037799999998</cx:pt>
          <cx:pt idx="4426">0.78017953699999998</cx:pt>
          <cx:pt idx="4427">0.77975971399999999</cx:pt>
          <cx:pt idx="4428">0.77280762800000002</cx:pt>
          <cx:pt idx="4429">0.77105584800000004</cx:pt>
          <cx:pt idx="4430">0.764861754</cx:pt>
          <cx:pt idx="4431">0.76293569999999999</cx:pt>
          <cx:pt idx="4432">0.75849857600000004</cx:pt>
          <cx:pt idx="4433">0.75138322400000002</cx:pt>
          <cx:pt idx="4434">0.75121150299999995</cx:pt>
          <cx:pt idx="4435">0.751049576</cx:pt>
          <cx:pt idx="4436">0.74050193799999997</cx:pt>
          <cx:pt idx="4437">0.74007947799999996</cx:pt>
          <cx:pt idx="4438">0.73890752299999996</cx:pt>
          <cx:pt idx="4439">0.73865615699999998</cx:pt>
          <cx:pt idx="4440">0.73564302400000003</cx:pt>
          <cx:pt idx="4441">0.73555944500000003</cx:pt>
          <cx:pt idx="4442">0.73095583099999994</cx:pt>
          <cx:pt idx="4443">0.72978383400000002</cx:pt>
          <cx:pt idx="4444">0.72727736899999995</cx:pt>
          <cx:pt idx="4445">0.72710497799999996</cx:pt>
          <cx:pt idx="4446">0.72284154300000003</cx:pt>
          <cx:pt idx="4447">0.72049235899999997</cx:pt>
          <cx:pt idx="4448">0.716390851</cx:pt>
          <cx:pt idx="4449">0.71605590500000005</cx:pt>
          <cx:pt idx="4450">0.71597232499999997</cx:pt>
          <cx:pt idx="4451">0.70116183799999998</cx:pt>
          <cx:pt idx="4452">0.70098948900000002</cx:pt>
          <cx:pt idx="4453">0.69747425200000002</cx:pt>
          <cx:pt idx="4454">0.69136369600000003</cx:pt>
          <cx:pt idx="4455">0.68977714899999998</cx:pt>
          <cx:pt idx="4456">0.68952707999999996</cx:pt>
          <cx:pt idx="4457">0.689354731</cx:pt>
          <cx:pt idx="4458">0.68550454800000005</cx:pt>
          <cx:pt idx="4459">0.68341200400000002</cx:pt>
          <cx:pt idx="4460">0.68332775499999998</cx:pt>
          <cx:pt idx="4461">0.68282569199999998</cx:pt>
          <cx:pt idx="4462">0.68257499499999996</cx:pt>
          <cx:pt idx="4463">0.67914266700000003</cx:pt>
          <cx:pt idx="4464">0.67186471800000003</cx:pt>
          <cx:pt idx="4465">0.66742433000000001</cx:pt>
          <cx:pt idx="4466">0.65461761699999998</cx:pt>
          <cx:pt idx="4467">0.65252900700000005</cx:pt>
          <cx:pt idx="4468">0.64206227000000005</cx:pt>
          <cx:pt idx="4469">0.63495152200000005</cx:pt>
          <cx:pt idx="4470">0.62791648499999997</cx:pt>
          <cx:pt idx="4471">0.61452345900000005</cx:pt>
          <cx:pt idx="4472">0.61326792500000005</cx:pt>
          <cx:pt idx="4473">0.61310076599999996</cx:pt>
          <cx:pt idx="4474">0.61142670600000004</cx:pt>
          <cx:pt idx="4475">0.60690667200000004</cx:pt>
          <cx:pt idx="4476">0.60623678000000003</cx:pt>
          <cx:pt idx="4477">0.60548334999999998</cx:pt>
          <cx:pt idx="4478">0.59585755699999998</cx:pt>
          <cx:pt idx="4479">0.58957988400000005</cx:pt>
          <cx:pt idx="4480">0.58639896400000002</cx:pt>
          <cx:pt idx="4481">0.58614822600000005</cx:pt>
          <cx:pt idx="4482">0.58464132400000002</cx:pt>
          <cx:pt idx="4483">0.57794516799999995</cx:pt>
          <cx:pt idx="4484">0.57325730500000005</cx:pt>
          <cx:pt idx="4485">0.57074623599999996</cx:pt>
          <cx:pt idx="4486">0.56723099799999999</cx:pt>
          <cx:pt idx="4487">0.55819088900000002</cx:pt>
          <cx:pt idx="4488">0.55534487399999999</cx:pt>
          <cx:pt idx="4489">0.55316875099999996</cx:pt>
          <cx:pt idx="4490">0.552079706</cx:pt>
          <cx:pt idx="4491">0.54245328400000004</cx:pt>
          <cx:pt idx="4492">0.53567484499999996</cx:pt>
          <cx:pt idx="4493">0.52571285000000001</cx:pt>
          <cx:pt idx="4494">0.52337023699999996</cx:pt>
          <cx:pt idx="4495">0.52069071099999997</cx:pt>
          <cx:pt idx="4496">0.517761786</cx:pt>
          <cx:pt idx="4497">0.51700898399999995</cx:pt>
          <cx:pt idx="4498">0.514330128</cx:pt>
          <cx:pt idx="4499">0.51332529000000005</cx:pt>
          <cx:pt idx="4500">0.51106558700000004</cx:pt>
          <cx:pt idx="4501">0.51081489099999999</cx:pt>
          <cx:pt idx="4502">0.50847093799999998</cx:pt>
          <cx:pt idx="4503">0.50420227100000004</cx:pt>
          <cx:pt idx="4504">0.50336392299999999</cx:pt>
          <cx:pt idx="4505">0.496834883</cx:pt>
          <cx:pt idx="4506">0.49507598800000002</cx:pt>
          <cx:pt idx="4507">0.49482721600000001</cx:pt>
          <cx:pt idx="4508">0.48955241399999999</cx:pt>
          <cx:pt idx="4509">0.48879961199999999</cx:pt>
          <cx:pt idx="4510">0.48787965100000003</cx:pt>
          <cx:pt idx="4511">0.48335961799999999</cx:pt>
          <cx:pt idx="4512">0.48327474100000001</cx:pt>
          <cx:pt idx="4513">0.47758074299999997</cx:pt>
          <cx:pt idx="4514">0.475069674</cx:pt>
          <cx:pt idx="4515">0.471557701</cx:pt>
          <cx:pt idx="4516">0.47147282400000001</cx:pt>
          <cx:pt idx="4517">0.46527940000000001</cx:pt>
          <cx:pt idx="4518">0.46368632399999998</cx:pt>
          <cx:pt idx="4519">0.458747723</cx:pt>
          <cx:pt idx="4520">0.45732766600000002</cx:pt>
          <cx:pt idx="4521">0.45690851300000002</cx:pt>
          <cx:pt idx="4522">0.45673875899999999</cx:pt>
          <cx:pt idx="4523">0.45456263600000002</cx:pt>
          <cx:pt idx="4524">0.45422898699999997</cx:pt>
          <cx:pt idx="4525">0.45205483099999999</cx:pt>
          <cx:pt idx="4526">0.43882959199999999</cx:pt>
          <cx:pt idx="4527">0.438660508</cx:pt>
          <cx:pt idx="4528">0.43397461300000001</cx:pt>
          <cx:pt idx="4529">0.43388776899999998</cx:pt>
          <cx:pt idx="4530">0.42401064999999999</cx:pt>
          <cx:pt idx="4531">0.42200490899999998</cx:pt>
          <cx:pt idx="4532">0.41304837900000002</cx:pt>
          <cx:pt idx="4533">0.40727147200000002</cx:pt>
          <cx:pt idx="4534">0.40325546899999998</cx:pt>
          <cx:pt idx="4535">0.39881704699999998</cx:pt>
          <cx:pt idx="4536">0.39680871099999998</cx:pt>
          <cx:pt idx="4537">0.394464759</cx:pt>
          <cx:pt idx="4538">0.39019542200000001</cx:pt>
          <cx:pt idx="4539">0.389778864</cx:pt>
          <cx:pt idx="4540">0.38584317499999998</cx:pt>
          <cx:pt idx="4541">0.383749962</cx:pt>
          <cx:pt idx="4542">0.35144167599999998</cx:pt>
          <cx:pt idx="4543">0.34440990399999999</cx:pt>
          <cx:pt idx="4544">0.34424211700000001</cx:pt>
          <cx:pt idx="4545">0.34407366099999998</cx:pt>
          <cx:pt idx="4546">0.34399137800000001</cx:pt>
          <cx:pt idx="4547">0.34214953100000001</cx:pt>
          <cx:pt idx="4548">0.34198107500000002</cx:pt>
          <cx:pt idx="4549">0.34189686800000002</cx:pt>
          <cx:pt idx="4550">0.33017986900000001</cx:pt>
          <cx:pt idx="4551">0.327248977</cx:pt>
          <cx:pt idx="4552">0.32691532899999998</cx:pt>
          <cx:pt idx="4553">0.32147336700000001</cx:pt>
          <cx:pt idx="4554">0.31954990799999999</cx:pt>
          <cx:pt idx="4555">0.31929724399999998</cx:pt>
          <cx:pt idx="4556">0.31703820999999999</cx:pt>
          <cx:pt idx="4557">0.31276297199999997</cx:pt>
          <cx:pt idx="4558">0.31243325799999999</cx:pt>
          <cx:pt idx="4559">0.31017355499999999</cx:pt>
          <cx:pt idx="4560">0.310006438</cx:pt>
          <cx:pt idx="4561">0.30825009599999997</cx:pt>
          <cx:pt idx="4562">0.30305887300000001</cx:pt>
          <cx:pt idx="4563">0.29711547599999999</cx:pt>
          <cx:pt idx="4564">0.29653112999999998</cx:pt>
          <cx:pt idx="4565">0.29435370999999999</cx:pt>
          <cx:pt idx="4566">0.29251186299999998</cx:pt>
          <cx:pt idx="4567">0.29075426500000001</cx:pt>
          <cx:pt idx="4568">0.29041931900000001</cx:pt>
          <cx:pt idx="4569">0.29033573899999998</cx:pt>
          <cx:pt idx="4570">0.2885781</cx:pt>
          <cx:pt idx="4571">0.28807603599999998</cx:pt>
          <cx:pt idx="4572">0.28397578400000001</cx:pt>
          <cx:pt idx="4573">0.279281434</cx:pt>
          <cx:pt idx="4574">0.27501795699999998</cx:pt>
          <cx:pt idx="4575">0.273427476</cx:pt>
          <cx:pt idx="4576">0.26514213599999997</cx:pt>
          <cx:pt idx="4577">0.25593357100000003</cx:pt>
          <cx:pt idx="4578">0.25451024900000002</cx:pt>
          <cx:pt idx="4579">0.25434308999999999</cx:pt>
          <cx:pt idx="4580">0.25283618899999999</cx:pt>
          <cx:pt idx="4581">0.24823257600000001</cx:pt>
          <cx:pt idx="4582">0.245302981</cx:pt>
          <cx:pt idx="4583">0.241286308</cx:pt>
          <cx:pt idx="4584">0.23533705199999999</cx:pt>
          <cx:pt idx="4585">0.23165925900000001</cx:pt>
          <cx:pt idx="4586">0.231324313</cx:pt>
          <cx:pt idx="4587">0.22044302700000001</cx:pt>
          <cx:pt idx="4588">0.21491359300000001</cx:pt>
          <cx:pt idx="4589">0.210226359</cx:pt>
          <cx:pt idx="4590">0.20327883499999999</cx:pt>
          <cx:pt idx="4591">0.20185551400000001</cx:pt>
          <cx:pt idx="4592">0.194490093</cx:pt>
          <cx:pt idx="4593">0.19374185299999999</cx:pt>
          <cx:pt idx="4594">0.19089060599999999</cx:pt>
          <cx:pt idx="4595">0.18854669600000001</cx:pt>
          <cx:pt idx="4596">0.18846834800000001</cx:pt>
          <cx:pt idx="4597">0.182352602</cx:pt>
          <cx:pt idx="4598">0.182274254</cx:pt>
          <cx:pt idx="4599">0.17758183</cx:pt>
          <cx:pt idx="4600">0.166532715</cx:pt>
          <cx:pt idx="4601">0.16234762699999999</cx:pt>
          <cx:pt idx="4602">0.159673961</cx:pt>
          <cx:pt idx="4603">0.152888993</cx:pt>
          <cx:pt idx="4604">0.14719700399999999</cx:pt>
          <cx:pt idx="4605">0.136817781</cx:pt>
          <cx:pt idx="4606">0.13673353099999999</cx:pt>
          <cx:pt idx="4607">0.134306711</cx:pt>
          <cx:pt idx="4608">0.133637489</cx:pt>
          <cx:pt idx="4609">0.133302543</cx:pt>
          <cx:pt idx="4610">0.12719198700000001</cx:pt>
          <cx:pt idx="4611">0.12685708300000001</cx:pt>
          <cx:pt idx="4612">0.121416419</cx:pt>
          <cx:pt idx="4613">0.115222325</cx:pt>
          <cx:pt idx="4614">0.11020018600000001</cx:pt>
          <cx:pt idx="4615">0.10266697800000001</cx:pt>
          <cx:pt idx="4616">0.085340189999999996</cx:pt>
          <cx:pt idx="4617">0.080736577000000004</cx:pt>
          <cx:pt idx="4618">0.076635026999999994</cx:pt>
          <cx:pt idx="4619">0.07646791</cx:pt>
          <cx:pt idx="4620">0.074291117000000004</cx:pt>
          <cx:pt idx="4621">0.065917970000000006</cx:pt>
          <cx:pt idx="4622">0.065881304000000002</cx:pt>
          <cx:pt idx="4623">0.065350487999999998</cx:pt>
          <cx:pt idx="4624">0.065338473999999994</cx:pt>
          <cx:pt idx="4625">0.065326172000000002</cx:pt>
          <cx:pt idx="4626">0.065191811000000002</cx:pt>
          <cx:pt idx="4627">0.065039101000000002</cx:pt>
          <cx:pt idx="4628">0.065027239000000001</cx:pt>
          <cx:pt idx="4629">0.065020759999999997</cx:pt>
          <cx:pt idx="4630">0.064410629999999996</cx:pt>
          <cx:pt idx="4631">0.064056585999999999</cx:pt>
          <cx:pt idx="4632">0.064019967999999997</cx:pt>
          <cx:pt idx="4633">0.064013873999999998</cx:pt>
          <cx:pt idx="4634">0.063806312000000004</cx:pt>
          <cx:pt idx="4635">0.063800169000000004</cx:pt>
          <cx:pt idx="4636">0.063153460999999994</cx:pt>
          <cx:pt idx="4637">0.062592040000000002</cx:pt>
          <cx:pt idx="4638">0.061102708999999998</cx:pt>
          <cx:pt idx="4639">0.060992831999999997</cx:pt>
          <cx:pt idx="4640">0.060901284</cx:pt>
          <cx:pt idx="4641">0.060895189000000002</cx:pt>
          <cx:pt idx="4642">0.060748701000000002</cx:pt>
          <cx:pt idx="4643">0.060736512999999999</cx:pt>
          <cx:pt idx="4644">0.059997979</cx:pt>
          <cx:pt idx="4645">0.059961370999999999</cx:pt>
          <cx:pt idx="4646">0.059747756999999999</cx:pt>
          <cx:pt idx="4647">0.059735568000000003</cx:pt>
          <cx:pt idx="4648">0.059723334000000003</cx:pt>
          <cx:pt idx="4649">0.059570849000000002</cx:pt>
          <cx:pt idx="4650">0.059509815000000001</cx:pt>
          <cx:pt idx="4651">0.059210652000000003</cx:pt>
          <cx:pt idx="4652">0.058984804000000002</cx:pt>
          <cx:pt idx="4653">0.058917678000000001</cx:pt>
          <cx:pt idx="4654">0.058904302999999998</cx:pt>
          <cx:pt idx="4655">0.058837986000000002</cx:pt>
          <cx:pt idx="4656">0.058831891999999997</cx:pt>
          <cx:pt idx="4657">0.058734630000000003</cx:pt>
          <cx:pt idx="4658">0.058477886999999999</cx:pt>
          <cx:pt idx="4659">0.058472174000000002</cx:pt>
          <cx:pt idx="4660">0.058410758</cx:pt>
          <cx:pt idx="4661">0.057837425999999997</cx:pt>
          <cx:pt idx="4662">0.057153838999999998</cx:pt>
          <cx:pt idx="4663">0.056964648</cx:pt>
          <cx:pt idx="4664">0.056879194000000001</cx:pt>
          <cx:pt idx="4665">0.056867005999999998</cx:pt>
          <cx:pt idx="4666">0.05664073</cx:pt>
          <cx:pt idx="4667">0.056610213</cx:pt>
          <cx:pt idx="4668">0.056244447000000003</cx:pt>
          <cx:pt idx="4669">0.056232260999999999</cx:pt>
          <cx:pt idx="4670">0.056085390999999998</cx:pt>
          <cx:pt idx="4671">0.055932811999999998</cx:pt>
          <cx:pt idx="4672">0.055383520999999998</cx:pt>
          <cx:pt idx="4673">0.055133298999999997</cx:pt>
          <cx:pt idx="4674">0.054675511000000003</cx:pt>
          <cx:pt idx="4675">0.054565679999999998</cx:pt>
          <cx:pt idx="4676">0.053619633</cx:pt>
          <cx:pt idx="4677">0.053497949000000003</cx:pt>
          <cx:pt idx="4678">0.053485381999999998</cx:pt>
          <cx:pt idx="4679">0.053326705000000002</cx:pt>
          <cx:pt idx="4680">0.053266006999999997</cx:pt>
          <cx:pt idx="4681">0.053064249000000001</cx:pt>
          <cx:pt idx="4682">0.053052396000000002</cx:pt>
          <cx:pt idx="4683">0.052716338000000001</cx:pt>
          <cx:pt idx="4684">0.05247835</cx:pt>
          <cx:pt idx="4685">0.052344050000000003</cx:pt>
          <cx:pt idx="4686">0.052270829999999997</cx:pt>
          <cx:pt idx="4687">0.051898494000000003</cx:pt>
          <cx:pt idx="4688">0.051837462000000001</cx:pt>
          <cx:pt idx="4689">0.051831368000000003</cx:pt>
          <cx:pt idx="4690">0.051715400000000002</cx:pt>
          <cx:pt idx="4691">0.051233235000000002</cx:pt>
          <cx:pt idx="4692">0.051098981000000002</cx:pt>
          <cx:pt idx="4693">0.051068466999999999</cx:pt>
          <cx:pt idx="4694">0.050928072999999997</cx:pt>
          <cx:pt idx="4695">0.050659854999999997</cx:pt>
          <cx:pt idx="4696">0.050494754000000003</cx:pt>
          <cx:pt idx="4697">0.050360453999999999</cx:pt>
          <cx:pt idx="4698">0.050257004000000001</cx:pt>
          <cx:pt idx="4699">0.049823397999999998</cx:pt>
          <cx:pt idx="4700">0.049750132000000002</cx:pt>
          <cx:pt idx="4701">0.049634161000000003</cx:pt>
          <cx:pt idx="4702">0.049463299000000002</cx:pt>
          <cx:pt idx="4703">0.049420547000000002</cx:pt>
          <cx:pt idx="4704">0.049347327000000003</cx:pt>
          <cx:pt idx="4705">0.049328998999999998</cx:pt>
          <cx:pt idx="4706">0.048498972000000001</cx:pt>
          <cx:pt idx="4707">0.04805951</cx:pt>
          <cx:pt idx="4708">0.048035086999999997</cx:pt>
          <cx:pt idx="4709">0.047931353000000003</cx:pt>
          <cx:pt idx="4710">0.047705550999999999</cx:pt>
          <cx:pt idx="4711">0.047235574000000002</cx:pt>
          <cx:pt idx="4712">0.047137932</cx:pt>
          <cx:pt idx="4713">0.046722895</cx:pt>
          <cx:pt idx="4714">0.045685346000000002</cx:pt>
          <cx:pt idx="4715">0.045569375000000002</cx:pt>
          <cx:pt idx="4716">0.045496109</cx:pt>
          <cx:pt idx="4717">0.045471732000000001</cx:pt>
          <cx:pt idx="4718">0.044684408000000002</cx:pt>
          <cx:pt idx="4719">0.044592811000000003</cx:pt>
          <cx:pt idx="4720">0.044324259999999997</cx:pt>
          <cx:pt idx="4721">0.043713938000000001</cx:pt>
          <cx:pt idx="4722">0.043622389999999997</cx:pt>
          <cx:pt idx="4723">0.042841062999999999</cx:pt>
          <cx:pt idx="4724">0.042572655000000001</cx:pt>
          <cx:pt idx="4725">0.042334617999999997</cx:pt>
          <cx:pt idx="4726">0.042297961000000002</cx:pt>
          <cx:pt idx="4727">0.042279681</cx:pt>
          <cx:pt idx="4728">0.041797516999999999</cx:pt>
          <cx:pt idx="4729">0.041522871000000003</cx:pt>
          <cx:pt idx="4730">0.041046801000000001</cx:pt>
          <cx:pt idx="4731">0.040912549999999999</cx:pt>
          <cx:pt idx="4732">0.040717216000000001</cx:pt>
          <cx:pt idx="4733">0.040131317</cx:pt>
          <cx:pt idx="4734">0.039758982999999998</cx:pt>
          <cx:pt idx="4735">0.039704092000000003</cx:pt>
          <cx:pt idx="4736">0.039435398000000003</cx:pt>
          <cx:pt idx="4737">0.039105955999999997</cx:pt>
          <cx:pt idx="4738">0.038568854</cx:pt>
          <cx:pt idx="4739">0.038385757999999999</cx:pt>
          <cx:pt idx="4740">0.038294209000000003</cx:pt>
          <cx:pt idx="4741">0.038007329999999999</cx:pt>
          <cx:pt idx="4742">0.037653084000000003</cx:pt>
          <cx:pt idx="4743">0.037622758999999999</cx:pt>
          <cx:pt idx="4744">0.037195391000000001</cx:pt>
          <cx:pt idx="4745">0.037103841999999998</cx:pt>
          <cx:pt idx="4746">0.036572975000000001</cx:pt>
          <cx:pt idx="4747">0.036566975000000002</cx:pt>
          <cx:pt idx="4748">0.036218827000000002</cx:pt>
          <cx:pt idx="4749">0.035832449000000002</cx:pt>
          <cx:pt idx="4750">0.035285252000000003</cx:pt>
          <cx:pt idx="4751">0.035248406000000003</cx:pt>
          <cx:pt idx="4752">0.034833603999999997</cx:pt>
          <cx:pt idx="4753">0.034723535</cx:pt>
          <cx:pt idx="4754">0.034699115000000003</cx:pt>
          <cx:pt idx="4755">0.034680786999999998</cx:pt>
          <cx:pt idx="4756">0.034589238000000001</cx:pt>
          <cx:pt idx="4757">0.034516019000000002</cx:pt>
          <cx:pt idx="4758">0.033948399999999997</cx:pt>
          <cx:pt idx="4759">0.033905932</cx:pt>
          <cx:pt idx="4760">0.033515220999999998</cx:pt>
          <cx:pt idx="4761">0.033374830000000001</cx:pt>
          <cx:pt idx="4762">0.033008636000000001</cx:pt>
          <cx:pt idx="4763">0.032996303999999997</cx:pt>
          <cx:pt idx="4764">0.032507951</cx:pt>
          <cx:pt idx="4765">0.032300529000000001</cx:pt>
          <cx:pt idx="4766">0.031897772999999997</cx:pt>
          <cx:pt idx="4767">0.031793940999999999</cx:pt>
          <cx:pt idx="4768">0.031476639000000001</cx:pt>
          <cx:pt idx="4769">0.031415657</cx:pt>
          <cx:pt idx="4770">0.031293448000000001</cx:pt>
          <cx:pt idx="4771">0.031128728000000001</cx:pt>
          <cx:pt idx="4772">0.031037130999999999</cx:pt>
          <cx:pt idx="4773">0.030261947000000001</cx:pt>
          <cx:pt idx="4774">0.029450389</cx:pt>
          <cx:pt idx="4775">0.029346512000000002</cx:pt>
          <cx:pt idx="4776">0.028778794999999999</cx:pt>
          <cx:pt idx="4777">0.028589702000000002</cx:pt>
          <cx:pt idx="4778">0.028577086000000002</cx:pt>
          <cx:pt idx="4779">0.027771812</cx:pt>
          <cx:pt idx="4780">0.027350681000000002</cx:pt>
          <cx:pt idx="4781">0.027192101999999999</cx:pt>
          <cx:pt idx="4782">0.027179723999999999</cx:pt>
          <cx:pt idx="4783">0.027051658999999999</cx:pt>
          <cx:pt idx="4784">0.027045565000000001</cx:pt>
          <cx:pt idx="4785">0.027008529</cx:pt>
          <cx:pt idx="4786">0.026276618000000002</cx:pt>
          <cx:pt idx="4787">0.026264286000000001</cx:pt>
          <cx:pt idx="4788">0.026215108000000001</cx:pt>
          <cx:pt idx="4789">0.026197160000000001</cx:pt>
          <cx:pt idx="4790">0.026105612</cx:pt>
          <cx:pt idx="4791">0.025647488999999999</cx:pt>
          <cx:pt idx="4792">0.025501049000000001</cx:pt>
          <cx:pt idx="4793">0.025440351</cx:pt>
          <cx:pt idx="4794">0.025208411</cx:pt>
          <cx:pt idx="4795">0.025129097</cx:pt>
          <cx:pt idx="4796">0.025025314</cx:pt>
          <cx:pt idx="4797">0.024933766</cx:pt>
          <cx:pt idx="4798">0.024817795</cx:pt>
          <cx:pt idx="4799">0.024756759999999999</cx:pt>
          <cx:pt idx="4800">0.024500065000000001</cx:pt>
          <cx:pt idx="4801">0.024469548000000001</cx:pt>
          <cx:pt idx="4802">0.024237655</cx:pt>
          <cx:pt idx="4803">0.02406703</cx:pt>
          <cx:pt idx="4804">0.02362119</cx:pt>
          <cx:pt idx="4805">0.023535785</cx:pt>
          <cx:pt idx="4806">0.02291932</cx:pt>
          <cx:pt idx="4807">0.022474145000000001</cx:pt>
          <cx:pt idx="4808">0.022468054000000001</cx:pt>
          <cx:pt idx="4809">0.022400928000000001</cx:pt>
          <cx:pt idx="4810">0.021759707999999999</cx:pt>
          <cx:pt idx="4811">0.021265642000000001</cx:pt>
          <cx:pt idx="4812">0.020911349999999999</cx:pt>
          <cx:pt idx="4813">0.020832368</cx:pt>
          <cx:pt idx="4814">0.020819752</cx:pt>
          <cx:pt idx="4815">0.020722113</cx:pt>
          <cx:pt idx="4816">0.019872847999999999</cx:pt>
          <cx:pt idx="4817">0.019768781999999999</cx:pt>
          <cx:pt idx="4818">0.018810546000000001</cx:pt>
          <cx:pt idx="4819">0.017913295999999999</cx:pt>
          <cx:pt idx="4820">0.017016186999999999</cx:pt>
          <cx:pt idx="4821">0.016906310000000001</cx:pt>
          <cx:pt idx="4822">0.016619479</cx:pt>
          <cx:pt idx="4823">0.016436381999999999</cx:pt>
          <cx:pt idx="4824">0.016155643000000001</cx:pt>
          <cx:pt idx="4825">0.015331658999999999</cx:pt>
          <cx:pt idx="4826">0.01517289</cx:pt>
          <cx:pt idx="4827">0.015148562000000001</cx:pt>
          <cx:pt idx="4828">0.014641977</cx:pt>
          <cx:pt idx="4829">0.014538239999999999</cx:pt>
          <cx:pt idx="4830">0.014471019999999999</cx:pt>
          <cx:pt idx="4831">0.014178141</cx:pt>
          <cx:pt idx="4832">0.013970621000000001</cx:pt>
          <cx:pt idx="4833">0.013927919</cx:pt>
          <cx:pt idx="4834">0.013891212999999999</cx:pt>
          <cx:pt idx="4835">0.013653274</cx:pt>
          <cx:pt idx="4836">0.013219668</cx:pt>
          <cx:pt idx="4837">0.012682852999999999</cx:pt>
          <cx:pt idx="4838">0.012109045000000001</cx:pt>
          <cx:pt idx="4839">0.012005353999999999</cx:pt>
          <cx:pt idx="4840">0.011181323999999999</cx:pt>
          <cx:pt idx="4841">0.011059355999999999</cx:pt>
          <cx:pt idx="4842">0.010796899</cx:pt>
          <cx:pt idx="4843">0.010479548</cx:pt>
          <cx:pt idx="4844">0.010371338000000001</cx:pt>
          <cx:pt idx="4845">0.010003382999999999</cx:pt>
          <cx:pt idx="4846">0.0098690830000000007</cx:pt>
          <cx:pt idx="4847">0.0093198420000000001</cx:pt>
          <cx:pt idx="4848">0.0092588559999999993</cx:pt>
          <cx:pt idx="4849">0.0092361490000000008</cx:pt>
          <cx:pt idx="4850">0.0085567000000000004</cx:pt>
          <cx:pt idx="4851">0.0084776239999999996</cx:pt>
          <cx:pt idx="4852">0.0081356150000000006</cx:pt>
          <cx:pt idx="4853">0.0081175239999999992</cx:pt>
          <cx:pt idx="4854">0.00769625</cx:pt>
          <cx:pt idx="4855">0.0076047969999999999</cx:pt>
          <cx:pt idx="4856">0.0075987019999999997</cx:pt>
          <cx:pt idx="4857">0.0075558099999999996</cx:pt>
          <cx:pt idx="4858">0.0075436219999999998</cx:pt>
          <cx:pt idx="4859">0.0075011080000000003</cx:pt>
          <cx:pt idx="4860">0.0074888250000000002</cx:pt>
          <cx:pt idx="4861">0.0068297560000000002</cx:pt>
          <cx:pt idx="4862">0.006634376</cx:pt>
          <cx:pt idx="4863">0.006249854</cx:pt>
          <cx:pt idx="4864">0.0061459269999999998</cx:pt>
          <cx:pt idx="4865">0.0059752080000000001</cx:pt>
          <cx:pt idx="4866">0.0059691140000000002</cx:pt>
          <cx:pt idx="4867">0.0056149659999999999</cx:pt>
          <cx:pt idx="4868">0.0051207099999999997</cx:pt>
          <cx:pt idx="4869">0.0046325460000000004</cx:pt>
          <cx:pt idx="4870">0.004620262</cx:pt>
          <cx:pt idx="4871">0.0046140280000000001</cx:pt>
          <cx:pt idx="4872">0.0034421780000000002</cx:pt>
          <cx:pt idx="4873">0.003411805</cx:pt>
          <cx:pt idx="4874">0.0034054760000000002</cx:pt>
          <cx:pt idx="4875">0.0027892490000000002</cx:pt>
          <cx:pt idx="4876">0.0019346070000000001</cx:pt>
          <cx:pt idx="4877">0.0018981880000000001</cx:pt>
          <cx:pt idx="4878">0.0015440390000000001</cx:pt>
          <cx:pt idx="4879">0.0015319940000000001</cx:pt>
          <cx:pt idx="4880">0.001299814</cx:pt>
          <cx:pt idx="4881">0.001190031</cx:pt>
          <cx:pt idx="4882">0.0011229059999999999</cx:pt>
          <cx:pt idx="4883">0.00028078499999999998</cx:pt>
          <cx:pt idx="4884">0.000250268</cx:pt>
          <cx:pt idx="4885">0.000238034</cx:pt>
          <cx:pt idx="4886">0.000109734</cx:pt>
          <cx:pt idx="4887">0</cx:pt>
          <cx:pt idx="4888">4.2299999999999998e-05</cx:pt>
          <cx:pt idx="4889">0.00016910499999999999</cx:pt>
          <cx:pt idx="4890">0.001548523</cx:pt>
          <cx:pt idx="4891">0.0034741059999999998</cx:pt>
          <cx:pt idx="4892">0.0035787369999999998</cx:pt>
          <cx:pt idx="4893">0.0036205170000000002</cx:pt>
          <cx:pt idx="4894">0.0044779390000000002</cx:pt>
          <cx:pt idx="4895">0.0046872019999999997</cx:pt>
          <cx:pt idx="4896">0.0066129420000000001</cx:pt>
          <cx:pt idx="4897">0.0071569729999999996</cx:pt>
          <cx:pt idx="4898">0.0071778679999999996</cx:pt>
          <cx:pt idx="4899">0.0075129699999999999</cx:pt>
          <cx:pt idx="4900">0.0080359390000000006</cx:pt>
          <cx:pt idx="4901">0.0086008639999999997</cx:pt>
          <cx:pt idx="4902">0.0091240109999999996</cx:pt>
          <cx:pt idx="4903">0.010505228</cx:pt>
          <cx:pt idx="4904">0.011593289999999999</cx:pt>
          <cx:pt idx="4905">0.012765255</cx:pt>
          <cx:pt idx="4906">0.013958104000000001</cx:pt>
          <cx:pt idx="4907">0.014041684</cx:pt>
          <cx:pt idx="4908">0.014732125</cx:pt>
          <cx:pt idx="4909">0.015569312</cx:pt>
          <cx:pt idx="4910">0.017682761000000002</cx:pt>
          <cx:pt idx="4911">0.017871117999999998</cx:pt>
          <cx:pt idx="4912">0.018666201</cx:pt>
          <cx:pt idx="4913">0.019440536000000001</cx:pt>
          <cx:pt idx="4914">0.020089197999999999</cx:pt>
          <cx:pt idx="4915">0.020361302000000001</cx:pt>
          <cx:pt idx="4916">0.021512205</cx:pt>
          <cx:pt idx="4917">0.025195071999999999</cx:pt>
          <cx:pt idx="4918">0.025362545</cx:pt>
          <cx:pt idx="4919">0.025571797</cx:pt>
          <cx:pt idx="4920">0.025634639000000001</cx:pt>
          <cx:pt idx="4921">0.026764814000000001</cx:pt>
          <cx:pt idx="4922">0.027183162</cx:pt>
          <cx:pt idx="4923">0.029151340000000001</cx:pt>
          <cx:pt idx="4924">0.031118546</cx:pt>
          <cx:pt idx="4925">0.033063381000000003</cx:pt>
          <cx:pt idx="4926">0.033105160000000002</cx:pt>
          <cx:pt idx="4927">0.034067706000000003</cx:pt>
          <cx:pt idx="4928">0.034926928000000003</cx:pt>
          <cx:pt idx="4929">0.037227603999999997</cx:pt>
          <cx:pt idx="4930">0.037457907999999998</cx:pt>
          <cx:pt idx="4931">0.038504022999999998</cx:pt>
          <cx:pt idx="4932">0.039006274000000001</cx:pt>
          <cx:pt idx="4933">0.040367737000000001</cx:pt>
          <cx:pt idx="4934">0.040743153999999997</cx:pt>
          <cx:pt idx="4935">0.041414019000000003</cx:pt>
          <cx:pt idx="4936">0.041623271000000003</cx:pt>
          <cx:pt idx="4937">0.041644166000000003</cx:pt>
          <cx:pt idx="4938">0.042815963999999998</cx:pt>
          <cx:pt idx="4939">0.043381382000000003</cx:pt>
          <cx:pt idx="4940">0.044176287000000002</cx:pt>
          <cx:pt idx="4941">0.044218400999999997</cx:pt>
          <cx:pt idx="4942">0.044783002000000002</cx:pt>
          <cx:pt idx="4943">0.047629006000000002</cx:pt>
          <cx:pt idx="4944">0.049575148999999999</cx:pt>
          <cx:pt idx="4945">0.049909927999999999</cx:pt>
          <cx:pt idx="4946">0.051457478000000001</cx:pt>
          <cx:pt idx="4947">0.051667713999999997</cx:pt>
          <cx:pt idx="4948">0.053571899999999999</cx:pt>
          <cx:pt idx="4949">0.053592962000000001</cx:pt>
          <cx:pt idx="4950">0.053844004000000001</cx:pt>
          <cx:pt idx="4951">0.054764760000000003</cx:pt>
          <cx:pt idx="4952">0.056773912000000003</cx:pt>
          <cx:pt idx="4953">0.056836418999999999</cx:pt>
          <cx:pt idx="4954">0.057925307000000002</cx:pt>
          <cx:pt idx="4955">0.058112848000000002</cx:pt>
          <cx:pt idx="4956">0.058133743000000002</cx:pt>
          <cx:pt idx="4957">0.059347486999999997</cx:pt>
          <cx:pt idx="4958">0.059368706</cx:pt>
          <cx:pt idx="4959">0.062068142999999999</cx:pt>
          <cx:pt idx="4960">0.063951277000000001</cx:pt>
          <cx:pt idx="4961">0.064349064999999997</cx:pt>
          <cx:pt idx="4962">0.064767411999999996</cx:pt>
          <cx:pt idx="4963">0.067049138999999994</cx:pt>
          <cx:pt idx="4964">0.067990789999999995</cx:pt>
          <cx:pt idx="4965">0.068722539999999999</cx:pt>
          <cx:pt idx="4966">0.071902997999999996</cx:pt>
          <cx:pt idx="4967">0.072133301999999996</cx:pt>
          <cx:pt idx="4968">0.072154197000000003</cx:pt>
          <cx:pt idx="4969">0.073284215999999999</cx:pt>
          <cx:pt idx="4970">0.073451521000000006</cx:pt>
          <cx:pt idx="4971">0.074268461999999993</cx:pt>
          <cx:pt idx="4972">0.074897860999999996</cx:pt>
          <cx:pt idx="4973">0.074979148999999995</cx:pt>
          <cx:pt idx="4974">0.075021263000000005</cx:pt>
          <cx:pt idx="4975">0.075525796000000006</cx:pt>
          <cx:pt idx="4976">0.076213789000000004</cx:pt>
          <cx:pt idx="4977">0.078664631999999998</cx:pt>
          <cx:pt idx="4978">0.079081022000000001</cx:pt>
          <cx:pt idx="4979">0.081047726</cx:pt>
          <cx:pt idx="4980">0.081340882000000003</cx:pt>
          <cx:pt idx="4981">0.082910131999999997</cx:pt>
          <cx:pt idx="4982">0.082952245999999993</cx:pt>
          <cx:pt idx="4983">0.083203121000000005</cx:pt>
          <cx:pt idx="4984">0.083244911000000005</cx:pt>
          <cx:pt idx="4985">0.084605400999999997</cx:pt>
          <cx:pt idx="4986">0.086216441000000005</cx:pt>
          <cx:pt idx="4987">0.086969723999999998</cx:pt>
          <cx:pt idx="4988">0.088225258000000001</cx:pt>
          <cx:pt idx="4989">0.089439337999999993</cx:pt>
          <cx:pt idx="4990">0.089523230999999995</cx:pt>
          <cx:pt idx="4991">0.091343534000000004</cx:pt>
          <cx:pt idx="4992">0.096030893000000006</cx:pt>
          <cx:pt idx="4993">0.096700282999999998</cx:pt>
          <cx:pt idx="4994">0.098835598999999996</cx:pt>
          <cx:pt idx="4995">0.098876897000000005</cx:pt>
          <cx:pt idx="4996">0.098897468000000002</cx:pt>
          <cx:pt idx="4997">0.100091133</cx:pt>
          <cx:pt idx="4998">0.10034217500000001</cx:pt>
          <cx:pt idx="4999">0.101764691</cx:pt>
          <cx:pt idx="5000">0.10302022500000001</cx:pt>
          <cx:pt idx="5001">0.103208258</cx:pt>
          <cx:pt idx="5002">0.103229969</cx:pt>
          <cx:pt idx="5003">0.104129349</cx:pt>
          <cx:pt idx="5004">0.104903527</cx:pt>
          <cx:pt idx="5005">0.10609622</cx:pt>
          <cx:pt idx="5006">0.1088172</cx:pt>
          <cx:pt idx="5007">0.109005065</cx:pt>
          <cx:pt idx="5008">0.109090434</cx:pt>
          <cx:pt idx="5009">0.111788395</cx:pt>
          <cx:pt idx="5010">0.111913921</cx:pt>
          <cx:pt idx="5011">0.112562573</cx:pt>
          <cx:pt idx="5012">0.11344204099999999</cx:pt>
          <cx:pt idx="5013">0.11471830299999999</cx:pt>
          <cx:pt idx="5014">0.115932048</cx:pt>
          <cx:pt idx="5015">0.116831542</cx:pt>
          <cx:pt idx="5016">0.11685295</cx:pt>
          <cx:pt idx="5017">0.118129044</cx:pt>
          <cx:pt idx="5018">0.118715587</cx:pt>
          <cx:pt idx="5019">0.120159102</cx:pt>
          <cx:pt idx="5020">0.122611106</cx:pt>
          <cx:pt idx="5021">0.122711709</cx:pt>
          <cx:pt idx="5022">0.13125004600000001</cx:pt>
          <cx:pt idx="5023">0.131354677</cx:pt>
          <cx:pt idx="5024">0.13233861999999999</cx:pt>
          <cx:pt idx="5025">0.13411731099999999</cx:pt>
          <cx:pt idx="5026">0.135686415</cx:pt>
          <cx:pt idx="5027">0.13715121199999999</cx:pt>
          <cx:pt idx="5028">0.137193326</cx:pt>
          <cx:pt idx="5029">0.13746509600000001</cx:pt>
          <cx:pt idx="5030">0.14292713500000001</cx:pt>
          <cx:pt idx="5031">0.143136387</cx:pt>
          <cx:pt idx="5032">0.14319922800000001</cx:pt>
          <cx:pt idx="5033">0.143680418</cx:pt>
          <cx:pt idx="5034">0.14805389299999999</cx:pt>
          <cx:pt idx="5035">0.14889108000000001</cx:pt>
          <cx:pt idx="5036">0.15066974999999999</cx:pt>
          <cx:pt idx="5037">0.151025099</cx:pt>
          <cx:pt idx="5038">0.15150678000000001</cx:pt>
          <cx:pt idx="5039">0.15426904699999999</cx:pt>
          <cx:pt idx="5040">0.15449887000000001</cx:pt>
          <cx:pt idx="5041">0.155568495</cx:pt>
          <cx:pt idx="5042">0.15558694200000001</cx:pt>
          <cx:pt idx="5043">0.15562888899999999</cx:pt>
          <cx:pt idx="5044">0.15638217200000001</cx:pt>
          <cx:pt idx="5045">0.15665427600000001</cx:pt>
          <cx:pt idx="5046">0.156696055</cx:pt>
          <cx:pt idx="5047">0.158078089</cx:pt>
          <cx:pt idx="5048">0.15864219800000001</cx:pt>
          <cx:pt idx="5049">0.15880999600000001</cx:pt>
          <cx:pt idx="5050">0.15924940500000001</cx:pt>
          <cx:pt idx="5051">0.16073475200000001</cx:pt>
          <cx:pt idx="5052">0.164250648</cx:pt>
          <cx:pt idx="5053">0.16590428400000001</cx:pt>
          <cx:pt idx="5054">0.16791277600000001</cx:pt>
          <cx:pt idx="5055">0.17069545799999999</cx:pt>
          <cx:pt idx="5056">0.17086325499999999</cx:pt>
          <cx:pt idx="5057">0.17144923200000001</cx:pt>
          <cx:pt idx="5058">0.17383478499999999</cx:pt>
          <cx:pt idx="5059">0.17820826100000001</cx:pt>
          <cx:pt idx="5060">0.18320999499999999</cx:pt>
          <cx:pt idx="5061">0.184360406</cx:pt>
          <cx:pt idx="5062">0.18567878199999999</cx:pt>
          <cx:pt idx="5063">0.185783905</cx:pt>
          <cx:pt idx="5064">0.18618151499999999</cx:pt>
          <cx:pt idx="5065">0.186391102</cx:pt>
          <cx:pt idx="5066">0.187059999</cx:pt>
          <cx:pt idx="5067">0.18718552599999999</cx:pt>
          <cx:pt idx="5068">0.18936181599999999</cx:pt>
          <cx:pt idx="5069">0.18944555199999999</cx:pt>
          <cx:pt idx="5070">0.189508227</cx:pt>
          <cx:pt idx="5071">0.190847497</cx:pt>
          <cx:pt idx="5072">0.19091033900000001</cx:pt>
          <cx:pt idx="5073">0.19093123400000001</cx:pt>
          <cx:pt idx="5074">0.19227050500000001</cx:pt>
          <cx:pt idx="5075">0.19281469200000001</cx:pt>
          <cx:pt idx="5076">0.19404917499999999</cx:pt>
          <cx:pt idx="5077">0.19419624499999999</cx:pt>
          <cx:pt idx="5078">0.19630985000000001</cx:pt>
          <cx:pt idx="5079">0.196811442</cx:pt>
          <cx:pt idx="5080">0.197063301</cx:pt>
          <cx:pt idx="5081">0.19913496999999999</cx:pt>
          <cx:pt idx="5082">0.19915569699999999</cx:pt>
          <cx:pt idx="5083">0.199658106</cx:pt>
          <cx:pt idx="5084">0.20099705200000001</cx:pt>
          <cx:pt idx="5085">0.20110167300000001</cx:pt>
          <cx:pt idx="5086">0.201144928</cx:pt>
          <cx:pt idx="5087">0.202106165</cx:pt>
          <cx:pt idx="5088">0.20551661399999999</cx:pt>
          <cx:pt idx="5089">0.20642055500000001</cx:pt>
          <cx:pt idx="5090">0.206793859</cx:pt>
          <cx:pt idx="5091">0.20970237999999999</cx:pt>
          <cx:pt idx="5092">0.20999651</cx:pt>
          <cx:pt idx="5093">0.21003682400000001</cx:pt>
          <cx:pt idx="5094">0.210769547</cx:pt>
          <cx:pt idx="5095">0.212297186</cx:pt>
          <cx:pt idx="5096">0.212319378</cx:pt>
          <cx:pt idx="5097">0.21344939600000001</cx:pt>
          <cx:pt idx="5098">0.216190612</cx:pt>
          <cx:pt idx="5099">0.22192440999999999</cx:pt>
          <cx:pt idx="5100">0.22324164599999999</cx:pt>
          <cx:pt idx="5101">0.22361820299999999</cx:pt>
          <cx:pt idx="5102">0.22525389500000001</cx:pt>
          <cx:pt idx="5103">0.22556419</cx:pt>
          <cx:pt idx="5104">0.22596181000000001</cx:pt>
          <cx:pt idx="5105">0.228158995</cx:pt>
          <cx:pt idx="5106">0.23027259999999999</cx:pt>
          <cx:pt idx="5107">0.23035633699999999</cx:pt>
          <cx:pt idx="5108">0.231010879</cx:pt>
          <cx:pt idx="5109">0.23238735699999999</cx:pt>
          <cx:pt idx="5110">0.233621996</cx:pt>
          <cx:pt idx="5111">0.23383125900000001</cx:pt>
          <cx:pt idx="5112">0.236194766</cx:pt>
          <cx:pt idx="5113">0.23623638799999999</cx:pt>
          <cx:pt idx="5114">0.23763964100000001</cx:pt>
          <cx:pt idx="5115">0.23960553900000001</cx:pt>
          <cx:pt idx="5116">0.240547346</cx:pt>
          <cx:pt idx="5117">0.24209702</cx:pt>
          <cx:pt idx="5118">0.24328873000000001</cx:pt>
          <cx:pt idx="5119">0.24341522900000001</cx:pt>
          <cx:pt idx="5120">0.24450345800000001</cx:pt>
          <cx:pt idx="5121">0.246741449</cx:pt>
          <cx:pt idx="5122">0.24728548</cx:pt>
          <cx:pt idx="5123">0.24766318800000001</cx:pt>
          <cx:pt idx="5124">0.24887742500000001</cx:pt>
          <cx:pt idx="5125">0.25086534700000002</cx:pt>
          <cx:pt idx="5126">0.252099505</cx:pt>
          <cx:pt idx="5127">0.25241240500000001</cx:pt>
          <cx:pt idx="5128">0.25276921899999999</cx:pt>
          <cx:pt idx="5129">0.252832061</cx:pt>
          <cx:pt idx="5130">0.253731765</cx:pt>
          <cx:pt idx="5131">0.25423434099999997</cx:pt>
          <cx:pt idx="5132">0.25437944299999998</cx:pt>
          <cx:pt idx="5133">0.25488169500000002</cx:pt>
          <cx:pt idx="5134">0.256075528</cx:pt>
          <cx:pt idx="5135">0.25640932300000002</cx:pt>
          <cx:pt idx="5136">0.256431191</cx:pt>
          <cx:pt idx="5137">0.25720553600000001</cx:pt>
          <cx:pt idx="5138">0.25850383300000002</cx:pt>
          <cx:pt idx="5139">0.25975936799999999</cx:pt>
          <cx:pt idx="5140">0.26005138300000002</cx:pt>
          <cx:pt idx="5141">0.26019796099999998</cx:pt>
          <cx:pt idx="5142">0.26367190000000001</cx:pt>
          <cx:pt idx="5143">0.28358662400000001</cx:pt>
          <cx:pt idx="5144">0.28981199899999999</cx:pt>
          <cx:pt idx="5145">0.31783163199999998</cx:pt>
          <cx:pt idx="5146">0.31908424000000002</cx:pt>
          <cx:pt idx="5147">0.40000103599999998</cx:pt>
          <cx:pt idx="5148">0.43363405999999999</cx:pt>
          <cx:pt idx="5149">0.47347315800000001</cx:pt>
          <cx:pt idx="5150">0.503969369</cx:pt>
          <cx:pt idx="5151">0.56435945600000004</cx:pt>
          <cx:pt idx="5152">0.57744180099999998</cx:pt>
          <cx:pt idx="5153">0.60172695700000001</cx:pt>
          <cx:pt idx="5154">0.63534067999999999</cx:pt>
          <cx:pt idx="5155">0.65400715399999998</cx:pt>
          <cx:pt idx="5156">0.65837758599999996</cx:pt>
          <cx:pt idx="5157">0.73621080000000005</cx:pt>
          <cx:pt idx="5158">0.76233159900000003</cx:pt>
          <cx:pt idx="5159">0.825212583</cx:pt>
          <cx:pt idx="5160">0.90740159899999995</cx:pt>
          <cx:pt idx="5161">0.93231336899999995</cx:pt>
          <cx:pt idx="5162">0.95159182799999997</cx:pt>
          <cx:pt idx="5163">0.97026826399999999</cx:pt>
          <cx:pt idx="5164">1.0119769350000001</cx:pt>
          <cx:pt idx="5165">1.026297569</cx:pt>
          <cx:pt idx="5166">1.06240717</cx:pt>
          <cx:pt idx="5167">1.0692688100000001</cx:pt>
          <cx:pt idx="5168">1.0841964479999999</cx:pt>
          <cx:pt idx="5169">1.0848327129999999</cx:pt>
          <cx:pt idx="5170">1.0854493679999999</cx:pt>
          <cx:pt idx="5171">1.086061041</cx:pt>
          <cx:pt idx="5172">1.087309291</cx:pt>
          <cx:pt idx="5173">1.091116298</cx:pt>
          <cx:pt idx="5174">1.093534666</cx:pt>
          <cx:pt idx="5175">1.1134640200000001</cx:pt>
          <cx:pt idx="5176">1.1147023089999999</cx:pt>
          <cx:pt idx="5177">1.1333787449999999</cx:pt>
          <cx:pt idx="5178">1.2068412159999999</cx:pt>
          <cx:pt idx="5179">1.2429461479999999</cx:pt>
          <cx:pt idx="5180">1.287772331</cx:pt>
          <cx:pt idx="5181">1.338824201</cx:pt>
          <cx:pt idx="5182">1.3705733309999999</cx:pt>
          <cx:pt idx="5183">1.384277</cx:pt>
          <cx:pt idx="5184">1.84267526</cx:pt>
          <cx:pt idx="5185">2.044271111</cx:pt>
          <cx:pt idx="5186">2.7503860549999999</cx:pt>
          <cx:pt idx="5187">3.3186244180000002</cx:pt>
          <cx:pt idx="5188">4.208099582</cx:pt>
          <cx:pt idx="5189">4.4466663620000002</cx:pt>
          <cx:pt idx="5190">4.4741985880000001</cx:pt>
          <cx:pt idx="5191">5.3814097140000001</cx:pt>
          <cx:pt idx="5192">5.5190020789999998</cx:pt>
          <cx:pt idx="5193">5.5648386969999999</cx:pt>
          <cx:pt idx="5194">6.0419034939999996</cx:pt>
          <cx:pt idx="5195">6.7109741630000004</cx:pt>
          <cx:pt idx="5196">7.3620980019999998</cx:pt>
          <cx:pt idx="5197">7.6459329670000002</cx:pt>
          <cx:pt idx="5198">7.9485032330000003</cx:pt>
          <cx:pt idx="5199">9.6630925160000007</cx:pt>
          <cx:pt idx="5200">9.7639981680000005</cx:pt>
          <cx:pt idx="5201">9.9291915209999999</cx:pt>
          <cx:pt idx="5202">9.9379884470000004</cx:pt>
          <cx:pt idx="5203">9.9473538050000005</cx:pt>
          <cx:pt idx="5204">9.9564395309999991</cx:pt>
          <cx:pt idx="5205">9.9659469959999996</cx:pt>
          <cx:pt idx="5206">9.975032723</cx:pt>
          <cx:pt idx="5207">9.9839717570000008</cx:pt>
          <cx:pt idx="5208">10.002491600000001</cx:pt>
          <cx:pt idx="5209">10.011503980000001</cx:pt>
          <cx:pt idx="5210">10.030097169999999</cx:pt>
          <cx:pt idx="5211">10.039036210000001</cx:pt>
          <cx:pt idx="5212">10.04811735</cx:pt>
          <cx:pt idx="5213">10.0576294</cx:pt>
          <cx:pt idx="5214">10.075649569999999</cx:pt>
          <cx:pt idx="5215">10.09395855</cx:pt>
          <cx:pt idx="5216">10.103466020000001</cx:pt>
          <cx:pt idx="5217">10.140083969999999</cx:pt>
          <cx:pt idx="5218">10.158030800000001</cx:pt>
          <cx:pt idx="5219">10.16761619</cx:pt>
          <cx:pt idx="5220">10.17655523</cx:pt>
          <cx:pt idx="5221">10.24098504</cx:pt>
          <cx:pt idx="5222">10.25007076</cx:pt>
          <cx:pt idx="5223">10.259009799999999</cx:pt>
          <cx:pt idx="5224">10.268375150000001</cx:pt>
          <cx:pt idx="5225">10.27002085</cx:pt>
          <cx:pt idx="5226">10.27760299</cx:pt>
          <cx:pt idx="5227">10.286542020000001</cx:pt>
          <cx:pt idx="5228">10.29554982</cx:pt>
          <cx:pt idx="5229">10.30513521</cx:pt>
          <cx:pt idx="5230">10.314074250000001</cx:pt>
          <cx:pt idx="5231">10.32315539</cx:pt>
          <cx:pt idx="5232">10.33266744</cx:pt>
          <cx:pt idx="5233">10.341748580000001</cx:pt>
          <cx:pt idx="5234">10.350760960000001</cx:pt>
          <cx:pt idx="5235">10.37850405</cx:pt>
          <cx:pt idx="5236">10.387589780000001</cx:pt>
          <cx:pt idx="5237">10.39652882</cx:pt>
          <cx:pt idx="5238">10.407539870000001</cx:pt>
          <cx:pt idx="5239">10.42406104</cx:pt>
          <cx:pt idx="5240">10.433068840000001</cx:pt>
          <cx:pt idx="5241">10.506584370000001</cx:pt>
          <cx:pt idx="5242">10.5251088</cx:pt>
          <cx:pt idx="5243">10.534116600000001</cx:pt>
          <cx:pt idx="5244">10.54505889</cx:pt>
          <cx:pt idx="5245">10.60770548</cx:pt>
          <cx:pt idx="5246">10.682577909999999</cx:pt>
          <cx:pt idx="5247">10.70824898</cx:pt>
          <cx:pt idx="5248">10.72663131</cx:pt>
          <cx:pt idx="5249">10.74479359</cx:pt>
          <cx:pt idx="5250">10.809154639999999</cx:pt>
          <cx:pt idx="5251">10.82009693</cx:pt>
          <cx:pt idx="5252">10.87330023</cx:pt>
          <cx:pt idx="5253">10.88231261</cx:pt>
          <cx:pt idx="5254">10.891824659999999</cx:pt>
          <cx:pt idx="5255">10.900837040000001</cx:pt>
          <cx:pt idx="5256">10.90998694</cx:pt>
          <cx:pt idx="5257">10.91914143</cx:pt>
          <cx:pt idx="5258">10.92815381</cx:pt>
          <cx:pt idx="5259">10.957615949999999</cx:pt>
          <cx:pt idx="5260">11.00166935</cx:pt>
          <cx:pt idx="5261">11.047505960000001</cx:pt>
          <cx:pt idx="5262">11.056660450000001</cx:pt>
          <cx:pt idx="5263">11.066603410000001</cx:pt>
          <cx:pt idx="5264">11.09356262</cx:pt>
          <cx:pt idx="5265">11.09513497</cx:pt>
          <cx:pt idx="5266">11.10271711</cx:pt>
          <cx:pt idx="5267">11.121163599999999</cx:pt>
          <cx:pt idx="5268">11.139257130000001</cx:pt>
          <cx:pt idx="5269">11.175870489999999</cx:pt>
          <cx:pt idx="5270">11.231081639999999</cx:pt>
          <cx:pt idx="5271">11.232653989999999</cx:pt>
          <cx:pt idx="5272">11.24023613</cx:pt>
          <cx:pt idx="5273">11.24924392</cx:pt>
          <cx:pt idx="5274">11.267768350000001</cx:pt>
          <cx:pt idx="5275">11.27670738</cx:pt>
          <cx:pt idx="5276">11.285857289999999</cx:pt>
          <cx:pt idx="5277">11.295369340000001</cx:pt>
          <cx:pt idx="5278">11.30438172</cx:pt>
          <cx:pt idx="5279">11.31338951</cx:pt>
          <cx:pt idx="5280">11.322544000000001</cx:pt>
          <cx:pt idx="5281">11.331698490000001</cx:pt>
          <cx:pt idx="5282">11.359230719999999</cx:pt>
          <cx:pt idx="5283">11.36860066</cx:pt>
          <cx:pt idx="5284">11.37017301</cx:pt>
          <cx:pt idx="5285">11.4142264</cx:pt>
          <cx:pt idx="5286">11.42337631</cx:pt>
          <cx:pt idx="5287">11.49682308</cx:pt>
          <cx:pt idx="5288">11.506119679999999</cx:pt>
          <cx:pt idx="5289">11.515274160000001</cx:pt>
          <cx:pt idx="5290">11.5242132</cx:pt>
          <cx:pt idx="5291">11.560895329999999</cx:pt>
          <cx:pt idx="5292">11.57941976</cx:pt>
          <cx:pt idx="5293">11.58842755</cx:pt>
          <cx:pt idx="5294">11.65279318</cx:pt>
          <cx:pt idx="5295">11.661732219999999</cx:pt>
          <cx:pt idx="5296">11.68032541</cx:pt>
          <cx:pt idx="5297">11.689264440000001</cx:pt>
          <cx:pt idx="5298">11.69841435</cx:pt>
          <cx:pt idx="5299">11.7079264</cx:pt>
          <cx:pt idx="5300">11.72594657</cx:pt>
          <cx:pt idx="5301">11.74425555</cx:pt>
          <cx:pt idx="5302">11.78115772</cx:pt>
          <cx:pt idx="5303">11.790312200000001</cx:pt>
          <cx:pt idx="5304">11.79932</cx:pt>
          <cx:pt idx="5305">15.635522630000001</cx:pt>
          <cx:pt idx="5306">23.400880000000001</cx:pt>
          <cx:pt idx="5307">35.272350840000001</cx:pt>
          <cx:pt idx="5308">37.019178439999997</cx:pt>
          <cx:pt idx="5309">42.101861280000001</cx:pt>
          <cx:pt idx="5310">45.449594079999997</cx:pt>
          <cx:pt idx="5311">47.197270000000003</cx:pt>
          <cx:pt idx="5312">51.120402839999997</cx:pt>
          <cx:pt idx="5313">55.075479350000002</cx:pt>
          <cx:pt idx="5314">59.0625</cx:pt>
          <cx:pt idx="5315">60.536301420000001</cx:pt>
          <cx:pt idx="5316">61.943534700000001</cx:pt>
          <cx:pt idx="5317">71.982420000000005</cx:pt>
          <cx:pt idx="5318">75.532358410000001</cx:pt>
          <cx:pt idx="5319">86.493475509999996</cx:pt>
          <cx:pt idx="5320">93.735349999999997</cx:pt>
          <cx:pt idx="5321">94.262730079999997</cx:pt>
          <cx:pt idx="5322">94.76628977</cx:pt>
          <cx:pt idx="5323">95.277789580000004</cx:pt>
          <cx:pt idx="5324">95.785191249999997</cx:pt>
          <cx:pt idx="5325">97.323532740000005</cx:pt>
          <cx:pt idx="5326">97.847070900000006</cx:pt>
          <cx:pt idx="5327">98.358570720000003</cx:pt>
          <cx:pt idx="5328">99.896912209999996</cx:pt>
          <cx:pt idx="5329">100.90761740000001</cx:pt>
          <cx:pt idx="5330">101.94265540000001</cx:pt>
          <cx:pt idx="5331">103.4689585</cx:pt>
          <cx:pt idx="5332">105.0073</cx:pt>
          <cx:pt idx="5333">105.67227250000001</cx:pt>
          <cx:pt idx="5334">105.78386039999999</cx:pt>
          <cx:pt idx="5335">108.2758807</cx:pt>
          <cx:pt idx="5336">108.9151523</cx:pt>
          <cx:pt idx="5337">109.5596291</cx:pt>
          <cx:pt idx="5338">110.23468680000001</cx:pt>
          <cx:pt idx="5339">110.8742836</cx:pt>
          <cx:pt idx="5340">115.4318179</cx:pt>
          <cx:pt idx="5341">115.5434058</cx:pt>
          <cx:pt idx="5342">116.08150000000001</cx:pt>
          <cx:pt idx="5343">116.85728</cx:pt>
          <cx:pt idx="5344">120.04076259999999</cx:pt>
          <cx:pt idx="5345">120.866272</cx:pt>
          <cx:pt idx="5346">121.6543849</cx:pt>
          <cx:pt idx="5347">122.4301648</cx:pt>
          <cx:pt idx="5348">124.8446306</cx:pt>
          <cx:pt idx="5349">125.6327436</cx:pt>
          <cx:pt idx="5350">126.40852340000001</cx:pt>
          <cx:pt idx="5351">127.2217</cx:pt>
          <cx:pt idx="5352">127.1923857</cx:pt>
          <cx:pt idx="5353">127.0581787</cx:pt>
          <cx:pt idx="5354">126.898506</cx:pt>
          <cx:pt idx="5355">126.7362949</cx:pt>
          <cx:pt idx="5356">126.5663867</cx:pt>
          <cx:pt idx="5357">126.40548579999999</cx:pt>
          <cx:pt idx="5358">126.24327460000001</cx:pt>
          <cx:pt idx="5359">126.07336650000001</cx:pt>
          <cx:pt idx="5360">125.9111554</cx:pt>
          <cx:pt idx="5361">125.7514826</cx:pt>
          <cx:pt idx="5362">125.58665120000001</cx:pt>
          <cx:pt idx="5363">125.4244401</cx:pt>
          <cx:pt idx="5364">125.2545319</cx:pt>
          <cx:pt idx="5365">125.0923208</cx:pt>
          <cx:pt idx="5366">124.93264809999999</cx:pt>
          <cx:pt idx="5367">124.76527830000001</cx:pt>
          <cx:pt idx="5368">124.7371923</cx:pt>
          <cx:pt idx="5369">124.601839</cx:pt>
          <cx:pt idx="5370">124.4420843</cx:pt>
          <cx:pt idx="5371">124.27225799999999</cx:pt>
          <cx:pt idx="5372">124.1099651</cx:pt>
          <cx:pt idx="5373">123.9490641</cx:pt>
          <cx:pt idx="5374">123.7868529</cx:pt>
          <cx:pt idx="5375">123.6169448</cx:pt>
          <cx:pt idx="5376">123.45473370000001</cx:pt>
          <cx:pt idx="5377">123.2950609</cx:pt>
          <cx:pt idx="5378">123.1302295</cx:pt>
          <cx:pt idx="5379">122.96801840000001</cx:pt>
          <cx:pt idx="5380">122.7981103</cx:pt>
          <cx:pt idx="5381">122.6358991</cx:pt>
          <cx:pt idx="5382">122.4762264</cx:pt>
          <cx:pt idx="5383">122.3088566</cx:pt>
          <cx:pt idx="5384">122.2795424</cx:pt>
          <cx:pt idx="5385">122.14541730000001</cx:pt>
          <cx:pt idx="5386">121.80813929999999</cx:pt>
          <cx:pt idx="5387">121.6535434</cx:pt>
          <cx:pt idx="5388">121.49264239999999</cx:pt>
          <cx:pt idx="5389">121.3304313</cx:pt>
          <cx:pt idx="5390">121.16052310000001</cx:pt>
          <cx:pt idx="5391">120.998312</cx:pt>
          <cx:pt idx="5392">120.8386393</cx:pt>
          <cx:pt idx="5393">120.6738079</cx:pt>
          <cx:pt idx="5394">120.5115967</cx:pt>
          <cx:pt idx="5395">120.3416886</cx:pt>
          <cx:pt idx="5396">120.1794774</cx:pt>
          <cx:pt idx="5397">120.01980469999999</cx:pt>
          <cx:pt idx="5398">119.85243490000001</cx:pt>
          <cx:pt idx="5399">119.8231207</cx:pt>
          <cx:pt idx="5400">119.6889956</cx:pt>
          <cx:pt idx="5401">119.5280127</cx:pt>
          <cx:pt idx="5402">119.3504075</cx:pt>
          <cx:pt idx="5403">119.1971217</cx:pt>
          <cx:pt idx="5404">119.0362207</cx:pt>
          <cx:pt idx="5405">118.87400959999999</cx:pt>
          <cx:pt idx="5406">118.7041014</cx:pt>
          <cx:pt idx="5407">118.54189030000001</cx:pt>
          <cx:pt idx="5408">118.3822176</cx:pt>
          <cx:pt idx="5409">118.21738620000001</cx:pt>
          <cx:pt idx="5410">118.0551751</cx:pt>
          <cx:pt idx="5411">117.8852669</cx:pt>
          <cx:pt idx="5412">117.7230558</cx:pt>
          <cx:pt idx="5413">99.134926210000003</cx:pt>
          <cx:pt idx="5414">98.491843259999996</cx:pt>
          <cx:pt idx="5415">97.827983790000005</cx:pt>
          <cx:pt idx="5416">97.174677500000001</cx:pt>
          <cx:pt idx="5417">96.490371289999999</cx:pt>
          <cx:pt idx="5418">95.842341590000004</cx:pt>
          <cx:pt idx="5419">95.837064999999996</cx:pt>
          <cx:pt idx="5420">95.193982050000002</cx:pt>
          <cx:pt idx="5421">94.51495242</cx:pt>
          <cx:pt idx="5422">94.468452560000003</cx:pt>
          <cx:pt idx="5423">93.856369540000003</cx:pt>
          <cx:pt idx="5424">93.208010000000002</cx:pt>
          <cx:pt idx="5425">86.272422700000007</cx:pt>
          <cx:pt idx="5426">82.924800000000005</cx:pt>
          <cx:pt idx="5427">71.041016999999997</cx:pt>
          <cx:pt idx="5428">62.011008330000003</cx:pt>
          <cx:pt idx="5429">59.06349694</cx:pt>
          <cx:pt idx="5430">56.162109999999998</cx:pt>
          <cx:pt idx="5431">51.924160919999998</cx:pt>
          <cx:pt idx="5432">50.46000094</cx:pt>
          <cx:pt idx="5433">49.062169249999997</cx:pt>
          <cx:pt idx="5434">46.288379810000002</cx:pt>
          <cx:pt idx="5435">44.824219999999997</cx:pt>
          <cx:pt idx="5436">37.935046079999999</cx:pt>
          <cx:pt idx="5437">34.42308877</cx:pt>
          <cx:pt idx="5438">34.409179999999999</cx:pt>
          <cx:pt idx="5439">33.625059589999999</cx:pt>
          <cx:pt idx="5440">32.79710876</cx:pt>
          <cx:pt idx="5441">30.338187319999999</cx:pt>
          <cx:pt idx="5442">28.794877320000001</cx:pt>
          <cx:pt idx="5443">22.34619</cx:pt>
          <cx:pt idx="5444">19.406125509999999</cx:pt>
          <cx:pt idx="5445">18.548659350000001</cx:pt>
          <cx:pt idx="5446">11.40381</cx:pt>
          <cx:pt idx="5447">7.510434761</cx:pt>
          <cx:pt idx="5448">6.064476472</cx:pt>
          <cx:pt idx="5449">5.9755403530000004</cx:pt>
          <cx:pt idx="5450">5.8852018890000002</cx:pt>
          <cx:pt idx="5451">5.7948634239999999</cx:pt>
          <cx:pt idx="5452">5.52316947</cx:pt>
          <cx:pt idx="5453">5.4307501</cx:pt>
          <cx:pt idx="5454">5.3404116349999997</cx:pt>
          <cx:pt idx="5455">5.154125305</cx:pt>
          <cx:pt idx="5456">5.0687176809999999</cx:pt>
          <cx:pt idx="5457">4.890166893</cx:pt>
          <cx:pt idx="5458">4.6184729390000001</cx:pt>
          <cx:pt idx="5459">4.5281344739999998</cx:pt>
          <cx:pt idx="5460">3.6234379429999999</cx:pt>
          <cx:pt idx="5461">3.533099478</cx:pt>
          <cx:pt idx="5462">3.08077384</cx:pt>
          <cx:pt idx="5463">2.8090346519999998</cx:pt>
          <cx:pt idx="5464">2.4441975330000001</cx:pt>
          <cx:pt idx="5465">1.1809970789999999</cx:pt>
          <cx:pt idx="5466">1.0871301179999999</cx:pt>
          <cx:pt idx="5467">0.99823924399999997</cx:pt>
          <cx:pt idx="5468">0.81896466000000001</cx:pt>
          <cx:pt idx="5469">0.72509769999999996</cx:pt>
          <cx:pt idx="5470">0.72494573699999998</cx:pt>
          <cx:pt idx="5471">0.72489457000000002</cx:pt>
          <cx:pt idx="5472">0.72484137699999995</cx:pt>
          <cx:pt idx="5473">0.724790979</cx:pt>
          <cx:pt idx="5474">0.72474058100000005</cx:pt>
          <cx:pt idx="5475">0.72468820899999997</cx:pt>
          <cx:pt idx="5476">0.72463742600000003</cx:pt>
          <cx:pt idx="5477">0.72458702799999997</cx:pt>
          <cx:pt idx="5478">0.72448346399999997</cx:pt>
          <cx:pt idx="5479">0.72438187300000001</cx:pt>
          <cx:pt idx="5480">0.72427830800000004</cx:pt>
          <cx:pt idx="5481">0.72412555000000001</cx:pt>
          <cx:pt idx="5482">0.72407235800000003</cx:pt>
          <cx:pt idx="5483">0.72402195999999996</cx:pt>
          <cx:pt idx="5484">0.72397156200000001</cx:pt>
          <cx:pt idx="5485">0.72391919000000005</cx:pt>
          <cx:pt idx="5486">0.72386799700000004</cx:pt>
          <cx:pt idx="5487">0.72381759899999998</cx:pt>
          <cx:pt idx="5488">0.72371403400000001</cx:pt>
          <cx:pt idx="5489">0.72366404600000001</cx:pt>
          <cx:pt idx="5490">0.723612853</cx:pt>
          <cx:pt idx="5491">0.72355966100000002</cx:pt>
          <cx:pt idx="5492">0.72345888999999997</cx:pt>
          <cx:pt idx="5493">0.72335653</cx:pt>
          <cx:pt idx="5494">0.72325293999999996</cx:pt>
          <cx:pt idx="5495">0.723202542</cx:pt>
          <cx:pt idx="5496">0.72315017000000004</cx:pt>
          <cx:pt idx="5497">0.72309897700000003</cx:pt>
          <cx:pt idx="5498">0.72304857899999997</cx:pt>
          <cx:pt idx="5499">0.72299541199999995</cx:pt>
          <cx:pt idx="5500">0.722945014</cx:pt>
          <cx:pt idx="5501">0.722895026</cx:pt>
          <cx:pt idx="5502">0.72284383399999996</cx:pt>
          <cx:pt idx="5503">0.72263749899999996</cx:pt>
          <cx:pt idx="5504">0.72248312599999998</cx:pt>
          <cx:pt idx="5505">0.72233036799999994</cx:pt>
          <cx:pt idx="5506">0.72232995799999999</cx:pt>
          <cx:pt idx="5507">0.72227996999999999</cx:pt>
          <cx:pt idx="5508">0.72217640500000002</cx:pt>
          <cx:pt idx="5509">0.72207481399999995</cx:pt>
          <cx:pt idx="5510">0.72197124899999998</cx:pt>
          <cx:pt idx="5511">0.72181849099999995</cx:pt>
          <cx:pt idx="5512">0.72176529899999997</cx:pt>
          <cx:pt idx="5513">0.72171490100000002</cx:pt>
          <cx:pt idx="5514">0.721664529</cx:pt>
          <cx:pt idx="5515">0.72156093799999999</cx:pt>
          <cx:pt idx="5516">0.72145737300000001</cx:pt>
          <cx:pt idx="5517">0.72135698699999995</cx:pt>
          <cx:pt idx="5518">0.72130579500000003</cx:pt>
          <cx:pt idx="5519">0.72120223000000006</cx:pt>
          <cx:pt idx="5520">0.72104947200000002</cx:pt>
          <cx:pt idx="5521">0.72099628000000004</cx:pt>
          <cx:pt idx="5522">0.72094588100000001</cx:pt>
          <cx:pt idx="5523">0.72084311099999998</cx:pt>
          <cx:pt idx="5524">0.71981853799999995</cx:pt>
          <cx:pt idx="5525">0.71976775500000001</cx:pt>
          <cx:pt idx="5526">0.71945824000000003</cx:pt>
          <cx:pt idx="5527">0.71930427799999996</cx:pt>
          <cx:pt idx="5528">0.71904992899999998</cx:pt>
          <cx:pt idx="5529">0.71899873599999997</cx:pt>
          <cx:pt idx="5530">0.718895171</cx:pt>
          <cx:pt idx="5531">0.71878919699999999</cx:pt>
          <cx:pt idx="5532">0.71869081000000001</cx:pt>
          <cx:pt idx="5533">0.71863761800000003</cx:pt>
          <cx:pt idx="5534">0.71858724600000001</cx:pt>
          <cx:pt idx="5535">0.71853605300000001</cx:pt>
          <cx:pt idx="5536">0.71751147900000001</cx:pt>
          <cx:pt idx="5537">0.71704920599999999</cx:pt>
          <cx:pt idx="5538">0.71699801399999996</cx:pt>
          <cx:pt idx="5539">0.71694682099999996</cx:pt>
          <cx:pt idx="5540">0.71689644799999996</cx:pt>
          <cx:pt idx="5541">0.71622819900000001</cx:pt>
          <cx:pt idx="5542">0.71617780099999995</cx:pt>
          <cx:pt idx="5543">0.71612742900000004</cx:pt>
          <cx:pt idx="5544">0.71607423699999995</cx:pt>
          <cx:pt idx="5545">0.71602383800000002</cx:pt>
          <cx:pt idx="5546">0.71597343999999996</cx:pt>
          <cx:pt idx="5547">0.71592265799999999</cx:pt>
          <cx:pt idx="5548">0.71581909300000002</cx:pt>
          <cx:pt idx="5549">0.71571550299999998</cx:pt>
          <cx:pt idx="5550">0.71561473200000003</cx:pt>
          <cx:pt idx="5551">0.71520442100000003</cx:pt>
          <cx:pt idx="5552">0.71515363799999998</cx:pt>
          <cx:pt idx="5553">0.71499967499999995</cx:pt>
          <cx:pt idx="5554">0.71489690500000003</cx:pt>
          <cx:pt idx="5555">0.71484371300000005</cx:pt>
          <cx:pt idx="5556">0.71479334100000003</cx:pt>
          <cx:pt idx="5557">0.71474294199999999</cx:pt>
          <cx:pt idx="5558">0.71469095500000002</cx:pt>
          <cx:pt idx="5559">0.71463976200000001</cx:pt>
          <cx:pt idx="5560">0.71453619700000004</cx:pt>
          <cx:pt idx="5561">0.71443542699999996</cx:pt>
          <cx:pt idx="5562">0.71438461900000005</cx:pt>
          <cx:pt idx="5563">0.71428105399999997</cx:pt>
          <cx:pt idx="5564">0.71423065600000002</cx:pt>
          <cx:pt idx="5565">0.71417907899999999</cx:pt>
          <cx:pt idx="5566">0.71412709100000005</cx:pt>
          <cx:pt idx="5567">0.71402111700000004</cx:pt>
          <cx:pt idx="5568">0.71351162400000001</cx:pt>
          <cx:pt idx="5569">0.71341005899999999</cx:pt>
          <cx:pt idx="5570">0.71335886599999998</cx:pt>
          <cx:pt idx="5571">0.713305674</cx:pt>
          <cx:pt idx="5572">0.71325530100000001</cx:pt>
          <cx:pt idx="5573">0.71315291599999997</cx:pt>
          <cx:pt idx="5574">0.71305135100000006</cx:pt>
          <cx:pt idx="5575">0.71299815799999999</cx:pt>
          <cx:pt idx="5576">0.712589052</cx:pt>
          <cx:pt idx="5577">0.71233270400000004</cx:pt>
          <cx:pt idx="5578">0.71197358499999996</cx:pt>
          <cx:pt idx="5579">0.71182082700000004</cx:pt>
          <cx:pt idx="5580">0.71161487700000003</cx:pt>
          <cx:pt idx="5581">0.71089705000000003</cx:pt>
          <cx:pt idx="5582">0.71084544699999996</cx:pt>
          <cx:pt idx="5583">0.710744292</cx:pt>
          <cx:pt idx="5584">0.71068869000000001</cx:pt>
          <cx:pt idx="5585">0.71007642800000004</cx:pt>
          <cx:pt idx="5586">0.70987168199999995</cx:pt>
          <cx:pt idx="5587">0.70941020399999999</cx:pt>
          <cx:pt idx="5588">0.70925624099999995</cx:pt>
          <cx:pt idx="5589">0.70915306099999997</cx:pt>
          <cx:pt idx="5590">0.70905229000000003</cx:pt>
          <cx:pt idx="5591">0.70900109700000002</cx:pt>
          <cx:pt idx="5592">0.70889750699999998</cx:pt>
          <cx:pt idx="5593">0.70884713399999999</cx:pt>
          <cx:pt idx="5594">0.70879594199999996</cx:pt>
          <cx:pt idx="5595">0.70874474899999995</cx:pt>
          <cx:pt idx="5596">0.70869155699999997</cx:pt>
          <cx:pt idx="5597">0.70864118399999998</cx:pt>
          <cx:pt idx="5598">0.70859078600000003</cx:pt>
          <cx:pt idx="5599">0.70853879900000005</cx:pt>
          <cx:pt idx="5600">0.70843723300000006</cx:pt>
          <cx:pt idx="5601">0.70838404099999996</cx:pt>
          <cx:pt idx="5602">0.70833364300000001</cx:pt>
          <cx:pt idx="5603">0.70828327099999999</cx:pt>
          <cx:pt idx="5604">0.70823207799999999</cx:pt>
          <cx:pt idx="5605">0.70797452500000002</cx:pt>
          <cx:pt idx="5606">0.70782056199999999</cx:pt>
          <cx:pt idx="5607">0.70776977900000004</cx:pt>
          <cx:pt idx="5608">0.70771858600000004</cx:pt>
          <cx:pt idx="5609">0.70761502200000004</cx:pt>
          <cx:pt idx="5610">0.707564623</cx:pt>
          <cx:pt idx="5611">0.70751425099999998</cx:pt>
          <cx:pt idx="5612">0.70735946800000005</cx:pt>
          <cx:pt idx="5613">0.70730909500000005</cx:pt>
          <cx:pt idx="5614">0.70725790300000002</cx:pt>
          <cx:pt idx="5615">0.70720671000000002</cx:pt>
          <cx:pt idx="5616">0.70715351800000004</cx:pt>
          <cx:pt idx="5617">0.70705274699999998</cx:pt>
          <cx:pt idx="5618">0.706999555</cx:pt>
          <cx:pt idx="5619">0.70689878399999995</cx:pt>
          <cx:pt idx="5620">0.70684559199999997</cx:pt>
          <cx:pt idx="5621">0.70669403900000005</cx:pt>
          <cx:pt idx="5622">0.70664084599999999</cx:pt>
          <cx:pt idx="5623">0.70654007600000002</cx:pt>
          <cx:pt idx="5624">0.70648688400000004</cx:pt>
          <cx:pt idx="5625">0.70612976500000002</cx:pt>
          <cx:pt idx="5626">0.705565106</cx:pt>
          <cx:pt idx="5627">0.70541114299999996</cx:pt>
          <cx:pt idx="5628">0.70520719200000004</cx:pt>
          <cx:pt idx="5629">0.70413063200000003</cx:pt>
          <cx:pt idx="5630">0.70402706699999995</cx:pt>
          <cx:pt idx="5631">0.70392109300000005</cx:pt>
          <cx:pt idx="5632">0.70341080499999997</cx:pt>
          <cx:pt idx="5633">0.70340839600000005</cx:pt>
          <cx:pt idx="5634">0.70284894099999995</cx:pt>
          <cx:pt idx="5635">0.70274535100000002</cx:pt>
          <cx:pt idx="5636">0.70238623200000005</cx:pt>
          <cx:pt idx="5637">0.70233506499999998</cx:pt>
          <cx:pt idx="5638">0.70228466700000003</cx:pt>
          <cx:pt idx="5639">0.70223147500000005</cx:pt>
          <cx:pt idx="5640">0.70218110199999995</cx:pt>
          <cx:pt idx="5641">0.70213111399999995</cx:pt>
          <cx:pt idx="5642">0.70207992100000005</cx:pt>
          <cx:pt idx="5643">0.70192595899999999</cx:pt>
          <cx:pt idx="5644">0.70187276600000004</cx:pt>
          <cx:pt idx="5645">0.70182236799999997</cx:pt>
          <cx:pt idx="5646">0.70156604499999997</cx:pt>
          <cx:pt idx="5647">0.70146245500000004</cx:pt>
          <cx:pt idx="5648">0.70033672700000005</cx:pt>
          <cx:pt idx="5649">0.70018076399999996</cx:pt>
          <cx:pt idx="5650">0.700130366</cx:pt>
          <cx:pt idx="5651">0.70007919900000004</cx:pt>
          <cx:pt idx="5652">0.70002800600000004</cx:pt>
          <cx:pt idx="5653">0.69997760799999997</cx:pt>
          <cx:pt idx="5654">0.69982405599999997</cx:pt>
          <cx:pt idx="5655">0.69977006900000005</cx:pt>
          <cx:pt idx="5656">0.69971967099999999</cx:pt>
          <cx:pt idx="5657">0.69956770700000004</cx:pt>
          <cx:pt idx="5658">0.69936216699999998</cx:pt>
          <cx:pt idx="5659">0.69931018</cx:pt>
          <cx:pt idx="5660">0.69920858900000005</cx:pt>
          <cx:pt idx="5661">0.69915539599999998</cx:pt>
          <cx:pt idx="5662">0.69910502399999996</cx:pt>
          <cx:pt idx="5663">0.69905503599999996</cx:pt>
          <cx:pt idx="5664">0.69895065099999998</cx:pt>
          <cx:pt idx="5665">0.69890025300000003</cx:pt>
          <cx:pt idx="5666">0.69879789299999995</cx:pt>
          <cx:pt idx="5667">0.69874628999999999</cx:pt>
          <cx:pt idx="5668">0.69869591799999997</cx:pt>
          <cx:pt idx="5669">0.69864272500000002</cx:pt>
          <cx:pt idx="5670">0.69864072600000005</cx:pt>
          <cx:pt idx="5671">0.69859232699999996</cx:pt>
          <cx:pt idx="5672">0.69854115999999999</cx:pt>
          <cx:pt idx="5673">0.69848996699999999</cx:pt>
          <cx:pt idx="5674">0.698285606</cx:pt>
          <cx:pt idx="5675">0.69730704799999998</cx:pt>
          <cx:pt idx="5676">0.69726023800000003</cx:pt>
          <cx:pt idx="5677">0.69684595400000005</cx:pt>
          <cx:pt idx="5678">0.69633646100000002</cx:pt>
          <cx:pt idx="5679">0.69597854800000003</cx:pt>
          <cx:pt idx="5680">0.69546508200000001</cx:pt>
          <cx:pt idx="5681">0.69536349099999994</cx:pt>
          <cx:pt idx="5682">0.69531029899999997</cx:pt>
          <cx:pt idx="5683">0.69525992599999997</cx:pt>
          <cx:pt idx="5684">0.69520952800000002</cx:pt>
          <cx:pt idx="5685">0.69515833500000002</cx:pt>
          <cx:pt idx="5686">0.69500437299999995</cx:pt>
          <cx:pt idx="5687">0.69490201299999999</cx:pt>
          <cx:pt idx="5688">0.69484882000000003</cx:pt>
          <cx:pt idx="5689">0.69479842199999997</cx:pt>
          <cx:pt idx="5690">0.69474804999999995</cx:pt>
          <cx:pt idx="5691">0.69464445900000005</cx:pt>
          <cx:pt idx="5692">0.69459408700000003</cx:pt>
          <cx:pt idx="5693">0.69453889499999999</cx:pt>
          <cx:pt idx="5694">0.69449049699999998</cx:pt>
          <cx:pt idx="5695">0.69444050899999998</cx:pt>
          <cx:pt idx="5696">0.69438693200000001</cx:pt>
          <cx:pt idx="5697">0.694286136</cx:pt>
          <cx:pt idx="5698">0.69418416000000005</cx:pt>
          <cx:pt idx="5699">0.69413217299999996</cx:pt>
          <cx:pt idx="5700">0.69408179999999997</cx:pt>
          <cx:pt idx="5701">0.69402860799999999</cx:pt>
          <cx:pt idx="5702">0.69402619799999998</cx:pt>
          <cx:pt idx="5703">0.69392704299999997</cx:pt>
          <cx:pt idx="5704">0.69382545200000001</cx:pt>
          <cx:pt idx="5705">0.69377226000000003</cx:pt>
          <cx:pt idx="5706">0.69356751400000005</cx:pt>
          <cx:pt idx="5707">0.69351711599999999</cx:pt>
          <cx:pt idx="5708">0.69336397400000005</cx:pt>
          <cx:pt idx="5709">0.69331078099999999</cx:pt>
          <cx:pt idx="5710">0.69321001100000001</cx:pt>
          <cx:pt idx="5711">0.69315681799999995</cx:pt>
          <cx:pt idx="5712">0.69295245699999997</cx:pt>
          <cx:pt idx="5713">0.69290247000000005</cx:pt>
          <cx:pt idx="5714">0.69284889299999997</cx:pt>
          <cx:pt idx="5715">0.69279849500000001</cx:pt>
          <cx:pt idx="5716">0.69274809699999995</cx:pt>
          <cx:pt idx="5717">0.69269493000000004</cx:pt>
          <cx:pt idx="5718">0.69254376100000004</cx:pt>
          <cx:pt idx="5719">0.69249056899999994</cx:pt>
          <cx:pt idx="5720">0.69238900400000003</cx:pt>
          <cx:pt idx="5721">0.69233781100000003</cx:pt>
          <cx:pt idx="5722">0.69228741299999996</cx:pt>
          <cx:pt idx="5723">0.69218384799999999</cx:pt>
          <cx:pt idx="5724">0.69213345000000004</cx:pt>
          <cx:pt idx="5725">0.69172234399999999</cx:pt>
          <cx:pt idx="5726">0.69156838099999995</cx:pt>
          <cx:pt idx="5727">0.69141441800000003</cx:pt>
          <cx:pt idx="5728">0.69136443000000003</cx:pt>
          <cx:pt idx="5729">0.69054021899999996</cx:pt>
          <cx:pt idx="5730">0.69049143599999996</cx:pt>
          <cx:pt idx="5731">0.69013311200000005</cx:pt>
          <cx:pt idx="5732">0.69003075199999997</cx:pt>
          <cx:pt idx="5733">0.68972241599999995</cx:pt>
          <cx:pt idx="5734">0.68961885199999995</cx:pt>
          <cx:pt idx="5735">0.68957004300000002</cx:pt>
          <cx:pt idx="5736">0.68951805600000005</cx:pt>
          <cx:pt idx="5737">0.68946488900000003</cx:pt>
          <cx:pt idx="5738">0.68941449099999996</cx:pt>
          <cx:pt idx="5739">0.68936409300000001</cx:pt>
          <cx:pt idx="5740">0.68931292600000005</cx:pt>
          <cx:pt idx="5741">0.68920695099999996</cx:pt>
          <cx:pt idx="5742">0.68813359500000004</cx:pt>
          <cx:pt idx="5743">0.68782566899999997</cx:pt>
          <cx:pt idx="5744">0.68777488600000003</cx:pt>
          <cx:pt idx="5745">0.687723694</cx:pt>
          <cx:pt idx="5746">0.68762010299999998</cx:pt>
          <cx:pt idx="5747">0.68751933300000001</cx:pt>
          <cx:pt idx="5748">0.68746534599999998</cx:pt>
          <cx:pt idx="5749">0.68746414099999997</cx:pt>
          <cx:pt idx="5750">0.68736457500000003</cx:pt>
          <cx:pt idx="5751">0.68726301000000001</cx:pt>
          <cx:pt idx="5752">0.68715821499999996</cx:pt>
          <cx:pt idx="5753">0.68715621500000001</cx:pt>
          <cx:pt idx="5754">0.68710784199999997</cx:pt>
          <cx:pt idx="5755">0.68695467399999999</cx:pt>
          <cx:pt idx="5756">0.68690148200000001</cx:pt>
          <cx:pt idx="5757">0.68685108399999995</cx:pt>
          <cx:pt idx="5758">0.68680071099999995</cx:pt>
          <cx:pt idx="5759">0.686750313</cx:pt>
          <cx:pt idx="5760">0.68664595399999995</cx:pt>
          <cx:pt idx="5761">0.68664354400000005</cx:pt>
          <cx:pt idx="5762">0.686595556</cx:pt>
          <cx:pt idx="5763">0.68633600299999997</cx:pt>
          <cx:pt idx="5764">0.68608206400000005</cx:pt>
          <cx:pt idx="5765">0.68592571700000005</cx:pt>
          <cx:pt idx="5766">0.68505792700000001</cx:pt>
          <cx:pt idx="5767">0.68469839799999999</cx:pt>
          <cx:pt idx="5768">0.68464720499999998</cx:pt>
          <cx:pt idx="5769">0.68459683299999996</cx:pt>
          <cx:pt idx="5770">0.68454364099999998</cx:pt>
          <cx:pt idx="5771">0.68444287000000004</cx:pt>
          <cx:pt idx="5772">0.68433927999999999</cx:pt>
          <cx:pt idx="5773">0.684288907</cx:pt>
          <cx:pt idx="5774">0.68423571500000002</cx:pt>
          <cx:pt idx="5775">0.68413532899999996</cx:pt>
          <cx:pt idx="5776">0.68403176399999999</cx:pt>
          <cx:pt idx="5777">0.68398136600000004</cx:pt>
          <cx:pt idx="5778">0.683827403</cx:pt>
          <cx:pt idx="5779">0.68377421100000002</cx:pt>
          <cx:pt idx="5780">0.68372383800000003</cx:pt>
          <cx:pt idx="5781">0.68362024799999999</cx:pt>
          <cx:pt idx="5782">0.68351947700000004</cx:pt>
          <cx:pt idx="5783">0.68321155200000006</cx:pt>
          <cx:pt idx="5784">0.683160769</cx:pt>
          <cx:pt idx="5785">0.683109576</cx:pt>
          <cx:pt idx="5786">0.68305638400000002</cx:pt>
          <cx:pt idx="5787">0.68300598599999995</cx:pt>
          <cx:pt idx="5788">0.68290483099999999</cx:pt>
          <cx:pt idx="5789">0.68115963700000004</cx:pt>
          <cx:pt idx="5790">0.68110964900000004</cx:pt>
          <cx:pt idx="5791">0.68105925099999998</cx:pt>
          <cx:pt idx="5792">0.68100605800000003</cx:pt>
          <cx:pt idx="5793">0.68100405900000005</cx:pt>
          <cx:pt idx="5794">0.68085329999999999</cx:pt>
          <cx:pt idx="5795">0.68080172299999997</cx:pt>
          <cx:pt idx="5796">0.68075132500000002</cx:pt>
          <cx:pt idx="5797">0.68069813300000004</cx:pt>
          <cx:pt idx="5798">0.68064776000000005</cx:pt>
          <cx:pt idx="5799">0.68059736199999998</cx:pt>
          <cx:pt idx="5800">0.68054417</cx:pt>
          <cx:pt idx="5801">0.68054258000000001</cx:pt>
          <cx:pt idx="5802">0.68049379700000001</cx:pt>
          <cx:pt idx="5803">0.68039020699999997</cx:pt>
          <cx:pt idx="5804">0.68033983499999995</cx:pt>
          <cx:pt idx="5805">0.68028943600000003</cx:pt>
          <cx:pt idx="5806">0.68023903799999996</cx:pt>
          <cx:pt idx="5807">0.68018587200000002</cx:pt>
          <cx:pt idx="5808">0.68008428099999996</cx:pt>
          <cx:pt idx="5809">0.67998271600000004</cx:pt>
          <cx:pt idx="5810">0.67987912500000003</cx:pt>
          <cx:pt idx="5811">0.67982875300000001</cx:pt>
          <cx:pt idx="5812">0.67977555999999995</cx:pt>
          <cx:pt idx="5813">0.67972516199999999</cx:pt>
          <cx:pt idx="5814">0.67967478999999997</cx:pt>
          <cx:pt idx="5815">0.67962159799999999</cx:pt>
          <cx:pt idx="5816">0.67957160999999999</cx:pt>
          <cx:pt idx="5817">0.67951962200000005</cx:pt>
          <cx:pt idx="5818">0.679416032</cx:pt>
          <cx:pt idx="5819">0.67931526099999995</cx:pt>
          <cx:pt idx="5820">0.67926406900000003</cx:pt>
          <cx:pt idx="5821">0.67921369600000003</cx:pt>
          <cx:pt idx="5822">0.67875139699999998</cx:pt>
          <cx:pt idx="5823">0.67869699999999999</cx:pt>
          <cx:pt idx="5824">0.67854624200000002</cx:pt>
          <cx:pt idx="5825">0.67849504900000002</cx:pt>
          <cx:pt idx="5826">0.678441882</cx:pt>
          <cx:pt idx="5827">0.67834108599999998</cx:pt>
          <cx:pt idx="5828">0.67829071399999996</cx:pt>
          <cx:pt idx="5829">0.67823752100000001</cx:pt>
          <cx:pt idx="5830">0.67726534599999999</cx:pt>
          <cx:pt idx="5831">0.67669948199999996</cx:pt>
          <cx:pt idx="5832">0.67654351999999995</cx:pt>
          <cx:pt idx="5833">0.67644433900000001</cx:pt>
          <cx:pt idx="5834">0.67638994200000002</cx:pt>
          <cx:pt idx="5835">0.67629078600000003</cx:pt>
          <cx:pt idx="5836">0.67623918299999997</cx:pt>
          <cx:pt idx="5837">0.67618798999999996</cx:pt>
          <cx:pt idx="5838">0.67613482400000002</cx:pt>
          <cx:pt idx="5839">0.67613361900000002</cx:pt>
          <cx:pt idx="5840">0.67603402700000004</cx:pt>
          <cx:pt idx="5841">0.67598365500000002</cx:pt>
          <cx:pt idx="5842">0.67593046300000004</cx:pt>
          <cx:pt idx="5843">0.67547016400000004</cx:pt>
          <cx:pt idx="5844">0.67541897100000003</cx:pt>
          <cx:pt idx="5845">0.67454438699999997</cx:pt>
          <cx:pt idx="5846">0.67439201299999996</cx:pt>
          <cx:pt idx="5847">0.67439042400000004</cx:pt>
          <cx:pt idx="5848">0.674238051</cx:pt>
          <cx:pt idx="5849">0.67270001199999996</cx:pt>
          <cx:pt idx="5850">0.67254604900000003</cx:pt>
          <cx:pt idx="5851">0.67249567600000004</cx:pt>
          <cx:pt idx="5852">0.67244527799999998</cx:pt>
          <cx:pt idx="5853">0.67239408499999997</cx:pt>
          <cx:pt idx="5854">0.67234289300000005</cx:pt>
          <cx:pt idx="5855">0.67228972600000003</cx:pt>
          <cx:pt idx="5856">0.67228852100000003</cx:pt>
          <cx:pt idx="5857">0.67223932799999997</cx:pt>
          <cx:pt idx="5858">0.67218893000000002</cx:pt>
          <cx:pt idx="5859">0.67213814699999996</cx:pt>
          <cx:pt idx="5860">0.67213776300000005</cx:pt>
          <cx:pt idx="5861">0.67208495499999998</cx:pt>
          <cx:pt idx="5862">0.67203458199999999</cx:pt>
          <cx:pt idx="5863">0.67198418400000004</cx:pt>
          <cx:pt idx="5864">0.67193099199999995</cx:pt>
          <cx:pt idx="5865">0.67188100399999995</cx:pt>
          <cx:pt idx="5866">0.67177743899999998</cx:pt>
          <cx:pt idx="5867">0.67121475500000005</cx:pt>
          <cx:pt idx="5868">0.67110919000000002</cx:pt>
          <cx:pt idx="5869">0.67106079200000002</cx:pt>
          <cx:pt idx="5870">0.67101041900000002</cx:pt>
          <cx:pt idx="5871">0.67085604600000004</cx:pt>
          <cx:pt idx="5872">0.67080485400000001</cx:pt>
          <cx:pt idx="5873">0.66992985999999999</cx:pt>
          <cx:pt idx="5874">0.66962234399999998</cx:pt>
          <cx:pt idx="5875">0.66941718800000005</cx:pt>
          <cx:pt idx="5876">0.66931800699999999</cx:pt>
          <cx:pt idx="5877">0.66869936200000002</cx:pt>
          <cx:pt idx="5878">0.66752403000000005</cx:pt>
          <cx:pt idx="5879">0.66706214100000005</cx:pt>
          <cx:pt idx="5880">0.66675501000000004</cx:pt>
          <cx:pt idx="5881">0.66660066299999998</cx:pt>
          <cx:pt idx="5882">0.66639389199999999</cx:pt>
          <cx:pt idx="5883">0.66634110999999996</cx:pt>
          <cx:pt idx="5884">0.66583164299999997</cx:pt>
          <cx:pt idx="5885">0.66567806500000004</cx:pt>
          <cx:pt idx="5886">0.66562487299999995</cx:pt>
          <cx:pt idx="5887">0.66557449999999996</cx:pt>
          <cx:pt idx="5888">0.665472909</cx:pt>
          <cx:pt idx="5889">0.66542171699999997</cx:pt>
          <cx:pt idx="5890">0.66536854999999995</cx:pt>
          <cx:pt idx="5891">0.665318152</cx:pt>
          <cx:pt idx="5892">0.66526775400000004</cx:pt>
          <cx:pt idx="5893">0.66521697099999999</cx:pt>
          <cx:pt idx="5894">0.66516377900000001</cx:pt>
          <cx:pt idx="5895">0.66511340699999999</cx:pt>
          <cx:pt idx="5896">0.66500981599999998</cx:pt>
          <cx:pt idx="5897">0.66495944399999996</cx:pt>
          <cx:pt idx="5898">0.66470350499999997</cx:pt>
          <cx:pt idx="5899">0.66439276000000003</cx:pt>
          <cx:pt idx="5900">0.66419042399999995</cx:pt>
          <cx:pt idx="5901">0.66403405199999999</cx:pt>
          <cx:pt idx="5902">0.66398606299999996</cx:pt>
          <cx:pt idx="5903">0.66388329300000004</cx:pt>
          <cx:pt idx="5904">0.66331781400000001</cx:pt>
          <cx:pt idx="5905">0.66280355400000002</cx:pt>
          <cx:pt idx="5906">0.66260160199999996</cx:pt>
          <cx:pt idx="5907">0.66234563899999999</cx:pt>
          <cx:pt idx="5908">0.66234525399999999</cx:pt>
          <cx:pt idx="5909">0.66229247199999997</cx:pt>
          <cx:pt idx="5910">0.66224207400000001</cx:pt>
          <cx:pt idx="5911">0.66219167599999995</cx:pt>
          <cx:pt idx="5912">0.66214089300000001</cx:pt>
          <cx:pt idx="5913">0.66208770100000003</cx:pt>
          <cx:pt idx="5914">0.66131668200000004</cx:pt>
          <cx:pt idx="5915">0.661268309</cx:pt>
          <cx:pt idx="5916">0.66121791100000005</cx:pt>
          <cx:pt idx="5917">0.66116471799999998</cx:pt>
          <cx:pt idx="5918">0.66111434599999996</cx:pt>
          <cx:pt idx="5919">0.66106394800000001</cx:pt>
          <cx:pt idx="5920">0.66101075600000003</cx:pt>
          <cx:pt idx="5921">0.66085840799999995</cx:pt>
          <cx:pt idx="5922">0.66080721499999995</cx:pt>
          <cx:pt idx="5923">0.66070362500000002</cx:pt>
          <cx:pt idx="5924">0.66065325200000002</cx:pt>
          <cx:pt idx="5925">0.66060006000000004</cx:pt>
          <cx:pt idx="5926">0.66054966199999998</cx:pt>
          <cx:pt idx="5927">0.66049928899999999</cx:pt>
          <cx:pt idx="5928">0.66044889100000004</cx:pt>
          <cx:pt idx="5929">0.66039569899999995</cx:pt>
          <cx:pt idx="5930">0.66034532599999995</cx:pt>
          <cx:pt idx="5931">0.66014096499999997</cx:pt>
          <cx:pt idx="5932">0.66008897799999999</cx:pt>
          <cx:pt idx="5933">0.66003740099999997</cx:pt>
          <cx:pt idx="5934">0.65998700300000002</cx:pt>
          <cx:pt idx="5935">0.65993380999999995</cx:pt>
          <cx:pt idx="5936">0.65988343800000004</cx:pt>
          <cx:pt idx="5937">0.65983303999999998</cx:pt>
          <cx:pt idx="5938">0.65972747600000003</cx:pt>
          <cx:pt idx="5939">0.65957630700000003</cx:pt>
          <cx:pt idx="5940">0.65952552399999997</cx:pt>
          <cx:pt idx="5941">0.65880449299999999</cx:pt>
          <cx:pt idx="5942">0.65855134900000001</cx:pt>
          <cx:pt idx="5943">0.65834619299999997</cx:pt>
          <cx:pt idx="5944">0.65824060399999995</cx:pt>
          <cx:pt idx="5945">0.65757637899999999</cx:pt>
          <cx:pt idx="5946">0.65752598100000004</cx:pt>
          <cx:pt idx="5947">0.65747278899999995</cx:pt>
          <cx:pt idx="5948">0.65742241599999995</cx:pt>
          <cx:pt idx="5949">0.657372018</cx:pt>
          <cx:pt idx="5950">0.65716765700000002</cx:pt>
          <cx:pt idx="5951">0.65706409300000002</cx:pt>
          <cx:pt idx="5952">0.65701330999999996</cx:pt>
          <cx:pt idx="5953">0.65696211699999996</cx:pt>
          <cx:pt idx="5954">0.65624428999999995</cx:pt>
          <cx:pt idx="5955">0.65619230299999998</cx:pt>
          <cx:pt idx="5956">0.65614190500000003</cx:pt>
          <cx:pt idx="5957">0.65608871300000005</cx:pt>
          <cx:pt idx="5958">0.656087533</cx:pt>
          <cx:pt idx="5959">0.65603834000000005</cx:pt>
          <cx:pt idx="5960">0.65583397899999996</cx:pt>
          <cx:pt idx="5961">0.65578078699999998</cx:pt>
          <cx:pt idx="5962">0.65573041399999998</cx:pt>
          <cx:pt idx="5963">0.65568001600000003</cx:pt>
          <cx:pt idx="5964">0.65562961799999997</cx:pt>
          <cx:pt idx="5965">0.65562923399999995</cx:pt>
          <cx:pt idx="5966">0.65557645200000003</cx:pt>
          <cx:pt idx="5967">0.65552605399999997</cx:pt>
          <cx:pt idx="5968">0.65547527100000003</cx:pt>
          <cx:pt idx="5969">0.65536968100000004</cx:pt>
          <cx:pt idx="5970">0.65439550599999996</cx:pt>
          <cx:pt idx="5971">0.65372887199999996</cx:pt>
          <cx:pt idx="5972">0.65357531899999999</cx:pt>
          <cx:pt idx="5973">0.65326777800000002</cx:pt>
          <cx:pt idx="5974">0.65316821199999997</cx:pt>
          <cx:pt idx="5975">0.65265233700000003</cx:pt>
          <cx:pt idx="5976">0.65188331700000002</cx:pt>
          <cx:pt idx="5977">0.65183532899999996</cx:pt>
          <cx:pt idx="5978">0.65172935399999998</cx:pt>
          <cx:pt idx="5979">0.65157898000000003</cx:pt>
          <cx:pt idx="5980">0.65116546500000005</cx:pt>
          <cx:pt idx="5981">0.65055043400000001</cx:pt>
          <cx:pt idx="5982">0.65024289300000004</cx:pt>
          <cx:pt idx="5983">0.65014332699999999</cx:pt>
          <cx:pt idx="5984">0.649986544</cx:pt>
          <cx:pt idx="5985">0.64988697799999995</cx:pt>
          <cx:pt idx="5986">0.64942229600000001</cx:pt>
          <cx:pt idx="5987">0.64927192199999995</cx:pt>
          <cx:pt idx="5988">0.64916835699999997</cx:pt>
          <cx:pt idx="5989">0.64916594699999997</cx:pt>
          <cx:pt idx="5990">0.64906438200000005</cx:pt>
          <cx:pt idx="5991">0.64906356200000004</cx:pt>
          <cx:pt idx="5992">0.64901398399999999</cx:pt>
          <cx:pt idx="5993">0.64891321300000004</cx:pt>
          <cx:pt idx="5994">0.64886002099999995</cx:pt>
          <cx:pt idx="5995">0.64875925099999998</cx:pt>
          <cx:pt idx="5996">0.64860528799999995</cx:pt>
          <cx:pt idx="5997">0.64855409500000005</cx:pt>
          <cx:pt idx="5998">0.64850290200000005</cx:pt>
          <cx:pt idx="5999">0.64844970999999996</cx:pt>
          <cx:pt idx="6000">0.64839933699999996</cx:pt>
          <cx:pt idx="6001">0.64834893900000001</cx:pt>
          <cx:pt idx="6002">0.64829574700000003</cx:pt>
          <cx:pt idx="6003">0.648141784</cx:pt>
          <cx:pt idx="6004">0.64808941200000003</cx:pt>
          <cx:pt idx="6005">0.64804101400000003</cx:pt>
          <cx:pt idx="6006">0.64798782099999996</cx:pt>
          <cx:pt idx="6007">0.64793742300000001</cx:pt>
          <cx:pt idx="6008">0.64783665300000004</cx:pt>
          <cx:pt idx="6009">0.64778507500000004</cx:pt>
          <cx:pt idx="6010">0.64752872699999997</cx:pt>
          <cx:pt idx="6011">0.64727158399999996</cx:pt>
          <cx:pt idx="6012">0.64722121200000005</cx:pt>
          <cx:pt idx="6013">0.64696165900000002</cx:pt>
          <cx:pt idx="6014">0.64675932300000005</cx:pt>
          <cx:pt idx="6015">0.64650017999999998</cx:pt>
          <cx:pt idx="6016">0.64634980600000003</cx:pt>
          <cx:pt idx="6017">0.64629740899999999</cx:pt>
          <cx:pt idx="6018">0.646247036</cx:pt>
          <cx:pt idx="6019">0.64619584399999996</cx:pt>
          <cx:pt idx="6020">0.64614106199999999</cx:pt>
          <cx:pt idx="6021">0.64604188100000004</cx:pt>
          <cx:pt idx="6022">0.64526965700000005</cx:pt>
          <cx:pt idx="6023">0.64465780500000003</cx:pt>
          <cx:pt idx="6024">0.64465739399999999</cx:pt>
          <cx:pt idx="6025">0.64445064900000004</cx:pt>
          <cx:pt idx="6026">0.64440027700000002</cx:pt>
          <cx:pt idx="6027">0.64434987899999996</cx:pt>
          <cx:pt idx="6028">0.64429668699999998</cx:pt>
          <cx:pt idx="6029">0.64424631399999999</cx:pt>
          <cx:pt idx="6030">0.64419550599999997</cx:pt>
          <cx:pt idx="6031">0.64409035199999998</cx:pt>
          <cx:pt idx="6032">0.64399117100000003</cx:pt>
          <cx:pt idx="6033">0.64393956799999996</cx:pt>
          <cx:pt idx="6034">0.64388758000000001</cx:pt>
          <cx:pt idx="6035">0.64383720799999999</cx:pt>
          <cx:pt idx="6036">0.64378401500000004</cx:pt>
          <cx:pt idx="6037">0.64368324499999996</cx:pt>
          <cx:pt idx="6038">0.64363005299999998</cx:pt>
          <cx:pt idx="6039">0.64357965399999995</cx:pt>
          <cx:pt idx="6040">0.64352928200000004</cx:pt>
          <cx:pt idx="6041">0.643424102</cx:pt>
          <cx:pt idx="6042">0.643375319</cx:pt>
          <cx:pt idx="6043">0.64332492100000005</cx:pt>
          <cx:pt idx="6044">0.64327172899999996</cx:pt>
          <cx:pt idx="6045">0.64322133100000001</cx:pt>
          <cx:pt idx="6046">0.64317095800000001</cx:pt>
          <cx:pt idx="6047">0.64317054799999995</cx:pt>
          <cx:pt idx="6048">0.64311976500000001</cx:pt>
          <cx:pt idx="6049">0.64296580299999995</cx:pt>
          <cx:pt idx="6050">0.64291461000000005</cx:pt>
          <cx:pt idx="6051">0.64270627499999999</cx:pt>
          <cx:pt idx="6052">0.64265708200000005</cx:pt>
          <cx:pt idx="6053">0.642553492</cx:pt>
          <cx:pt idx="6054">0.64255231300000004</cx:pt>
          <cx:pt idx="6055">0.64245272099999995</cx:pt>
          <cx:pt idx="6056">0.64127339000000005</cx:pt>
          <cx:pt idx="6057">0.64121940399999999</cx:pt>
          <cx:pt idx="6058">0.64101545299999996</cx:pt>
          <cx:pt idx="6059">0.64096308099999999</cx:pt>
          <cx:pt idx="6060">0.64086348900000001</cx:pt>
          <cx:pt idx="6061">0.64081229699999998</cx:pt>
          <cx:pt idx="6062">0.64075792499999995</cx:pt>
          <cx:pt idx="6063">0.640708732</cx:pt>
          <cx:pt idx="6064">0.64065833400000005</cx:pt>
          <cx:pt idx="6065">0.64060516700000003</cx:pt>
          <cx:pt idx="6066">0.63978374999999998</cx:pt>
          <cx:pt idx="6067">0.639274283</cx:pt>
          <cx:pt idx="6068">0.63906712799999998</cx:pt>
          <cx:pt idx="6069">0.63906592299999998</cx:pt>
          <cx:pt idx="6070">0.63830010800000003</cx:pt>
          <cx:pt idx="6071">0.63824691600000005</cx:pt>
          <cx:pt idx="6072">0.63824571100000005</cx:pt>
          <cx:pt idx="6073">0.63804296500000002</cx:pt>
          <cx:pt idx="6074">0.63799256699999995</cx:pt>
          <cx:pt idx="6075">0.63793937499999998</cx:pt>
          <cx:pt idx="6076">0.63793819500000004</cx:pt>
          <cx:pt idx="6077">0.63788900199999998</cx:pt>
          <cx:pt idx="6078">0.63783860400000003</cx:pt>
          <cx:pt idx="6079">0.63773624399999995</cx:pt>
          <cx:pt idx="6080">0.63768305199999997</cx:pt>
          <cx:pt idx="6081">0.63763265400000002</cx:pt>
          <cx:pt idx="6082">0.63763065399999996</cx:pt>
          <cx:pt idx="6083">0.63758225599999996</cx:pt>
          <cx:pt idx="6084">0.63747869099999999</cx:pt>
          <cx:pt idx="6085">0.63742829300000003</cx:pt>
          <cx:pt idx="6086">0.63737512600000001</cx:pt>
          <cx:pt idx="6087">0.63717076500000003</cx:pt>
          <cx:pt idx="6088">0.63706999499999994</cx:pt>
          <cx:pt idx="6089">0.63701839199999999</cx:pt>
          <cx:pt idx="6090">0.63691603200000002</cx:pt>
          <cx:pt idx="6091">0.63686283899999996</cx:pt>
          <cx:pt idx="6092">0.63681244100000001</cx:pt>
          <cx:pt idx="6093">0.63681044200000003</cx:pt>
          <cx:pt idx="6094">0.63670887700000001</cx:pt>
          <cx:pt idx="6095">0.63660810599999995</cx:pt>
          <cx:pt idx="6096">0.63655491399999997</cx:pt>
          <cx:pt idx="6097">0.63650251599999996</cx:pt>
          <cx:pt idx="6098">0.63635096300000005</cx:pt>
          <cx:pt idx="6099">0.63619500100000004</cx:pt>
          <cx:pt idx="6100">0.63604142200000002</cx:pt>
          <cx:pt idx="6101">0.63593944700000005</cx:pt>
          <cx:pt idx="6102">0.63593865199999999</cx:pt>
          <cx:pt idx="6103">0.63588907400000005</cx:pt>
          <cx:pt idx="6104">0.63578827800000004</cx:pt>
          <cx:pt idx="6105">0.63573511199999999</cx:pt>
          <cx:pt idx="6106">0.63573349700000004</cx:pt>
          <cx:pt idx="6107">0.63568471400000004</cx:pt>
          <cx:pt idx="6108">0.63568230400000003</cx:pt>
          <cx:pt idx="6109">0.63563431500000001</cx:pt>
          <cx:pt idx="6110">0.63558114899999996</cx:pt>
          <cx:pt idx="6111">0.635530751</cx:pt>
          <cx:pt idx="6112">0.63548035300000005</cx:pt>
          <cx:pt idx="6113">0.63542918500000001</cx:pt>
          <cx:pt idx="6114">0.63532559499999997</cx:pt>
          <cx:pt idx="6115">0.63522202999999999</cx:pt>
          <cx:pt idx="6116">0.63522082499999999</cx:pt>
          <cx:pt idx="6117">0.63517163200000004</cx:pt>
          <cx:pt idx="6118">0.63512123399999998</cx:pt>
          <cx:pt idx="6119">0.63506806699999996</cx:pt>
          <cx:pt idx="6120">0.63501766900000001</cx:pt>
          <cx:pt idx="6121">0.63491648899999997</cx:pt>
          <cx:pt idx="6122">0.634812924</cx:pt>
          <cx:pt idx="6123">0.63476252600000005</cx:pt>
          <cx:pt idx="6124">0.63471133300000004</cx:pt>
          <cx:pt idx="6125">0.63465896099999997</cx:pt>
          <cx:pt idx="6126">0.63465696199999999</cx:pt>
          <cx:pt idx="6127">0.63460856300000001</cx:pt>
          <cx:pt idx="6128">0.63455537100000003</cx:pt>
          <cx:pt idx="6129">0.63450499800000004</cx:pt>
          <cx:pt idx="6130">0.63424665000000002</cx:pt>
          <cx:pt idx="6131">0.63409309800000002</cx:pt>
          <cx:pt idx="6132">0.63404390399999999</cx:pt>
          <cx:pt idx="6133">0.63399350600000004</cx:pt>
          <cx:pt idx="6134">0.63388994200000004</cx:pt>
          <cx:pt idx="6135">0.63388794199999998</cx:pt>
          <cx:pt idx="6136">0.63383954300000001</cx:pt>
          <cx:pt idx="6137">0.63353241199999999</cx:pt>
          <cx:pt idx="6138">0.63347922000000001</cx:pt>
          <cx:pt idx="6139">0.63342884799999999</cx:pt>
          <cx:pt idx="6140">0.63337845000000004</cx:pt>
          <cx:pt idx="6141">0.63332525699999997</cx:pt>
          <cx:pt idx="6142">0.63327488499999995</cx:pt>
          <cx:pt idx="6143">0.633173294</cx:pt>
          <cx:pt idx="6144">0.63312092200000003</cx:pt>
          <cx:pt idx="6145">0.63311892199999997</cx:pt>
          <cx:pt idx="6146">0.63307052399999997</cx:pt>
          <cx:pt idx="6147">0.63301733199999999</cx:pt>
          <cx:pt idx="6148">0.63286257400000001</cx:pt>
          <cx:pt idx="6149">0.63276259800000001</cx:pt>
          <cx:pt idx="6150">0.63250507099999997</cx:pt>
          <cx:pt idx="6151">0.63245467300000002</cx:pt>
          <cx:pt idx="6152">0.63240427399999999</cx:pt>
          <cx:pt idx="6153">0.63235310700000003</cx:pt>
          <cx:pt idx="6154">0.63214595200000001</cx:pt>
          <cx:pt idx="6155">0.63209555399999995</cx:pt>
          <cx:pt idx="6156">0.63209355499999997</cx:pt>
          <cx:pt idx="6157">0.63204518200000004</cx:pt>
          <cx:pt idx="6158">0.63199198899999998</cx:pt>
          <cx:pt idx="6159">0.63194159100000002</cx:pt>
          <cx:pt idx="6160">0.63163525499999995</cx:pt>
          <cx:pt idx="6161">0.63127254799999999</cx:pt>
          <cx:pt idx="6162">0.63040355199999998</cx:pt>
          <cx:pt idx="6163">0.63035036</cx:pt>
          <cx:pt idx="6164">0.63030198699999995</cx:pt>
          <cx:pt idx="6165">0.63014802400000003</cx:pt>
          <cx:pt idx="6166">0.63009721600000002</cx:pt>
          <cx:pt idx="6167">0.63004604900000005</cx:pt>
          <cx:pt idx="6168">0.62999285599999999</cx:pt>
          <cx:pt idx="6169">0.62999165199999996</cx:pt>
          <cx:pt idx="6170">0.62994007399999996</cx:pt>
          <cx:pt idx="6171">0.62983689399999998</cx:pt>
          <cx:pt idx="6172">0.62978649600000003</cx:pt>
          <cx:pt idx="6173">0.62973812299999998</cx:pt>
          <cx:pt idx="6174">0.62963253299999999</cx:pt>
          <cx:pt idx="6175">0.62958413400000002</cx:pt>
          <cx:pt idx="6176">0.62953014799999996</cx:pt>
          <cx:pt idx="6177">0.62947898000000002</cx:pt>
          <cx:pt idx="6178">0.62943017199999995</cx:pt>
          <cx:pt idx="6179">0.62937380099999995</cx:pt>
          <cx:pt idx="6180">0.62911986200000003</cx:pt>
          <cx:pt idx="6181">0.62907146300000005</cx:pt>
          <cx:pt idx="6182">0.62901747600000002</cx:pt>
          <cx:pt idx="6183">0.62865835800000003</cx:pt>
          <cx:pt idx="6184">0.62855917699999997</cx:pt>
          <cx:pt idx="6185">0.62845481700000005</cx:pt>
          <cx:pt idx="6186">0.62840162499999996</cx:pt>
          <cx:pt idx="6187">0.62829964999999999</cx:pt>
          <cx:pt idx="6188">0.62824845699999998</cx:pt>
          <cx:pt idx="6189">0.62804612100000001</cx:pt>
          <cx:pt idx="6190">0.62794253099999997</cx:pt>
          <cx:pt idx="6191">0.62794094099999997</cx:pt>
          <cx:pt idx="6192">0.62778497899999997</cx:pt>
          <cx:pt idx="6193">0.62773657999999999</cx:pt>
          <cx:pt idx="6194">0.62773578600000002</cx:pt>
          <cx:pt idx="6195">0.62768379799999996</cx:pt>
          <cx:pt idx="6196">0.62763581000000002</cx:pt>
          <cx:pt idx="6197">0.62757982300000004</cx:pt>
          <cx:pt idx="6198">0.62752942499999997</cx:pt>
          <cx:pt idx="6199">0.62747943699999997</cx:pt>
          <cx:pt idx="6200">0.62717192200000005</cx:pt>
          <cx:pt idx="6201">0.62712031899999998</cx:pt>
          <cx:pt idx="6202">0.62707194600000005</cx:pt>
          <cx:pt idx="6203">0.62702075300000004</cx:pt>
          <cx:pt idx="6204">0.62691516300000005</cx:pt>
          <cx:pt idx="6205">0.62686399599999998</cx:pt>
          <cx:pt idx="6206">0.626815597</cx:pt>
          <cx:pt idx="6207">0.62676160999999997</cx:pt>
          <cx:pt idx="6208">0.62671041800000005</cx:pt>
          <cx:pt idx="6209">0.62660764800000002</cx:pt>
          <cx:pt idx="6210">0.62655645500000001</cx:pt>
          <cx:pt idx="6211">0.62650767200000002</cx:pt>
          <cx:pt idx="6212">0.62645409500000004</cx:pt>
          <cx:pt idx="6213">0.62640249199999998</cx:pt>
          <cx:pt idx="6214">0.62635129899999997</cx:pt>
          <cx:pt idx="6215">0.62630331100000003</cx:pt>
          <cx:pt idx="6216">0.62614934799999999</cx:pt>
          <cx:pt idx="6217">0.62609497700000005</cx:pt>
          <cx:pt idx="6218">0.62604378400000005</cx:pt>
          <cx:pt idx="6219">0.62599538499999996</cx:pt>
          <cx:pt idx="6220">0.62588982100000001</cx:pt>
          <cx:pt idx="6221">0.62584142200000004</cx:pt>
          <cx:pt idx="6222">0.62578543600000003</cx:pt>
          <cx:pt idx="6223">0.62573624299999997</cx:pt>
          <cx:pt idx="6224">0.62568787000000003</cx:pt>
          <cx:pt idx="6225">0.62563347199999997</cx:pt>
          <cx:pt idx="6226">0.62558228000000005</cx:pt>
          <cx:pt idx="6227">0.625533907</cx:pt>
          <cx:pt idx="6228">0.625482714</cx:pt>
          <cx:pt idx="6229">0.62542872699999996</cx:pt>
          <cx:pt idx="6230">0.62537712400000001</cx:pt>
          <cx:pt idx="6231">0.62532875099999996</cx:pt>
          <cx:pt idx="6232">0.62527276499999995</cx:pt>
          <cx:pt idx="6233">0.625222367</cx:pt>
          <cx:pt idx="6234">0.625172379</cx:pt>
          <cx:pt idx="6235">0.62512400599999995</cx:pt>
          <cx:pt idx="6236">0.62506960899999997</cx:pt>
          <cx:pt idx="6237">0.62501841599999997</cx:pt>
          <cx:pt idx="6238">0.62497004300000003</cx:pt>
          <cx:pt idx="6239">0.624916056</cx:pt>
          <cx:pt idx="6240">0.62486445300000004</cx:pt>
          <cx:pt idx="6241">0.62481605399999995</cx:pt>
          <cx:pt idx="6242">0.62475968299999995</cx:pt>
          <cx:pt idx="6243">0.62465970699999995</cx:pt>
          <cx:pt idx="6244">0.62455973200000003</cx:pt>
          <cx:pt idx="6245">0.62450374500000005</cx:pt>
          <cx:pt idx="6246">0.62445334699999999</cx:pt>
          <cx:pt idx="6247">0.62440335899999999</cx:pt>
          <cx:pt idx="6248">0.62435498599999995</cx:pt>
          <cx:pt idx="6249">0.62430058899999996</cx:pt>
          <cx:pt idx="6250">0.62424939599999996</cx:pt>
          <cx:pt idx="6251">0.62419820299999995</cx:pt>
          <cx:pt idx="6252">0.62414941999999995</cx:pt>
          <cx:pt idx="6253">0.62394467499999995</cx:pt>
          <cx:pt idx="6254">0.62389068800000003</cx:pt>
          <cx:pt idx="6255">0.62384190500000003</cx:pt>
          <cx:pt idx="6256">0.623787918</cx:pt>
          <cx:pt idx="6257">0.62373672499999999</cx:pt>
          <cx:pt idx="6258">0.623687942</cx:pt>
          <cx:pt idx="6259">0.62363433999999995</cx:pt>
          <cx:pt idx="6260">0.62358276199999996</cx:pt>
          <cx:pt idx="6261">0.62353477400000001</cx:pt>
          <cx:pt idx="6262">0.62348037700000003</cx:pt>
          <cx:pt idx="6263">0.62342918400000003</cx:pt>
          <cx:pt idx="6264">0.62338081099999998</cx:pt>
          <cx:pt idx="6265">0.623326414</cx:pt>
          <cx:pt idx="6266">0.62327522099999999</cx:pt>
          <cx:pt idx="6267">0.62322684800000006</cx:pt>
          <cx:pt idx="6268">0.62317565500000005</cx:pt>
          <cx:pt idx="6269">0.62312166800000002</cx:pt>
          <cx:pt idx="6270">0.62307288500000002</cx:pt>
          <cx:pt idx="6271">0.62301889799999999</cx:pt>
          <cx:pt idx="6272">0.62296770599999995</cx:pt>
          <cx:pt idx="6273">0.62291892199999999</cx:pt>
          <cx:pt idx="6274">0.62286531999999994</cx:pt>
          <cx:pt idx="6275">0.62281374300000003</cx:pt>
          <cx:pt idx="6276">0.622765754</cx:pt>
          <cx:pt idx="6277">0.62265937000000005</cx:pt>
          <cx:pt idx="6278">0.62261179099999997</cx:pt>
          <cx:pt idx="6279">0.62255739399999999</cx:pt>
          <cx:pt idx="6280">0.62245782900000002</cx:pt>
          <cx:pt idx="6281">0.62240663600000001</cx:pt>
          <cx:pt idx="6282">0.62219868599999995</cx:pt>
          <cx:pt idx="6283">0.62209630000000005</cx:pt>
          <cx:pt idx="6284">0.62204472300000002</cx:pt>
          <cx:pt idx="6285">0.62194233799999998</cx:pt>
          <cx:pt idx="6286">0.62183956799999995</cx:pt>
          <cx:pt idx="6287">0.62179157900000004</cx:pt>
          <cx:pt idx="6288">0.62173718200000005</cx:pt>
          <cx:pt idx="6289">0.62142966600000005</cx:pt>
          <cx:pt idx="6290">0.62137726900000001</cx:pt>
          <cx:pt idx="6291">0.62127890799999996</cx:pt>
          <cx:pt idx="6292">0.62117331799999997</cx:pt>
          <cx:pt idx="6293">0.62107375200000003</cx:pt>
          <cx:pt idx="6294">0.620609454</cx:pt>
          <cx:pt idx="6295">0.62055787699999998</cx:pt>
          <cx:pt idx="6296">0.620509478</cx:pt>
          <cx:pt idx="6297">0.62045549099999997</cx:pt>
          <cx:pt idx="6298">0.62040429900000005</cx:pt>
          <cx:pt idx="6299">0.62030152800000005</cx:pt>
          <cx:pt idx="6300">0.62025033600000001</cx:pt>
          <cx:pt idx="6301">0.62020196299999997</cx:pt>
          <cx:pt idx="6302">0.62014556600000004</cx:pt>
          <cx:pt idx="6303">0.62009957699999996</cx:pt>
          <cx:pt idx="6304">0.61994282000000001</cx:pt>
          <cx:pt idx="6305">0.61988962800000003</cx:pt>
          <cx:pt idx="6306">0.61984043499999997</cx:pt>
          <cx:pt idx="6307">0.61978885699999997</cx:pt>
          <cx:pt idx="6308">0.61974086900000003</cx:pt>
          <cx:pt idx="6309">0.61968647200000004</cx:pt>
          <cx:pt idx="6310">0.61958408600000003</cx:pt>
          <cx:pt idx="6311">0.619481316</cx:pt>
          <cx:pt idx="6312">0.619430123</cx:pt>
          <cx:pt idx="6313">0.61933055800000003</cx:pt>
          <cx:pt idx="6314">0.61917380099999997</cx:pt>
          <cx:pt idx="6315">0.61912540199999999</cx:pt>
          <cx:pt idx="6316">0.61907062000000002</cx:pt>
          <cx:pt idx="6317">0.61897143899999996</cx:pt>
          <cx:pt idx="6318">0.61881747600000003</cx:pt>
          <cx:pt idx="6319">0.61871229699999997</cx:pt>
          <cx:pt idx="6320">0.61866392400000003</cx:pt>
          <cx:pt idx="6321">0.61860752699999999</cx:pt>
          <cx:pt idx="6322">0.618509961</cx:pt>
          <cx:pt idx="6323">0.61845597399999996</cx:pt>
          <cx:pt idx="6324">0.61835158899999998</cx:pt>
          <cx:pt idx="6325">0.61789208399999995</cx:pt>
          <cx:pt idx="6326">0.61779251899999998</cx:pt>
          <cx:pt idx="6327">0.61774132599999998</cx:pt>
          <cx:pt idx="6328">0.61727943699999999</cx:pt>
          <cx:pt idx="6329">0.61722544999999995</cx:pt>
          <cx:pt idx="6330">0.617175052</cx:pt>
          <cx:pt idx="6331">0.61717425800000003</cx:pt>
          <cx:pt idx="6332">0.61712547399999995</cx:pt>
          <cx:pt idx="6333">0.61696910199999999</cx:pt>
          <cx:pt idx="6334">0.61661280299999999</cx:pt>
          <cx:pt idx="6335">0.61625406900000002</cx:pt>
          <cx:pt idx="6336">0.61619969799999996</cx:pt>
          <cx:pt idx="6337">0.61609972199999996</cx:pt>
          <cx:pt idx="6338">0.61609772200000001</cx:pt>
          <cx:pt idx="6339">0.61604932400000001</cx:pt>
          <cx:pt idx="6340">0.61599613200000003</cx:pt>
          <cx:pt idx="6341">0.61599492700000003</cx:pt>
          <cx:pt idx="6342">0.61563621800000001</cx:pt>
          <cx:pt idx="6343">0.61548546000000004</cx:pt>
          <cx:pt idx="6344">0.61543106299999994</cx:pt>
          <cx:pt idx="6345">0.61522590700000002</cx:pt>
          <cx:pt idx="6346">0.61517474000000005</cx:pt>
          <cx:pt idx="6347">0.61507235400000004</cx:pt>
          <cx:pt idx="6348">0.61496958400000001</cx:pt>
          <cx:pt idx="6349">0.61455968299999997</cx:pt>
          <cx:pt idx="6350">0.61450849100000005</cx:pt>
          <cx:pt idx="6351">0.61445970699999997</cx:pt>
          <cx:pt idx="6352">0.61440572000000004</cx:pt>
          <cx:pt idx="6353">0.61394701100000004</cx:pt>
          <cx:pt idx="6354">0.61389302400000001</cx:pt>
          <cx:pt idx="6355">0.61363670100000001</cx:pt>
          <cx:pt idx="6356">0.61358789199999997</cx:pt>
          <cx:pt idx="6357">0.613534315</cx:pt>
          <cx:pt idx="6358">0.61327837699999999</cx:pt>
          <cx:pt idx="6359">0.61317799100000003</cx:pt>
          <cx:pt idx="6360">0.61312600399999995</cx:pt>
          <cx:pt idx="6361">0.613075221</cx:pt>
          <cx:pt idx="6362">0.61302202900000002</cx:pt>
          <cx:pt idx="6363">0.61297086199999995</cx:pt>
          <cx:pt idx="6364">0.61292166800000003</cx:pt>
          <cx:pt idx="6365">0.61287006499999996</cx:pt>
          <cx:pt idx="6366">0.61271371900000005</cx:pt>
          <cx:pt idx="6367">0.61261212799999998</cx:pt>
          <cx:pt idx="6368">0.61256093499999997</cx:pt>
          <cx:pt idx="6369">0.61251135700000003</cx:pt>
          <cx:pt idx="6370">0.61245495999999999</cx:pt>
          <cx:pt idx="6371">0.612407382</cx:pt>
          <cx:pt idx="6372">0.61235698400000005</cx:pt>
          <cx:pt idx="6373">0.61235498499999996</cx:pt>
          <cx:pt idx="6374">0.61225341899999997</cx:pt>
          <cx:pt idx="6375">0.61225262499999999</cx:pt>
          <cx:pt idx="6376">0.61220302100000001</cx:pt>
          <cx:pt idx="6377">0.61215264899999999</cx:pt>
          <cx:pt idx="6378">0.61209945700000001</cx:pt>
          <cx:pt idx="6379">0.61204826400000001</cx:pt>
          <cx:pt idx="6380">0.61199668600000001</cx:pt>
          <cx:pt idx="6381">0.61199627599999995</cx:pt>
          <cx:pt idx="6382">0.61189550599999998</cx:pt>
          <cx:pt idx="6383">0.61179191499999996</cx:pt>
          <cx:pt idx="6384">0.61174033800000005</cx:pt>
          <cx:pt idx="6385">0.61158878500000002</cx:pt>
          <cx:pt idx="6386">0.61153559300000004</cx:pt>
          <cx:pt idx="6387">0.61148519499999998</cx:pt>
          <cx:pt idx="6388">0.61143482199999999</cx:pt>
          <cx:pt idx="6389">0.61138163000000001</cx:pt>
          <cx:pt idx="6390">0.61127885999999998</cx:pt>
          <cx:pt idx="6391">0.61127845000000003</cx:pt>
          <cx:pt idx="6392">0.61122766699999997</cx:pt>
          <cx:pt idx="6393">0.61117847400000003</cx:pt>
          <cx:pt idx="6394">0.61112687099999996</cx:pt>
          <cx:pt idx="6395">0.61102210099999998</cx:pt>
          <cx:pt idx="6396">0.61071458599999995</cx:pt>
          <cx:pt idx="6397">0.61066580299999995</cx:pt>
          <cx:pt idx="6398">0.61061181600000003</cx:pt>
          <cx:pt idx="6399">0.61045744300000004</cx:pt>
          <cx:pt idx="6400">0.61030706899999998</cx:pt>
          <cx:pt idx="6401">0.61020350400000001</cx:pt>
          <cx:pt idx="6402">0.61020188900000005</cx:pt>
          <cx:pt idx="6403">0.61015310599999995</cx:pt>
          <cx:pt idx="6404">0.61009911900000002</cx:pt>
          <cx:pt idx="6405">0.61005074599999998</cx:pt>
          <cx:pt idx="6406">0.60999675900000006</cx:pt>
          <cx:pt idx="6407">0.60994556600000005</cx:pt>
          <cx:pt idx="6408">0.60989678300000005</cx:pt>
          <cx:pt idx="6409">0.60984279600000002</cx:pt>
          <cx:pt idx="6410">0.60979160300000002</cx:pt>
          <cx:pt idx="6411">0.60927890600000001</cx:pt>
          <cx:pt idx="6412">0.60923053400000005</cx:pt>
          <cx:pt idx="6413">0.60917654700000001</cx:pt>
          <cx:pt idx="6414">0.60912494399999995</cx:pt>
          <cx:pt idx="6415">0.60866346500000001</cx:pt>
          <cx:pt idx="6416">0.60861506700000001</cx:pt>
          <cx:pt idx="6417">0.60835874400000001</cx:pt>
          <cx:pt idx="6418">0.60830555200000003</cx:pt>
          <cx:pt idx="6419">0.60825356399999997</cx:pt>
          <cx:pt idx="6420">0.60799800999999998</cx:pt>
          <cx:pt idx="6421">0.60794763799999996</cx:pt>
          <cx:pt idx="6422">0.607946023</cx:pt>
          <cx:pt idx="6423">0.60789724000000001</cx:pt>
          <cx:pt idx="6424">0.60784566299999998</cx:pt>
          <cx:pt idx="6425">0.60784325299999997</cx:pt>
          <cx:pt idx="6426">0.60774168799999995</cx:pt>
          <cx:pt idx="6427">0.6076897</cx:pt>
          <cx:pt idx="6428">0.60738295399999997</cx:pt>
          <cx:pt idx="6429">0.60733258099999998</cx:pt>
          <cx:pt idx="6430">0.60733058200000001</cx:pt>
          <cx:pt idx="6431">0.60727859399999995</cx:pt>
          <cx:pt idx="6432">0.607278184</cx:pt>
          <cx:pt idx="6433">0.60723019600000006</cx:pt>
          <cx:pt idx="6434">0.60717979799999999</cx:pt>
          <cx:pt idx="6435">0.60712663099999997</cx:pt>
          <cx:pt idx="6436">0.60707423299999996</cx:pt>
          <cx:pt idx="6437">0.60702583499999996</cx:pt>
          <cx:pt idx="6438">0.60697184800000004</cx:pt>
          <cx:pt idx="6439">0.60692068099999996</cx:pt>
          <cx:pt idx="6440">0.606817885</cx:pt>
          <cx:pt idx="6441">0.60671552500000003</cx:pt>
          <cx:pt idx="6442">0.60650916499999996</cx:pt>
          <cx:pt idx="6443">0.60630521400000004</cx:pt>
          <cx:pt idx="6444">0.60610285200000003</cx:pt>
          <cx:pt idx="6445">0.605946506</cx:pt>
          <cx:pt idx="6446">0.60589531299999999</cx:pt>
          <cx:pt idx="6447">0.60553619400000003</cx:pt>
          <cx:pt idx="6448">0.60548779600000002</cx:pt>
          <cx:pt idx="6449">0.60543662899999995</cx:pt>
          <cx:pt idx="6450">0.60538264200000003</cx:pt>
          <cx:pt idx="6451">0.60533103899999996</cx:pt>
          <cx:pt idx="6452">0.60528266600000002</cx:pt>
          <cx:pt idx="6453">0.60522867899999999</cx:pt>
          <cx:pt idx="6454">0.60517748599999999</cx:pt>
          <cx:pt idx="6455">0.60512870299999999</cx:pt>
          <cx:pt idx="6456">0.60507471599999996</cx:pt>
          <cx:pt idx="6457">0.60502631699999998</cx:pt>
          <cx:pt idx="6458">0.60497232999999995</cx:pt>
          <cx:pt idx="6459">0.60486994500000002</cx:pt>
          <cx:pt idx="6460">0.604818368</cx:pt>
          <cx:pt idx="6461">0.60476996900000002</cx:pt>
          <cx:pt idx="6462">0.60471877600000001</cx:pt>
          <cx:pt idx="6463">0.60466478899999998</cx:pt>
          <cx:pt idx="6464">0.60461321199999996</cx:pt>
          <cx:pt idx="6465">0.60456201899999995</cx:pt>
          <cx:pt idx="6466">0.60451082599999995</cx:pt>
          <cx:pt idx="6467">0.60446245300000001</cx:pt>
          <cx:pt idx="6468">0.60440846599999998</cx:pt>
          <cx:pt idx="6469">0.60435686300000002</cx:pt>
          <cx:pt idx="6470">0.60430849099999995</cx:pt>
          <cx:pt idx="6471">0.60425450400000003</cx:pt>
          <cx:pt idx="6472">0.60420210600000002</cx:pt>
          <cx:pt idx="6473">0.60405055299999999</cx:pt>
          <cx:pt idx="6474">0.60338309800000001</cx:pt>
          <cx:pt idx="6475">0.60302477499999996</cx:pt>
          <cx:pt idx="6476">0.60271446500000003</cx:pt>
          <cx:pt idx="6477">0.60251130900000005</cx:pt>
          <cx:pt idx="6478">0.60225496000000001</cx:pt>
          <cx:pt idx="6479">0.60194744499999997</cx:pt>
          <cx:pt idx="6480">0.60189866199999997</cx:pt>
          <cx:pt idx="6481">0.60184546999999999</cx:pt>
          <cx:pt idx="6482">0.60179427699999999</cx:pt>
          <cx:pt idx="6483">0.60174508400000004</cx:pt>
          <cx:pt idx="6484">0.60163790399999995</cx:pt>
          <cx:pt idx="6485">0.60158953100000001</cx:pt>
          <cx:pt idx="6486">0.601588711</cx:pt>
          <cx:pt idx="6487">0.601488735</cx:pt>
          <cx:pt idx="6488">0.601382376</cx:pt>
          <cx:pt idx="6489">0.60128078500000004</cx:pt>
          <cx:pt idx="6490">0.60118121999999996</cx:pt>
          <cx:pt idx="6491">0.600822101</cx:pt>
          <cx:pt idx="6492">0.60061456099999999</cx:pt>
          <cx:pt idx="6493">0.60030702000000002</cx:pt>
          <cx:pt idx="6494">0.60025823700000003</cx:pt>
          <cx:pt idx="6495">0.60020424999999999</cx:pt>
          <cx:pt idx="6496">0.59943523099999996</cx:pt>
          <cx:pt idx="6497">0.59938403799999995</cx:pt>
          <cx:pt idx="6498">0.59897654700000003</cx:pt>
          <cx:pt idx="6499">0.59887136699999999</cx:pt>
          <cx:pt idx="6500">0.59840986299999999</cx:pt>
          <cx:pt idx="6501">0.59835866999999998</cx:pt>
          <cx:pt idx="6502">0.59769203599999998</cx:pt>
          <cx:pt idx="6503">0.597537663</cx:pt>
          <cx:pt idx="6504">0.59718215900000005</cx:pt>
          <cx:pt idx="6505">0.59702819600000001</cx:pt>
          <cx:pt idx="6506">0.59697420899999998</cx:pt>
          <cx:pt idx="6507">0.59687182400000005</cx:pt>
          <cx:pt idx="6508">0.59676946399999997</cx:pt>
          <cx:pt idx="6509">0.59666666800000001</cx:pt>
          <cx:pt idx="6510">0.59590046799999996</cx:pt>
          <cx:pt idx="6511">0.59584648100000004</cx:pt>
          <cx:pt idx="6512">0.59579687800000003</cx:pt>
          <cx:pt idx="6513">0.59574650500000004</cx:pt>
          <cx:pt idx="6514">0.59564412</cx:pt>
          <cx:pt idx="6515">0.59559092800000002</cx:pt>
          <cx:pt idx="6516">0.59559013299999997</cx:pt>
          <cx:pt idx="6517">0.59553935000000002</cx:pt>
          <cx:pt idx="6518">0.59512862899999996</cx:pt>
          <cx:pt idx="6519">0.59435960899999996</cx:pt>
          <cx:pt idx="6520">0.59431082599999996</cx:pt>
          <cx:pt idx="6521">0.59405288899999997</cx:pt>
          <cx:pt idx="6522">0.59400251599999998</cx:pt>
          <cx:pt idx="6523">0.59395211800000003</cx:pt>
          <cx:pt idx="6524">0.593900541</cx:pt>
          <cx:pt idx="6525">0.59348822999999995</cx:pt>
          <cx:pt idx="6526">0.59261644000000002</cx:pt>
          <cx:pt idx="6527">0.59236009199999995</cx:pt>
          <cx:pt idx="6528">0.59205257600000005</cx:pt>
          <cx:pt idx="6529">0.59179543300000004</cx:pt>
          <cx:pt idx="6530">0.59128355700000002</cx:pt>
          <cx:pt idx="6531">0.59087324600000002</cx:pt>
          <cx:pt idx="6532">0.59082205300000001</cx:pt>
          <cx:pt idx="6533">0.59067088400000001</cx:pt>
          <cx:pt idx="6534">0.59061689699999997</cx:pt>
          <cx:pt idx="6535">0.59056811399999998</cx:pt>
          <cx:pt idx="6536">0.59051653699999995</cx:pt>
          <cx:pt idx="6537">0.59051453700000001</cx:pt>
          <cx:pt idx="6538">0.59035937000000005</cx:pt>
          <cx:pt idx="6539">0.59030938200000005</cx:pt>
          <cx:pt idx="6540">0.59025818900000004</cx:pt>
          <cx:pt idx="6541">0.59010422600000001</cx:pt>
          <cx:pt idx="6542">0.58979668500000004</cx:pt>
          <cx:pt idx="6543">0.58974551799999997</cx:pt>
          <cx:pt idx="6544">0.58964272200000001</cx:pt>
          <cx:pt idx="6545">0.58923282099999996</cx:pt>
          <cx:pt idx="6546">0.58918403799999997</cx:pt>
          <cx:pt idx="6547">0.58913005100000004</cx:pt>
          <cx:pt idx="6548">0.58907885800000004</cx:pt>
          <cx:pt idx="6549">0.58902766500000003</cx:pt>
          <cx:pt idx="6550">0.58897688299999995</cx:pt>
          <cx:pt idx="6551">0.58892769</cx:pt>
          <cx:pt idx="6552">0.588821331</cx:pt>
          <cx:pt idx="6553">0.58851499399999996</cx:pt>
          <cx:pt idx="6554">0.58846459600000001</cx:pt>
          <cx:pt idx="6555">0.58841422399999999</cx:pt>
          <cx:pt idx="6556">0.58836382600000003</cx:pt>
          <cx:pt idx="6557">0.58831063299999997</cx:pt>
          <cx:pt idx="6558">0.588309839</cx:pt>
          <cx:pt idx="6559">0.58820786300000005</cx:pt>
          <cx:pt idx="6560">0.58810268300000001</cx:pt>
          <cx:pt idx="6561">0.58779716699999995</cx:pt>
          <cx:pt idx="6562">0.58764358900000002</cx:pt>
          <cx:pt idx="6563">0.587592012</cx:pt>
          <cx:pt idx="6564">0.58697936500000003</cx:pt>
          <cx:pt idx="6565">0.58667182399999995</cx:pt>
          <cx:pt idx="6566">0.58646666800000002</cx:pt>
          <cx:pt idx="6567">0.58641309100000005</cx:pt>
          <cx:pt idx="6568">0.58620793599999999</cx:pt>
          <cx:pt idx="6569">0.58595158700000005</cx:pt>
          <cx:pt idx="6570">0.58579603499999999</cx:pt>
          <cx:pt idx="6571">0.58574525200000005</cx:pt>
          <cx:pt idx="6572">0.585697264</cx:pt>
          <cx:pt idx="6573">0.58564407200000002</cx:pt>
          <cx:pt idx="6574">0.58559246899999995</cx:pt>
          <cx:pt idx="6575">0.58425799599999995</cx:pt>
          <cx:pt idx="6576">0.584207213</cx:pt>
          <cx:pt idx="6577">0.58415922499999995</cx:pt>
          <cx:pt idx="6578">0.58410603299999997</cx:pt>
          <cx:pt idx="6579">0.58399805900000001</cx:pt>
          <cx:pt idx="6580">0.58390046699999998</cx:pt>
          <cx:pt idx="6581">0.58384968400000004</cx:pt>
          <cx:pt idx="6582">0.58349056600000004</cx:pt>
          <cx:pt idx="6583">0.58338820599999996</cx:pt>
          <cx:pt idx="6584">0.58333701299999996</cx:pt>
          <cx:pt idx="6585">0.58323424300000004</cx:pt>
          <cx:pt idx="6586">0.58282393200000004</cx:pt>
          <cx:pt idx="6587">0.58277353399999998</cx:pt>
          <cx:pt idx="6588">0.58277273900000004</cx:pt>
          <cx:pt idx="6589">0.58271995700000001</cx:pt>
          <cx:pt idx="6590">0.58271954699999995</cx:pt>
          <cx:pt idx="6591">0.58261918599999996</cx:pt>
          <cx:pt idx="6592">0.58251641600000004</cx:pt>
          <cx:pt idx="6593">0.58226006799999996</cx:pt>
          <cx:pt idx="6594">0.58220687599999998</cx:pt>
          <cx:pt idx="6595">0.58159622799999999</cx:pt>
          <cx:pt idx="6596">0.58138745800000002</cx:pt>
          <cx:pt idx="6597">0.581184327</cx:pt>
          <cx:pt idx="6598">0.58113113500000002</cx:pt>
          <cx:pt idx="6599">0.58108114700000002</cx:pt>
          <cx:pt idx="6600">0.58102995400000002</cx:pt>
          <cx:pt idx="6601">0.58097917200000004</cx:pt>
          <cx:pt idx="6602">0.58082479899999995</cx:pt>
          <cx:pt idx="6603">0.58072202900000003</cx:pt>
          <cx:pt idx="6604">0.58067083600000002</cx:pt>
          <cx:pt idx="6605">0.58056845000000001</cx:pt>
          <cx:pt idx="6606">0.58051687299999999</cx:pt>
          <cx:pt idx="6607">0.580312512</cx:pt>
          <cx:pt idx="6608">0.58031133300000004</cx:pt>
          <cx:pt idx="6609">0.58026134500000004</cx:pt>
          <cx:pt idx="6610">0.58020935799999995</cx:pt>
          <cx:pt idx="6611">0.58015816499999995</cx:pt>
          <cx:pt idx="6612">0.57989981700000004</cx:pt>
          <cx:pt idx="6613">0.57984941899999998</cx:pt>
          <cx:pt idx="6614">0.57923518200000002</cx:pt>
          <cx:pt idx="6615">0.57918398999999998</cx:pt>
          <cx:pt idx="6616">0.57913079700000003</cx:pt>
          <cx:pt idx="6617">0.57908039899999997</cx:pt>
          <cx:pt idx="6618">0.57903041099999997</cx:pt>
          <cx:pt idx="6619">0.57892764100000005</cx:pt>
          <cx:pt idx="6620">0.57887565399999996</cx:pt>
          <cx:pt idx="6621">0.57882766500000005</cx:pt>
          <cx:pt idx="6622">0.57877367800000001</cx:pt>
          <cx:pt idx="6623">0.57872248599999998</cx:pt>
          <cx:pt idx="6624">0.57867131800000005</cx:pt>
          <cx:pt idx="6625">0.57862250999999998</cx:pt>
          <cx:pt idx="6626">0.57851735599999998</cx:pt>
          <cx:pt idx="6627">0.57800465899999998</cx:pt>
          <cx:pt idx="6628">0.577389602</cx:pt>
          <cx:pt idx="6629">0.57713407400000005</cx:pt>
          <cx:pt idx="6630">0.57626387400000001</cx:pt>
          <cx:pt idx="6631">0.57621029700000004</cx:pt>
          <cx:pt idx="6632">0.57615989899999998</cx:pt>
          <cx:pt idx="6633">0.57610832199999995</cx:pt>
          <cx:pt idx="6634">0.57605712899999995</cx:pt>
          <cx:pt idx="6635">0.57600552599999999</cx:pt>
          <cx:pt idx="6636">0.57595474300000005</cx:pt>
          <cx:pt idx="6637">0.57590275599999996</cx:pt>
          <cx:pt idx="6638">0.57533889199999999</cx:pt>
          <cx:pt idx="6639">0.57523571200000001</cx:pt>
          <cx:pt idx="6640">0.57502976100000003</cx:pt>
          <cx:pt idx="6641">0.57502935099999997</cx:pt>
          <cx:pt idx="6642">0.57497897899999995</cx:pt>
          <cx:pt idx="6643">0.57492858099999999</cx:pt>
          <cx:pt idx="6644">0.57487738799999999</cx:pt>
          <cx:pt idx="6645">0.57482622100000003</cx:pt>
          <cx:pt idx="6646">0.57477223399999999</cx:pt>
          <cx:pt idx="6647">0.57472383500000002</cx:pt>
          <cx:pt idx="6648">0.57467225799999999</cx:pt>
          <cx:pt idx="6649">0.57446710199999995</cx:pt>
          <cx:pt idx="6650">0.57410836799999998</cx:pt>
          <cx:pt idx="6651">0.57390323799999998</cx:pt>
          <cx:pt idx="6652">0.57385163500000003</cx:pt>
          <cx:pt idx="6653">0.57369808300000003</cx:pt>
          <cx:pt idx="6654">0.57364689000000002</cx:pt>
          <cx:pt idx="6655">0.57349172199999998</cx:pt>
          <cx:pt idx="6656">0.57318338599999996</cx:pt>
          <cx:pt idx="6657">0.57308302600000005</cx:pt>
          <cx:pt idx="6658">0.57303183300000005</cx:pt>
          <cx:pt idx="6659">0.57272429199999997</cx:pt>
          <cx:pt idx="6660">0.572211621</cx:pt>
          <cx:pt idx="6661">0.57205765799999997</cx:pt>
          <cx:pt idx="6662">0.57200687500000003</cx:pt>
          <cx:pt idx="6663">0.57200646499999996</cx:pt>
          <cx:pt idx="6664">0.57195327299999998</cx:pt>
          <cx:pt idx="6665">0.57190290099999996</cx:pt>
          <cx:pt idx="6666">0.57185250300000001</cx:pt>
          <cx:pt idx="6667">0.57180131000000001</cx:pt>
          <cx:pt idx="6668">0.571693746</cx:pt>
          <cx:pt idx="6669">0.57144021700000003</cx:pt>
          <cx:pt idx="6670">0.57123744600000004</cx:pt>
          <cx:pt idx="6671">0.57118425399999995</cx:pt>
          <cx:pt idx="6672">0.57113388099999995</cx:pt>
          <cx:pt idx="6673">0.57098030300000002</cx:pt>
          <cx:pt idx="6674">0.570775967</cx:pt>
          <cx:pt idx="6675">0.57067158200000001</cx:pt>
          <cx:pt idx="6676">0.57062080000000004</cx:pt>
          <cx:pt idx="6677">0.57015811699999996</cx:pt>
          <cx:pt idx="6678">0.57010730799999998</cx:pt>
          <cx:pt idx="6679">0.57005814099999996</cx:pt>
          <cx:pt idx="6680">0.57000615300000002</cx:pt>
          <cx:pt idx="6681">0.56995575499999995</cx:pt>
          <cx:pt idx="6682">0.56990417800000004</cx:pt>
          <cx:pt idx="6683">0.56985298500000003</cx:pt>
          <cx:pt idx="6684">0.56980179200000003</cx:pt>
          <cx:pt idx="6685">0.56969940699999999</cx:pt>
          <cx:pt idx="6686">0.56893038699999998</cx:pt>
          <cx:pt idx="6687">0.56861766800000002</cx:pt>
          <cx:pt idx="6688">0.56846811399999997</cx:pt>
          <cx:pt idx="6689">0.56836452400000004</cx:pt>
          <cx:pt idx="6690">0.56821255999999998</cx:pt>
          <cx:pt idx="6691">0.56816177800000001</cx:pt>
          <cx:pt idx="6692">0.56810820100000003</cx:pt>
          <cx:pt idx="6693">0.56790463499999999</cx:pt>
          <cx:pt idx="6694">0.56785423700000004</cx:pt>
          <cx:pt idx="6695">0.56764910700000004</cx:pt>
          <cx:pt idx="6696">0.56759791400000004</cx:pt>
          <cx:pt idx="6697">0.56744315599999995</cx:pt>
          <cx:pt idx="6698">0.567392758</cx:pt>
          <cx:pt idx="6699">0.56724038499999996</cx:pt>
          <cx:pt idx="6700">0.56713561499999998</cx:pt>
          <cx:pt idx="6701">0.56713520500000003</cx:pt>
          <cx:pt idx="6702">0.56708521700000003</cx:pt>
          <cx:pt idx="6703">0.56698285699999995</cx:pt>
          <cx:pt idx="6704">0.56698206200000001</cx:pt>
          <cx:pt idx="6705">0.56677690700000005</cx:pt>
          <cx:pt idx="6706">0.56621304299999997</cx:pt>
          <cx:pt idx="6707">0.56616105500000002</cx:pt>
          <cx:pt idx="6708">0.565905502</cx:pt>
          <cx:pt idx="6709">0.56585392400000001</cx:pt>
          <cx:pt idx="6710">0.56580352599999995</cx:pt>
          <cx:pt idx="6711">0.56580273199999997</cx:pt>
          <cx:pt idx="6712">0.56570034599999997</cx:pt>
          <cx:pt idx="6713">0.56564835899999999</cx:pt>
          <cx:pt idx="6714">0.56559757600000005</cx:pt>
          <cx:pt idx="6715">0.56539203599999999</cx:pt>
          <cx:pt idx="6716">0.56488015899999999</cx:pt>
          <cx:pt idx="6717">0.56436746299999996</cx:pt>
          <cx:pt idx="6718">0.56431588499999996</cx:pt>
          <cx:pt idx="6719">0.56426548700000001</cx:pt>
          <cx:pt idx="6720">0.56421229500000003</cx:pt>
          <cx:pt idx="6721">0.56416230700000003</cx:pt>
          <cx:pt idx="6722">0.56411113999999996</cx:pt>
          <cx:pt idx="6723">0.564059537</cx:pt>
          <cx:pt idx="6724">0.56400834399999999</cx:pt>
          <cx:pt idx="6725">0.56354686600000004</cx:pt>
          <cx:pt idx="6726">0.56349567300000003</cx:pt>
          <cx:pt idx="6727">0.56344448000000003</cx:pt>
          <cx:pt idx="6728">0.56319013100000004</cx:pt>
          <cx:pt idx="6729">0.56303416900000003</cx:pt>
          <cx:pt idx="6730">0.56298379700000001</cx:pt>
          <cx:pt idx="6731">0.56241911200000005</cx:pt>
          <cx:pt idx="6732">0.56221398199999995</cx:pt>
          <cx:pt idx="6733">0.56206040400000001</cx:pt>
          <cx:pt idx="6734">0.56180408100000001</cx:pt>
          <cx:pt idx="6735">0.56175247800000006</cx:pt>
          <cx:pt idx="6736">0.56129059000000003</cx:pt>
          <cx:pt idx="6737">0.56103506199999997</cx:pt>
          <cx:pt idx="6738">0.56036760699999999</cx:pt>
          <cx:pt idx="6739">0.55970256299999999</cx:pt>
          <cx:pt idx="6740">0.55964898600000001</cx:pt>
          <cx:pt idx="6741">0.559598178</cx:pt>
          <cx:pt idx="6742">0.55955018899999998</cx:pt>
          <cx:pt idx="6743">0.55949702300000004</cx:pt>
          <cx:pt idx="6744">0.55944621400000005</cx:pt>
          <cx:pt idx="6745">0.55934105999999995</cx:pt>
          <cx:pt idx="6746">0.55929225199999999</cx:pt>
          <cx:pt idx="6747">0.55908591699999999</cx:pt>
          <cx:pt idx="6748">0.55903551900000004</cx:pt>
          <cx:pt idx="6749">0.55877837600000002</cx:pt>
          <cx:pt idx="6750">0.55867719500000002</cx:pt>
          <cx:pt idx="6751">0.55862720700000001</cx:pt>
          <cx:pt idx="6752">0.55857321999999998</cx:pt>
          <cx:pt idx="6753">0.55847124500000001</cx:pt>
          <cx:pt idx="6754">0.55842087200000001</cx:pt>
          <cx:pt idx="6755">0.55831728199999997</cx:pt>
          <cx:pt idx="6756">0.558214922</cx:pt>
          <cx:pt idx="6757">0.55790738100000004</cx:pt>
          <cx:pt idx="6758">0.55775382799999995</cx:pt>
          <cx:pt idx="6759">0.557702225</cx:pt>
          <cx:pt idx="6760">0.55765103199999999</cx:pt>
          <cx:pt idx="6761">0.55759824999999996</cx:pt>
          <cx:pt idx="6762">0.55754746700000002</cx:pt>
          <cx:pt idx="6763">0.55749747999999999</cx:pt>
          <cx:pt idx="6764">0.55744590199999999</cx:pt>
          <cx:pt idx="6765">0.55739550400000004</cx:pt>
          <cx:pt idx="6766">0.55729111899999995</cx:pt>
          <cx:pt idx="6767">0.55724074700000004</cx:pt>
          <cx:pt idx="6768">0.55718955400000003</cx:pt>
          <cx:pt idx="6769">0.55708117000000001</cx:pt>
          <cx:pt idx="6770">0.55703600099999995</cx:pt>
          <cx:pt idx="6771">0.55688203800000002</cx:pt>
          <cx:pt idx="6772">0.55672805000000003</cx:pt>
          <cx:pt idx="6773">0.55647172700000003</cx:pt>
          <cx:pt idx="6774">0.55642053400000002</cx:pt>
          <cx:pt idx="6775">0.55636934199999999</cx:pt>
          <cx:pt idx="6776">0.55631297099999999</cx:pt>
          <cx:pt idx="6777">0.55616418599999995</cx:pt>
          <cx:pt idx="6778">0.55600942799999997</cx:pt>
          <cx:pt idx="6779">0.555857465</cx:pt>
          <cx:pt idx="6780">0.55585667000000005</cx:pt>
          <cx:pt idx="6781">0.55575308000000001</cx:pt>
          <cx:pt idx="6782">0.55570270799999999</cx:pt>
          <cx:pt idx="6783">0.55544635899999995</cx:pt>
          <cx:pt idx="6784">0.555240819</cx:pt>
          <cx:pt idx="6785">0.55462655699999996</cx:pt>
          <cx:pt idx="6786">0.55457498000000005</cx:pt>
          <cx:pt idx="6787">0.55452217199999998</cx:pt>
          <cx:pt idx="6788">0.55447138900000004</cx:pt>
          <cx:pt idx="6789">0.55421504099999996</cx:pt>
          <cx:pt idx="6790">0.55400829600000001</cx:pt>
          <cx:pt idx="6791">0.55395751299999996</cx:pt>
          <cx:pt idx="6792">0.55370316399999997</cx:pt>
          <cx:pt idx="6793">0.553652382</cx:pt>
          <cx:pt idx="6794">0.55355040600000005</cx:pt>
          <cx:pt idx="6795">0.55339764800000002</cx:pt>
          <cx:pt idx="6796">0.55334445600000004</cx:pt>
          <cx:pt idx="6797">0.55329326300000004</cx:pt>
          <cx:pt idx="6798">0.55314009500000005</cx:pt>
          <cx:pt idx="6799">0.55308810799999997</cx:pt>
          <cx:pt idx="6800">0.553036941</cx:pt>
          <cx:pt idx="6801">0.55277979799999999</cx:pt>
          <cx:pt idx="6802">0.55226710099999998</cx:pt>
          <cx:pt idx="6803">0.55175522399999999</cx:pt>
          <cx:pt idx="6804">0.55165286400000002</cx:pt>
          <cx:pt idx="6805">0.55160087700000004</cx:pt>
          <cx:pt idx="6806">0.55155006900000003</cx:pt>
          <cx:pt idx="6807">0.55119094999999996</cx:pt>
          <cx:pt idx="6808">0.55098620499999995</cx:pt>
          <cx:pt idx="6809">0.55088343500000003</cx:pt>
          <cx:pt idx="6810">0.55021718500000005</cx:pt>
          <cx:pt idx="6811">0.54980689999999999</cx:pt>
          <cx:pt idx="6812">0.54975770599999996</cx:pt>
          <cx:pt idx="6813">0.54970410400000003</cx:pt>
          <cx:pt idx="6814">0.54965373100000003</cx:pt>
          <cx:pt idx="6815">0.54960174399999995</cx:pt>
          <cx:pt idx="6816">0.54955055100000005</cx:pt>
          <cx:pt idx="6817">0.54949856399999997</cx:pt>
          <cx:pt idx="6818">0.54934539599999999</cx:pt>
          <cx:pt idx="6819">0.54862515899999997</cx:pt>
          <cx:pt idx="6820">0.548574377</cx:pt>
          <cx:pt idx="6821">0.54836963100000002</cx:pt>
          <cx:pt idx="6822">0.54826886100000005</cx:pt>
          <cx:pt idx="6823">0.54775616400000005</cx:pt>
          <cx:pt idx="6824">0.54765418799999999</cx:pt>
          <cx:pt idx="6825">0.54755021299999995</cx:pt>
          <cx:pt idx="6826">0.54744864800000004</cx:pt>
          <cx:pt idx="6827">0.54739745500000003</cx:pt>
          <cx:pt idx="6828">0.54724549199999994</cx:pt>
          <cx:pt idx="6829">0.54709152900000002</cx:pt>
          <cx:pt idx="6830">0.54703992599999995</cx:pt>
          <cx:pt idx="6831">0.54698914399999998</cx:pt>
          <cx:pt idx="6832">0.54698714400000004</cx:pt>
          <cx:pt idx="6833">0.54688516899999995</cx:pt>
          <cx:pt idx="6834">0.54683159199999998</cx:pt>
          <cx:pt idx="6835">0.54678119400000003</cx:pt>
          <cx:pt idx="6836">0.54673282099999998</cx:pt>
          <cx:pt idx="6837">0.54662884599999995</cx:pt>
          <cx:pt idx="6838">0.546628436</cx:pt>
          <cx:pt idx="6839">0.54657524400000002</cx:pt>
          <cx:pt idx="6840">0.54652446099999996</cx:pt>
          <cx:pt idx="6841">0.54647447299999996</cx:pt>
          <cx:pt idx="6842">0.54642327999999996</cx:pt>
          <cx:pt idx="6843">0.54631489600000005</cx:pt>
          <cx:pt idx="6844">0.54626731799999995</cx:pt>
          <cx:pt idx="6845">0.546218125</cx:pt>
          <cx:pt idx="6846">0.54611576500000003</cx:pt>
          <cx:pt idx="6847">0.54585900600000004</cx:pt>
          <cx:pt idx="6848">0.54554669700000002</cx:pt>
          <cx:pt idx="6849">0.54544910499999999</cx:pt>
          <cx:pt idx="6850">0.54524276999999999</cx:pt>
          <cx:pt idx="6851">0.54519196199999997</cx:pt>
          <cx:pt idx="6852">0.545037204</cx:pt>
          <cx:pt idx="6853">0.54457811</cx:pt>
          <cx:pt idx="6854">0.544526917</cx:pt>
          <cx:pt idx="6855">0.54447493000000002</cx:pt>
          <cx:pt idx="6856">0.54442376299999995</cx:pt>
          <cx:pt idx="6857">0.54375510400000004</cx:pt>
          <cx:pt idx="6858">0.54339798500000003</cx:pt>
          <cx:pt idx="6859">0.54339760000000004</cx:pt>
          <cx:pt idx="6860">0.54334761200000004</cx:pt>
          <cx:pt idx="6861">0.54329562499999995</cx:pt>
          <cx:pt idx="6862">0.543245227</cx:pt>
          <cx:pt idx="6863">0.54309085400000001</cx:pt>
          <cx:pt idx="6864">0.54293609600000003</cx:pt>
          <cx:pt idx="6865">0.54288572400000001</cx:pt>
          <cx:pt idx="6866">0.54283373599999996</cx:pt>
          <cx:pt idx="6867">0.54278292800000005</cx:pt>
          <cx:pt idx="6868">0.54272976100000003</cx:pt>
          <cx:pt idx="6869">0.54267936299999997</cx:pt>
          <cx:pt idx="6870">0.542628581</cx:pt>
          <cx:pt idx="6871">0.54257818300000005</cx:pt>
          <cx:pt idx="6872">0.54247541200000005</cx:pt>
          <cx:pt idx="6873">0.54242422000000001</cx:pt>
          <cx:pt idx="6874">0.54237302700000001</cx:pt>
          <cx:pt idx="6875">0.54232103899999995</cx:pt>
          <cx:pt idx="6876">0.54226984700000003</cx:pt>
          <cx:pt idx="6877">0.54216669200000001</cx:pt>
          <cx:pt idx="6878">0.54211588399999999</cx:pt>
          <cx:pt idx="6879">0.542065511</cx:pt>
          <cx:pt idx="6880">0.54185956099999999</cx:pt>
          <cx:pt idx="6881">0.54180916300000004</cx:pt>
          <cx:pt idx="6882">0.54170839199999998</cx:pt>
          <cx:pt idx="6883">0.54150123699999997</cx:pt>
          <cx:pt idx="6884">0.54088538600000002</cx:pt>
          <cx:pt idx="6885">0.54078300000000001</cx:pt>
          <cx:pt idx="6886">0.54063065300000002</cx:pt>
          <cx:pt idx="6887">0.54058025399999998</cx:pt>
          <cx:pt idx="6888">0.54057866499999996</cx:pt>
          <cx:pt idx="6889">0.540527062</cx:pt>
          <cx:pt idx="6890">0.54052667799999998</cx:pt>
          <cx:pt idx="6891">0.540475869</cx:pt>
          <cx:pt idx="6892">0.54037350900000003</cx:pt>
          <cx:pt idx="6893">0.53950210399999998</cx:pt>
          <cx:pt idx="6894">0.539398924</cx:pt>
          <cx:pt idx="6895">0.53924616599999997</cx:pt>
          <cx:pt idx="6896">0.53909061400000002</cx:pt>
          <cx:pt idx="6897">0.53903980600000001</cx:pt>
          <cx:pt idx="6898">0.53878348300000001</cx:pt>
          <cx:pt idx="6899">0.53862511099999999</cx:pt>
          <cx:pt idx="6900">0.53857912200000002</cx:pt>
          <cx:pt idx="6901">0.53806524600000005</cx:pt>
          <cx:pt idx="6902">0.53791248800000002</cx:pt>
          <cx:pt idx="6903">0.53775811500000004</cx:pt>
          <cx:pt idx="6904">0.53765613999999995</cx:pt>
          <cx:pt idx="6905">0.53755375400000005</cx:pt>
          <cx:pt idx="6906">0.53750376600000005</cx:pt>
          <cx:pt idx="6907">0.53750258699999998</cx:pt>
          <cx:pt idx="6908">0.53734862400000005</cx:pt>
          <cx:pt idx="6909">0.53724582799999998</cx:pt>
          <cx:pt idx="6910">0.53704028800000003</cx:pt>
          <cx:pt idx="6911">0.53668357899999997</cx:pt>
          <cx:pt idx="6912">0.53668196400000001</cx:pt>
          <cx:pt idx="6913">0.53662997700000004</cx:pt>
          <cx:pt idx="6914">0.53647880800000003</cx:pt>
          <cx:pt idx="6915">0.53642564199999998</cx:pt>
          <cx:pt idx="6916">0.53627367800000003</cx:pt>
          <cx:pt idx="6917">0.53627206299999997</cx:pt>
          <cx:pt idx="6918">0.53622048600000005</cx:pt>
          <cx:pt idx="6919">0.53622007599999999</cx:pt>
          <cx:pt idx="6920">0.53617008799999999</cx:pt>
          <cx:pt idx="6921">0.53616929300000005</cx:pt>
          <cx:pt idx="6922">0.535708199</cx:pt>
          <cx:pt idx="6923">0.53565662199999997</cx:pt>
          <cx:pt idx="6924">0.53488719200000001</cx:pt>
          <cx:pt idx="6925">0.534631254</cx:pt>
          <cx:pt idx="6926">0.53422135299999995</cx:pt>
          <cx:pt idx="6927">0.53401619700000003</cx:pt>
          <cx:pt idx="6928">0.533913427</cx:pt>
          <cx:pt idx="6929">0.53386223499999996</cx:pt>
          <cx:pt idx="6930">0.53381104199999996</cx:pt>
          <cx:pt idx="6931">0.53365707900000003</cx:pt>
          <cx:pt idx="6932">0.53350352599999995</cx:pt>
        </cx:lvl>
      </cx:numDim>
    </cx:data>
    <cx:data id="1">
      <cx:numDim type="val">
        <cx:f>'Box Plots'!$B$151:$B$7083</cx:f>
        <cx:lvl ptCount="6933" formatCode="General">
          <cx:pt idx="0">-4.7680660000000001</cx:pt>
          <cx:pt idx="1">-4.8559570000000001</cx:pt>
          <cx:pt idx="2">-7.4479384489999996</cx:pt>
          <cx:pt idx="3">-8.7451170000000005</cx:pt>
          <cx:pt idx="4">-6.8774410000000001</cx:pt>
          <cx:pt idx="5">-6.6542500540000002</cx:pt>
          <cx:pt idx="6">-6.4311043449999996</cx:pt>
          <cx:pt idx="7">-6.4250847909999997</cx:pt>
          <cx:pt idx="8">-6.4189687309999997</cx:pt>
          <cx:pt idx="9">-6.3889041349999998</cx:pt>
          <cx:pt idx="10">-6.2622070000000001</cx:pt>
          <cx:pt idx="11">-7.1411129999999998</cx:pt>
          <cx:pt idx="12">-3.2519529999999999</cx:pt>
          <cx:pt idx="13">-7.6245120000000002</cx:pt>
          <cx:pt idx="14">-6.5199605820000004</cx:pt>
          <cx:pt idx="15">-5.4187605320000003</cx:pt>
          <cx:pt idx="16">-4.5703129999999996</cx:pt>
          <cx:pt idx="17">-4.5389268109999996</cx:pt>
          <cx:pt idx="18">-4.5263669999999996</cx:pt>
          <cx:pt idx="19">-9.0527339999999992</cx:pt>
          <cx:pt idx="20">-2.6147459999999998</cx:pt>
          <cx:pt idx="21">-5.5371090000000001</cx:pt>
          <cx:pt idx="22">-5.5810550000000001</cx:pt>
          <cx:pt idx="23">-1.9775389999999999</cx:pt>
          <cx:pt idx="24">-3.2308874670000001</cx:pt>
          <cx:pt idx="25">-4.0698358069999996</cx:pt>
          <cx:pt idx="26">-7.6245120000000002</cx:pt>
          <cx:pt idx="27">-5.9965076430000002</cx:pt>
          <cx:pt idx="28">-5.8159096730000002</cx:pt>
          <cx:pt idx="29">-5.4504633120000001</cx:pt>
          <cx:pt idx="30">-2.9223629999999998</cx:pt>
          <cx:pt idx="31">-2.451324294</cx:pt>
          <cx:pt idx="32">-2.4236642060000002</cx:pt>
          <cx:pt idx="33">-2.2851560000000002</cx:pt>
          <cx:pt idx="34">-9.0747070000000001</cx:pt>
          <cx:pt idx="35">-7.6157031630000001</cx:pt>
          <cx:pt idx="36">-5.9326169999999996</cx:pt>
          <cx:pt idx="37">-5.7788089999999999</cx:pt>
          <cx:pt idx="38">-5.251204274</cx:pt>
          <cx:pt idx="39">-5.0537109999999998</cx:pt>
          <cx:pt idx="40">-6.7675780000000003</cx:pt>
          <cx:pt idx="41">-1.6918949999999999</cx:pt>
          <cx:pt idx="42">-6.7895510000000003</cx:pt>
          <cx:pt idx="43">-7.0971679999999999</cx:pt>
          <cx:pt idx="44">-3.14209</cx:pt>
          <cx:pt idx="45">-9.0747070000000001</cx:pt>
          <cx:pt idx="46">-7.3168949999999997</cx:pt>
          <cx:pt idx="47">-6.8994140000000002</cx:pt>
          <cx:pt idx="48">-6.7530467669999998</cx:pt>
          <cx:pt idx="49">-6.723698669</cx:pt>
          <cx:pt idx="50">-6.7090904890000003</cx:pt>
          <cx:pt idx="51">-6.4599609999999998</cx:pt>
          <cx:pt idx="52">-6.6296813739999996</cx:pt>
          <cx:pt idx="53">-8.8549799999999994</cx:pt>
          <cx:pt idx="54">-4.4165039999999998</cx:pt>
          <cx:pt idx="55">-6.6137699999999997</cx:pt>
          <cx:pt idx="56">-3.7792970000000001</cx:pt>
          <cx:pt idx="57">-7.1411129999999998</cx:pt>
          <cx:pt idx="58">-7.3631921050000004</cx:pt>
          <cx:pt idx="59">-7.5585940000000003</cx:pt>
          <cx:pt idx="60">-6.4871307119999999</cx:pt>
          <cx:pt idx="61">-6.1962890000000002</cx:pt>
          <cx:pt idx="62">-6.1261017569999998</cx:pt>
          <cx:pt idx="63">-6.0731477930000004</cx:pt>
          <cx:pt idx="64">-6.0384005920000003</cx:pt>
          <cx:pt idx="65">-5.7568359999999998</cx:pt>
          <cx:pt idx="66">-8.9868159999999992</cx:pt>
          <cx:pt idx="67">-7.4374253860000001</cx:pt>
          <cx:pt idx="68">-7.1919522770000004</cx:pt>
          <cx:pt idx="69">-6.7016600000000004</cx:pt>
          <cx:pt idx="70">-4.7680660000000001</cx:pt>
          <cx:pt idx="71">-6.5258789999999998</cx:pt>
          <cx:pt idx="72">-2.087402</cx:pt>
          <cx:pt idx="73">-8.3276369999999993</cx:pt>
          <cx:pt idx="74">-8.2306788019999999</cx:pt>
          <cx:pt idx="75">-7.9980469999999997</cx:pt>
          <cx:pt idx="76">-4.240723</cx:pt>
          <cx:pt idx="77">-6.1025853809999999</cx:pt>
          <cx:pt idx="78">-6.4858874310000001</cx:pt>
          <cx:pt idx="79">-7.8007780899999997</cx:pt>
          <cx:pt idx="80">-7.9101559999999997</cx:pt>
          <cx:pt idx="81">-5.6778023119999999</cx:pt>
          <cx:pt idx="82">-4.5922850000000004</cx:pt>
          <cx:pt idx="83">-8.4814450000000008</cx:pt>
          <cx:pt idx="84">-7.404210172</cx:pt>
          <cx:pt idx="85">-7.3072715109999997</cx:pt>
          <cx:pt idx="86">-6.328125</cx:pt>
          <cx:pt idx="87">-6.2841800000000001</cx:pt>
          <cx:pt idx="88">-5.1635739999999997</cx:pt>
          <cx:pt idx="89">-9.0966799999999992</cx:pt>
          <cx:pt idx="90">-6.1083980000000002</cx:pt>
          <cx:pt idx="91">-8.5473630000000007</cx:pt>
          <cx:pt idx="92">-4.3286129999999998</cx:pt>
          <cx:pt idx="93">-7.712402</cx:pt>
          <cx:pt idx="94">-7.658649703</cx:pt>
          <cx:pt idx="95">-6.6191103269999996</cx:pt>
          <cx:pt idx="96">-5.6354842879999998</cx:pt>
          <cx:pt idx="97">-5.4711910000000001</cx:pt>
          <cx:pt idx="98">-5.7689496230000001</cx:pt>
          <cx:pt idx="99">-5.8130793519999999</cx:pt>
          <cx:pt idx="100">-5.8549110950000003</cx:pt>
          <cx:pt idx="101">-8.6202320790000009</cx:pt>
          <cx:pt idx="102">-8.8330079999999995</cx:pt>
          <cx:pt idx="103">-5.8227539999999998</cx:pt>
          <cx:pt idx="104">-7.6684570000000001</cx:pt>
          <cx:pt idx="105">-5.4711910000000001</cx:pt>
          <cx:pt idx="106">-5.778710437</cx:pt>
          <cx:pt idx="107">-6.9213870000000002</cx:pt>
          <cx:pt idx="108">-5.2954100000000004</cx:pt>
          <cx:pt idx="109">-5.6808642669999996</cx:pt>
          <cx:pt idx="110">-6.2022808999999999</cx:pt>
          <cx:pt idx="111">-6.4660127679999997</cx:pt>
          <cx:pt idx="112">-8.1518549999999994</cx:pt>
          <cx:pt idx="113">-6.328125</cx:pt>
          <cx:pt idx="114">-1.6479490000000001</cx:pt>
          <cx:pt idx="115">-6.7895510000000003</cx:pt>
          <cx:pt idx="116">-6.8554690000000003</cx:pt>
          <cx:pt idx="117">-5.8666989999999997</cx:pt>
          <cx:pt idx="118">-3.823242</cx:pt>
          <cx:pt idx="119">-5.4931640000000002</cx:pt>
          <cx:pt idx="120">-5.3220238259999997</cx:pt>
          <cx:pt idx="121">-4.4516115650000003</cx:pt>
          <cx:pt idx="122">-3.0541990000000001</cx:pt>
          <cx:pt idx="123">-9.0966799999999992</cx:pt>
          <cx:pt idx="124">-7.0971679999999999</cx:pt>
          <cx:pt idx="125">-7.2059458950000002</cx:pt>
          <cx:pt idx="126">-7.3034600220000003</cx:pt>
          <cx:pt idx="127">-8.3715820000000001</cx:pt>
          <cx:pt idx="128">-6.4819339999999999</cx:pt>
          <cx:pt idx="129">-8.9648439999999994</cx:pt>
          <cx:pt idx="130">-8.3276369999999993</cx:pt>
          <cx:pt idx="131">-7.9098620750000004</cx:pt>
          <cx:pt idx="132">-6.2134618870000002</cx:pt>
          <cx:pt idx="133">-5.2294919999999996</cx:pt>
          <cx:pt idx="134">-8.9648439999999994</cx:pt>
          <cx:pt idx="135">-5.2514649999999996</cx:pt>
          <cx:pt idx="136">-8.8769530000000003</cx:pt>
          <cx:pt idx="137">-8.3192337349999992</cx:pt>
          <cx:pt idx="138">-7.9361310239999998</cx:pt>
          <cx:pt idx="139">-7.7483429519999998</cx:pt>
          <cx:pt idx="140">-5.8666989999999997</cx:pt>
          <cx:pt idx="141">-6.2051885740000001</cx:pt>
          <cx:pt idx="142">-7.734375</cx:pt>
          <cx:pt idx="143">-6.2182620000000002</cx:pt>
          <cx:pt idx="144">-6.2841800000000001</cx:pt>
          <cx:pt idx="145">-4.7460940000000003</cx:pt>
          <cx:pt idx="146">-7.734375</cx:pt>
          <cx:pt idx="147">-7.0829543810000004</cx:pt>
          <cx:pt idx="148">-6.4819339999999999</cx:pt>
          <cx:pt idx="149">-6.5035223279999999</cx:pt>
          <cx:pt idx="150">-7.4040027439999996</cx:pt>
          <cx:pt idx="151">-7.6684570000000001</cx:pt>
          <cx:pt idx="152">-2.9443359999999998</cx:pt>
          <cx:pt idx="153">-7.9321289999999998</cx:pt>
          <cx:pt idx="154">-4.6801760000000003</cx:pt>
          <cx:pt idx="155">-4.8449433260000001</cx:pt>
          <cx:pt idx="156">-5.2563045669999999</cx:pt>
          <cx:pt idx="157">-5.6689449999999999</cx:pt>
          <cx:pt idx="158">-3.0102540000000002</cx:pt>
          <cx:pt idx="159">-9.0087890000000002</cx:pt>
          <cx:pt idx="160">-6.7895510000000003</cx:pt>
          <cx:pt idx="161">-6.6357419999999996</cx:pt>
          <cx:pt idx="162">-7.6357980259999998</cx:pt>
          <cx:pt idx="163">-7.9980469999999997</cx:pt>
          <cx:pt idx="164">-1.801758</cx:pt>
          <cx:pt idx="165">-9.0527339999999992</cx:pt>
          <cx:pt idx="166">-4.8559570000000001</cx:pt>
          <cx:pt idx="167">-8.0859380000000005</cx:pt>
          <cx:pt idx="168">-5.2075199999999997</cx:pt>
          <cx:pt idx="169">-7.4742837739999999</cx:pt>
          <cx:pt idx="170">-7.6723110229999998</cx:pt>
          <cx:pt idx="171">-7.7692048649999998</cx:pt>
          <cx:pt idx="172">-7.8695741679999998</cx:pt>
          <cx:pt idx="173">-9.0527339999999992</cx:pt>
          <cx:pt idx="174">-8.4814450000000008</cx:pt>
          <cx:pt idx="175">-3.515625</cx:pt>
          <cx:pt idx="176">-6.350098</cx:pt>
          <cx:pt idx="177">-8.9428710000000002</cx:pt>
          <cx:pt idx="178">-7.9980469999999997</cx:pt>
          <cx:pt idx="179">-8.298455938</cx:pt>
          <cx:pt idx="180">-8.4138656520000001</cx:pt>
          <cx:pt idx="181">-8.4596051279999998</cx:pt>
          <cx:pt idx="182">-8.9208979999999993</cx:pt>
          <cx:pt idx="183">-7.053223</cx:pt>
          <cx:pt idx="184">-7.3554159439999998</cx:pt>
          <cx:pt idx="185">-7.5967656870000004</cx:pt>
          <cx:pt idx="186">-7.6575786949999998</cx:pt>
          <cx:pt idx="187">-8.7451170000000005</cx:pt>
          <cx:pt idx="188">-3.823242</cx:pt>
          <cx:pt idx="189">-7.6464840000000001</cx:pt>
          <cx:pt idx="190">-5.1635739999999997</cx:pt>
          <cx:pt idx="191">-8.5913090000000008</cx:pt>
          <cx:pt idx="192">-7.8881839999999999</cx:pt>
          <cx:pt idx="193">-6.2402340000000001</cx:pt>
          <cx:pt idx="194">-9.0747070000000001</cx:pt>
          <cx:pt idx="195">-4.5922850000000004</cx:pt>
          <cx:pt idx="196">2.2192379999999998</cx:pt>
          <cx:pt idx="197">-9.0307619999999993</cx:pt>
          <cx:pt idx="198">-5.646973</cx:pt>
          <cx:pt idx="199">-9.0087890000000002</cx:pt>
          <cx:pt idx="200">-7.2729489999999997</cx:pt>
          <cx:pt idx="201">-5.9326169999999996</cx:pt>
          <cx:pt idx="202">-5.7061282929999999</cx:pt>
          <cx:pt idx="203">-5.646973</cx:pt>
          <cx:pt idx="204">-9.0527339999999992</cx:pt>
          <cx:pt idx="205">-9.0033475060000008</cx:pt>
          <cx:pt idx="206">-5.6909179999999999</cx:pt>
          <cx:pt idx="207">-5.7977108700000004</cx:pt>
          <cx:pt idx="208">-6.4379879999999998</cx:pt>
          <cx:pt idx="209">0.39550780000000002</cx:pt>
          <cx:pt idx="210">-4.7021480000000002</cx:pt>
          <cx:pt idx="211">-6.3720699999999999</cx:pt>
          <cx:pt idx="212">-6.5530971320000004</cx:pt>
          <cx:pt idx="213">-6.8848055429999997</cx:pt>
          <cx:pt idx="214">-6.8998616080000001</cx:pt>
          <cx:pt idx="215">-7.1411129999999998</cx:pt>
          <cx:pt idx="216">-6.6924498080000001</cx:pt>
          <cx:pt idx="217">-6.4599609999999998</cx:pt>
          <cx:pt idx="218">-5.8447269999999998</cx:pt>
          <cx:pt idx="219">-6.8334960000000002</cx:pt>
          <cx:pt idx="220">-4.240723</cx:pt>
          <cx:pt idx="221">-8.0859380000000005</cx:pt>
          <cx:pt idx="222">-2.834473</cx:pt>
          <cx:pt idx="223">-8.5253910000000008</cx:pt>
          <cx:pt idx="224">-5.4931640000000002</cx:pt>
          <cx:pt idx="225">-5.4052730000000002</cx:pt>
          <cx:pt idx="226">-7.1630859999999998</cx:pt>
          <cx:pt idx="227">-4.1528320000000001</cx:pt>
          <cx:pt idx="228">-7.5805660000000001</cx:pt>
          <cx:pt idx="229">-7.8176370740000003</cx:pt>
          <cx:pt idx="230">-7.8587651620000001</cx:pt>
          <cx:pt idx="231">-7.9101559999999997</cx:pt>
          <cx:pt idx="232">-0.703125</cx:pt>
          <cx:pt idx="233">-6.4599609999999998</cx:pt>
          <cx:pt idx="234">-6.8115230000000002</cx:pt>
          <cx:pt idx="235">-8.5034179999999999</cx:pt>
          <cx:pt idx="236">-3.4277340000000001</cx:pt>
          <cx:pt idx="237">-7.2729489999999997</cx:pt>
          <cx:pt idx="238">-6.4140370539999996</cx:pt>
          <cx:pt idx="239">-5.6003738399999996</cx:pt>
          <cx:pt idx="240">0.065917970000000006</cx:pt>
          <cx:pt idx="241">-5.6689449999999999</cx:pt>
          <cx:pt idx="242">-1.625977</cx:pt>
          <cx:pt idx="243">-4.3066409999999999</cx:pt>
          <cx:pt idx="244">-4.4074499979999997</cx:pt>
          <cx:pt idx="245">-4.8120120000000002</cx:pt>
          <cx:pt idx="246">-3.2519529999999999</cx:pt>
          <cx:pt idx="247">-7.009277</cx:pt>
          <cx:pt idx="248">-2.4609380000000001</cx:pt>
          <cx:pt idx="249">-9.0966799999999992</cx:pt>
          <cx:pt idx="250">-7.1850589999999999</cx:pt>
          <cx:pt idx="251">-2.6806640000000002</cx:pt>
          <cx:pt idx="252">-8.5913090000000008</cx:pt>
          <cx:pt idx="253">-8.5628240699999996</cx:pt>
          <cx:pt idx="254">-7.1411129999999998</cx:pt>
          <cx:pt idx="255">-6.5258789999999998</cx:pt>
          <cx:pt idx="256">-4.4824219999999997</cx:pt>
          <cx:pt idx="257">-7.756348</cx:pt>
          <cx:pt idx="258">-7.03125</cx:pt>
          <cx:pt idx="259">-3.3178709999999998</cx:pt>
          <cx:pt idx="260">-9.0747070000000001</cx:pt>
          <cx:pt idx="261">-6.4604640809999996</cx:pt>
          <cx:pt idx="262">-4.0209960000000002</cx:pt>
          <cx:pt idx="263">-6.9873050000000001</cx:pt>
          <cx:pt idx="264">-6.6914894</cx:pt>
          <cx:pt idx="265">-6.0022873250000002</cx:pt>
          <cx:pt idx="266">-3.9331049999999999</cx:pt>
          <cx:pt idx="267">-3.9550779999999999</cx:pt>
          <cx:pt idx="268">-3.4497070000000001</cx:pt>
          <cx:pt idx="269">-5.4046706230000003</cx:pt>
          <cx:pt idx="270">-5.4931640000000002</cx:pt>
          <cx:pt idx="271">-6.5258789999999998</cx:pt>
          <cx:pt idx="272">-6.8578327000000003</cx:pt>
          <cx:pt idx="273">-7.0515536430000001</cx:pt>
          <cx:pt idx="274">-7.0654723849999996</cx:pt>
          <cx:pt idx="275">-7.4805303839999997</cx:pt>
          <cx:pt idx="276">-8.0200200000000006</cx:pt>
          <cx:pt idx="277">-7.3435153169999996</cx:pt>
          <cx:pt idx="278">-3.6474609999999998</cx:pt>
          <cx:pt idx="279">-7.8002929999999999</cx:pt>
          <cx:pt idx="280">-6.806759402</cx:pt>
          <cx:pt idx="281">-6.7317448219999996</cx:pt>
          <cx:pt idx="282">-5.7348629999999998</cx:pt>
          <cx:pt idx="283">-9.0747070000000001</cx:pt>
          <cx:pt idx="284">-8.7072398209999999</cx:pt>
          <cx:pt idx="285">-7.5181944139999999</cx:pt>
          <cx:pt idx="286">-7.3298003310000004</cx:pt>
          <cx:pt idx="287">-7.2381057200000001</cx:pt>
          <cx:pt idx="288">-6.5039059999999997</cx:pt>
          <cx:pt idx="289">-7.053223</cx:pt>
          <cx:pt idx="290">-7.0550693290000002</cx:pt>
          <cx:pt idx="291">-7.0714295189999996</cx:pt>
          <cx:pt idx="292">-7.0751949999999999</cx:pt>
          <cx:pt idx="293">-6.5478519999999998</cx:pt>
          <cx:pt idx="294">-6.1083980000000002</cx:pt>
          <cx:pt idx="295">-4.8559570000000001</cx:pt>
          <cx:pt idx="296">-5.9152599129999999</cx:pt>
          <cx:pt idx="297">-7.075679794</cx:pt>
          <cx:pt idx="298">-8.6572270000000007</cx:pt>
          <cx:pt idx="299">-7.2928035080000004</cx:pt>
          <cx:pt idx="300">-5.8227539999999998</cx:pt>
          <cx:pt idx="301">-6.7675780000000003</cx:pt>
          <cx:pt idx="302">-3.7133790000000002</cx:pt>
          <cx:pt idx="303">-8.6791990000000006</cx:pt>
          <cx:pt idx="304">-7.1183605300000004</cx:pt>
          <cx:pt idx="305">-5.5590820000000001</cx:pt>
          <cx:pt idx="306">-5.3340713539999998</cx:pt>
          <cx:pt idx="307">-4.1748050000000001</cx:pt>
          <cx:pt idx="308">-7.5805660000000001</cx:pt>
          <cx:pt idx="309">-8.5034179999999999</cx:pt>
          <cx:pt idx="310">-4.4384769999999998</cx:pt>
          <cx:pt idx="311">-8.7231450000000006</cx:pt>
          <cx:pt idx="312">-4.3505859999999998</cx:pt>
          <cx:pt idx="313">-4.4665814040000003</cx:pt>
          <cx:pt idx="314">-4.7567440169999999</cx:pt>
          <cx:pt idx="315">-5.0317379999999998</cx:pt>
          <cx:pt idx="316">-6.4379879999999998</cx:pt>
          <cx:pt idx="317">-6.4702124359999997</cx:pt>
          <cx:pt idx="318">-6.8529977110000004</cx:pt>
          <cx:pt idx="319">-8.3278741909999994</cx:pt>
          <cx:pt idx="320">-9.0966799999999992</cx:pt>
          <cx:pt idx="321">-5.646973</cx:pt>
          <cx:pt idx="322">-7.6464840000000001</cx:pt>
          <cx:pt idx="323">-7.03125</cx:pt>
          <cx:pt idx="324">-5.9326169999999996</cx:pt>
          <cx:pt idx="325">-5.8447269999999998</cx:pt>
          <cx:pt idx="326">-8.4155270000000009</cx:pt>
          <cx:pt idx="327">-3.6254879999999998</cx:pt>
          <cx:pt idx="328">-8.4814450000000008</cx:pt>
          <cx:pt idx="329">-4.921875</cx:pt>
          <cx:pt idx="330">-4.0429690000000003</cx:pt>
          <cx:pt idx="331">-7.6464840000000001</cx:pt>
          <cx:pt idx="332">-5.8666989999999997</cx:pt>
          <cx:pt idx="333">-5.8007809999999997</cx:pt>
          <cx:pt idx="334">-4.0649410000000001</cx:pt>
          <cx:pt idx="335">-7.4926760000000003</cx:pt>
          <cx:pt idx="336">-5.7788089999999999</cx:pt>
          <cx:pt idx="337">-6.8923861710000001</cx:pt>
          <cx:pt idx="338">-6.9813182229999997</cx:pt>
          <cx:pt idx="339">-7.4267580000000004</cx:pt>
          <cx:pt idx="340">-3.3178709999999998</cx:pt>
          <cx:pt idx="341">-6.2622070000000001</cx:pt>
          <cx:pt idx="342">-4.921875</cx:pt>
          <cx:pt idx="343">-7.1191409999999999</cx:pt>
          <cx:pt idx="344">-7.6684570000000001</cx:pt>
          <cx:pt idx="345">-3.0322269999999998</cx:pt>
          <cx:pt idx="346">-7.1411129999999998</cx:pt>
          <cx:pt idx="347">-6.9947403179999998</cx:pt>
          <cx:pt idx="348">-6.9433590000000001</cx:pt>
          <cx:pt idx="349">-6.848732246</cx:pt>
          <cx:pt idx="350">-5.6172102800000001</cx:pt>
          <cx:pt idx="351">-5.4272460000000002</cx:pt>
          <cx:pt idx="352">-2.790527</cx:pt>
          <cx:pt idx="353">-8.5693359999999998</cx:pt>
          <cx:pt idx="354">-1.40625</cx:pt>
          <cx:pt idx="355">-5.5810550000000001</cx:pt>
          <cx:pt idx="356">-5.8007809999999997</cx:pt>
          <cx:pt idx="357">-9.0966799999999992</cx:pt>
          <cx:pt idx="358">-2.416992</cx:pt>
          <cx:pt idx="359">-6.9873050000000001</cx:pt>
          <cx:pt idx="360">-3.3398439999999998</cx:pt>
          <cx:pt idx="361">-5.1416019999999998</cx:pt>
          <cx:pt idx="362">-6.1962890000000002</cx:pt>
          <cx:pt idx="363">-0.48339840000000001</cx:pt>
          <cx:pt idx="364">-5.2734379999999996</cx:pt>
          <cx:pt idx="365">-1.73584</cx:pt>
          <cx:pt idx="366">-8.8549799999999994</cx:pt>
          <cx:pt idx="367">-2.6147459999999998</cx:pt>
          <cx:pt idx="368">-2.6147459999999998</cx:pt>
          <cx:pt idx="369">-7.8002929999999999</cx:pt>
          <cx:pt idx="370">-8.8642094599999997</cx:pt>
          <cx:pt idx="371">-9.1186520000000009</cx:pt>
          <cx:pt idx="372">-5.5810550000000001</cx:pt>
          <cx:pt idx="373">-5.2294919999999996</cx:pt>
          <cx:pt idx="374">-1.1206050000000001</cx:pt>
          <cx:pt idx="375">-7.3608399999999996</cx:pt>
          <cx:pt idx="376">-7.5539147099999999</cx:pt>
          <cx:pt idx="377">-8.9681349800000003</cx:pt>
          <cx:pt idx="378">-9.0966799999999992</cx:pt>
          <cx:pt idx="379">-5.7128909999999999</cx:pt>
          <cx:pt idx="380">-6.6357419999999996</cx:pt>
          <cx:pt idx="381">-6.2622070000000001</cx:pt>
          <cx:pt idx="382">-7.4707030000000003</cx:pt>
          <cx:pt idx="383">-7.830602839</cx:pt>
          <cx:pt idx="384">-8.3276369999999993</cx:pt>
          <cx:pt idx="385">-3.3398439999999998</cx:pt>
          <cx:pt idx="386">-7.9321289999999998</cx:pt>
          <cx:pt idx="387">-2.9223629999999998</cx:pt>
          <cx:pt idx="388">-7.9541019999999998</cx:pt>
          <cx:pt idx="389">-6.8774410000000001</cx:pt>
          <cx:pt idx="390">-5.7348629999999998</cx:pt>
          <cx:pt idx="391">-5.1579006249999999</cx:pt>
          <cx:pt idx="392">-3.4277340000000001</cx:pt>
          <cx:pt idx="393">-9.0966799999999992</cx:pt>
          <cx:pt idx="394">-4.5483399999999996</cx:pt>
          <cx:pt idx="395">-6.8334960000000002</cx:pt>
          <cx:pt idx="396">-8.8549799999999994</cx:pt>
          <cx:pt idx="397">-3.0761720000000001</cx:pt>
          <cx:pt idx="398">-7.8222659999999999</cx:pt>
          <cx:pt idx="399">-5.2514649999999996</cx:pt>
          <cx:pt idx="400">-9.0966799999999992</cx:pt>
          <cx:pt idx="401">-3.0761720000000001</cx:pt>
          <cx:pt idx="402">-5.5723610389999996</cx:pt>
          <cx:pt idx="403">-8.1079100000000004</cx:pt>
          <cx:pt idx="404">-4.0209960000000002</cx:pt>
          <cx:pt idx="405">-4.2849578639999999</cx:pt>
          <cx:pt idx="406">-4.4604489999999997</cx:pt>
          <cx:pt idx="407">-6.4819339999999999</cx:pt>
          <cx:pt idx="408">-9.0747070000000001</cx:pt>
          <cx:pt idx="409">-4.8559570000000001</cx:pt>
          <cx:pt idx="410">-5.3527208240000004</cx:pt>
          <cx:pt idx="411">-6.1137471210000003</cx:pt>
          <cx:pt idx="412">-7.1057363410000001</cx:pt>
          <cx:pt idx="413">-7.5026345919999997</cx:pt>
          <cx:pt idx="414">-7.734375</cx:pt>
          <cx:pt idx="415">-9.0087890000000002</cx:pt>
          <cx:pt idx="416">-2.4609380000000001</cx:pt>
          <cx:pt idx="417">-7.3828129999999996</cx:pt>
          <cx:pt idx="418">-7.03125</cx:pt>
          <cx:pt idx="419">-8.0200043959999991</cx:pt>
          <cx:pt idx="420">-8.3489006710000009</cx:pt>
          <cx:pt idx="421">-9.0966799999999992</cx:pt>
          <cx:pt idx="422">-8.9059465719999995</cx:pt>
          <cx:pt idx="423">-8.1621421410000004</cx:pt>
          <cx:pt idx="424">-7.2290039999999998</cx:pt>
          <cx:pt idx="425">-7.4926760000000003</cx:pt>
          <cx:pt idx="426">-5.0756839999999999</cx:pt>
          <cx:pt idx="427">-5.1873963669999998</cx:pt>
          <cx:pt idx="428">-5.2734379999999996</cx:pt>
          <cx:pt idx="429">-7.3828129999999996</cx:pt>
          <cx:pt idx="430">-7.3910839020000001</cx:pt>
          <cx:pt idx="431">-7.5366210000000002</cx:pt>
          <cx:pt idx="432">-7.3828129999999996</cx:pt>
          <cx:pt idx="433">-7.45600927</cx:pt>
          <cx:pt idx="434">-7.5657259330000004</cx:pt>
          <cx:pt idx="435">-7.6025390000000002</cx:pt>
          <cx:pt idx="436">-3.2299799999999999</cx:pt>
          <cx:pt idx="437">-7.7783199999999999</cx:pt>
          <cx:pt idx="438">-5.9985350000000004</cx:pt>
          <cx:pt idx="439">-9.0966799999999992</cx:pt>
          <cx:pt idx="440">-3.0322269999999998</cx:pt>
          <cx:pt idx="441">-8.8989259999999994</cx:pt>
          <cx:pt idx="442">-7.0971679999999999</cx:pt>
          <cx:pt idx="443">-3.2519529999999999</cx:pt>
          <cx:pt idx="444">-6.6796879999999996</cx:pt>
          <cx:pt idx="445">-7.2070309999999997</cx:pt>
          <cx:pt idx="446">-4.7021480000000002</cx:pt>
          <cx:pt idx="447">-7.756348</cx:pt>
          <cx:pt idx="448">-7.2193280599999996</cx:pt>
          <cx:pt idx="449">-6.7895510000000003</cx:pt>
          <cx:pt idx="450">-8.9428710000000002</cx:pt>
          <cx:pt idx="451">-2.9882810000000002</cx:pt>
          <cx:pt idx="452">-7.3057123969999997</cx:pt>
          <cx:pt idx="453">-8.4814450000000008</cx:pt>
          <cx:pt idx="454">-6.8334960000000002</cx:pt>
          <cx:pt idx="455">-6.8658153009999996</cx:pt>
          <cx:pt idx="456">-6.9369048360000001</cx:pt>
          <cx:pt idx="457">-6.9433590000000001</cx:pt>
          <cx:pt idx="458">-7.8442379999999998</cx:pt>
          <cx:pt idx="459">-3.911133</cx:pt>
          <cx:pt idx="460">-7.5146480000000002</cx:pt>
          <cx:pt idx="461">-7.7613114919999999</cx:pt>
          <cx:pt idx="462">-7.8222659999999999</cx:pt>
          <cx:pt idx="463">-7.4267580000000004</cx:pt>
          <cx:pt idx="464">-2.087402</cx:pt>
          <cx:pt idx="465">-5.4052730000000002</cx:pt>
          <cx:pt idx="466">-6.4379879999999998</cx:pt>
          <cx:pt idx="467">0.50537109999999996</cx:pt>
          <cx:pt idx="468">-5.6689449999999999</cx:pt>
          <cx:pt idx="469">-5.2648796349999998</cx:pt>
          <cx:pt idx="470">-4.8559570000000001</cx:pt>
          <cx:pt idx="471">-5.4931640000000002</cx:pt>
          <cx:pt idx="472">-9.0966799999999992</cx:pt>
          <cx:pt idx="473">-6.544394746</cx:pt>
          <cx:pt idx="474">-5.9545899999999996</cx:pt>
          <cx:pt idx="475">-9.0966799999999992</cx:pt>
          <cx:pt idx="476">-6.7807432969999999</cx:pt>
          <cx:pt idx="477">-4.4604489999999997</cx:pt>
          <cx:pt idx="478">-7.8442379999999998</cx:pt>
          <cx:pt idx="479">-7.1411129999999998</cx:pt>
          <cx:pt idx="480">-6.2365927250000004</cx:pt>
          <cx:pt idx="481">-4.5263669999999996</cx:pt>
          <cx:pt idx="482">-8.2177729999999993</cx:pt>
          <cx:pt idx="483">-0.90087890000000004</cx:pt>
          <cx:pt idx="484">-7.5366210000000002</cx:pt>
          <cx:pt idx="485">-5.3393550000000003</cx:pt>
          <cx:pt idx="486">-6.2622070000000001</cx:pt>
          <cx:pt idx="487">-4.2626949999999999</cx:pt>
          <cx:pt idx="488">-8.2617189999999994</cx:pt>
          <cx:pt idx="489">-7.8670012849999997</cx:pt>
          <cx:pt idx="490">-7.6712858150000001</cx:pt>
          <cx:pt idx="491">-4.6801760000000003</cx:pt>
          <cx:pt idx="492">-5.7380594140000003</cx:pt>
          <cx:pt idx="493">-7.053223</cx:pt>
          <cx:pt idx="494">-6.1303710000000002</cx:pt>
          <cx:pt idx="495">-8.7679602130000003</cx:pt>
          <cx:pt idx="496">-8.9092239850000006</cx:pt>
          <cx:pt idx="497">-8.9826369330000002</cx:pt>
          <cx:pt idx="498">-9.0527339999999992</cx:pt>
          <cx:pt idx="499">-4.21875</cx:pt>
          <cx:pt idx="500">-7.2509769999999998</cx:pt>
          <cx:pt idx="501">-5.3833010000000003</cx:pt>
          <cx:pt idx="502">-6.7456050000000003</cx:pt>
          <cx:pt idx="503">-5.3173830000000004</cx:pt>
          <cx:pt idx="504">-8.9648439999999994</cx:pt>
          <cx:pt idx="505">-7.3608399999999996</cx:pt>
          <cx:pt idx="506">-4.4165039999999998</cx:pt>
          <cx:pt idx="507">-8.7451170000000005</cx:pt>
          <cx:pt idx="508">-1.3623050000000001</cx:pt>
          <cx:pt idx="509">-8.2617189999999994</cx:pt>
          <cx:pt idx="510">-7.8002929999999999</cx:pt>
          <cx:pt idx="511">-4.5043949999999997</cx:pt>
          <cx:pt idx="512">-8.5693359999999998</cx:pt>
          <cx:pt idx="513">-5.0317379999999998</cx:pt>
          <cx:pt idx="514">-5.2528653810000003</cx:pt>
          <cx:pt idx="515">-5.8007809999999997</cx:pt>
          <cx:pt idx="516">-9.0527339999999992</cx:pt>
          <cx:pt idx="517">-8.7206533820000001</cx:pt>
          <cx:pt idx="518">-7.03125</cx:pt>
          <cx:pt idx="519">-8.9428710000000002</cx:pt>
          <cx:pt idx="520">-6.328125</cx:pt>
          <cx:pt idx="521">-6.5478519999999998</cx:pt>
          <cx:pt idx="522">-0.79101560000000004</cx:pt>
          <cx:pt idx="523">-9.0087890000000002</cx:pt>
          <cx:pt idx="524">-5.0115431949999998</cx:pt>
          <cx:pt idx="525">-3.0322269999999998</cx:pt>
          <cx:pt idx="526">-3.3990925409999999</cx:pt>
          <cx:pt idx="527">-6.1962890000000002</cx:pt>
          <cx:pt idx="528">-5.9326169999999996</cx:pt>
          <cx:pt idx="529">-8.1518549999999994</cx:pt>
          <cx:pt idx="530">-5.0537109999999998</cx:pt>
          <cx:pt idx="531">-9.0527339999999992</cx:pt>
          <cx:pt idx="532">-8.7553868119999994</cx:pt>
          <cx:pt idx="533">-7.477692695</cx:pt>
          <cx:pt idx="534">-7.2700473460000001</cx:pt>
          <cx:pt idx="535">-5.8447269999999998</cx:pt>
          <cx:pt idx="536">-9.0747070000000001</cx:pt>
          <cx:pt idx="537">-5.5371090000000001</cx:pt>
          <cx:pt idx="538">-9.0966799999999992</cx:pt>
          <cx:pt idx="539">-3.7353519999999998</cx:pt>
          <cx:pt idx="540">-8.3715820000000001</cx:pt>
          <cx:pt idx="541">-8.5590499040000001</cx:pt>
          <cx:pt idx="542">-8.7231450000000006</cx:pt>
          <cx:pt idx="543">-7.5366210000000002</cx:pt>
          <cx:pt idx="544">-7.2227641120000001</cx:pt>
          <cx:pt idx="545">-6.6577149999999996</cx:pt>
          <cx:pt idx="546">-3.546355385</cx:pt>
          <cx:pt idx="547">-2.9443359999999998</cx:pt>
          <cx:pt idx="548">-1.625977</cx:pt>
          <cx:pt idx="549">-9.0527339999999992</cx:pt>
          <cx:pt idx="550">-4.3725589999999999</cx:pt>
          <cx:pt idx="551">-7.6025390000000002</cx:pt>
          <cx:pt idx="552">-4.196777</cx:pt>
          <cx:pt idx="553">-4.7934002009999999</cx:pt>
          <cx:pt idx="554">-9.0747070000000001</cx:pt>
          <cx:pt idx="555">-8.0200200000000006</cx:pt>
          <cx:pt idx="556">-4.4384769999999998</cx:pt>
          <cx:pt idx="557">-9.0966799999999992</cx:pt>
          <cx:pt idx="558">-7.3828129999999996</cx:pt>
          <cx:pt idx="559">0.63720699999999997</cx:pt>
          <cx:pt idx="560">-7.5146480000000002</cx:pt>
          <cx:pt idx="561">-9.0966799999999992</cx:pt>
          <cx:pt idx="562">-1.6479490000000001</cx:pt>
          <cx:pt idx="563">-9.0966799999999992</cx:pt>
          <cx:pt idx="564">-4.8339840000000001</cx:pt>
          <cx:pt idx="565">-8.5913090000000008</cx:pt>
          <cx:pt idx="566">-8.9428710000000002</cx:pt>
          <cx:pt idx="567">-5.5810550000000001</cx:pt>
          <cx:pt idx="568">-9.0747070000000001</cx:pt>
          <cx:pt idx="569">-7.8442379999999998</cx:pt>
          <cx:pt idx="570">-6.2841800000000001</cx:pt>
          <cx:pt idx="571">-6.4061091379999997</cx:pt>
          <cx:pt idx="572">-8.6352539999999998</cx:pt>
          <cx:pt idx="573">-3.7133790000000002</cx:pt>
          <cx:pt idx="574">-8.6352539999999998</cx:pt>
          <cx:pt idx="575">-5.2514649999999996</cx:pt>
          <cx:pt idx="576">-6.1111545359999999</cx:pt>
          <cx:pt idx="577">-9.0966799999999992</cx:pt>
          <cx:pt idx="578">-9.0863572969999993</cx:pt>
          <cx:pt idx="579">-9.0826842239999994</cx:pt>
          <cx:pt idx="580">-9.0823517010000003</cx:pt>
          <cx:pt idx="581">-9.0747070000000001</cx:pt>
          <cx:pt idx="582">-5.6689449999999999</cx:pt>
          <cx:pt idx="583">-8.7451170000000005</cx:pt>
          <cx:pt idx="584">-8.6433571330000003</cx:pt>
          <cx:pt idx="585">-7.5585940000000003</cx:pt>
          <cx:pt idx="586">-3.4057620000000002</cx:pt>
          <cx:pt idx="587">-8.7670899999999996</cx:pt>
          <cx:pt idx="588">-5.4052730000000002</cx:pt>
          <cx:pt idx="589">-8.7011719999999997</cx:pt>
          <cx:pt idx="590">-5.646973</cx:pt>
          <cx:pt idx="591">-9.0087890000000002</cx:pt>
          <cx:pt idx="592">-7.4707030000000003</cx:pt>
          <cx:pt idx="593">-7.7677103919999997</cx:pt>
          <cx:pt idx="594">-7.7950934289999996</cx:pt>
          <cx:pt idx="595">-8.4430168800000001</cx:pt>
          <cx:pt idx="596">-8.7268593489999997</cx:pt>
          <cx:pt idx="597">-8.7670899999999996</cx:pt>
          <cx:pt idx="598">-6.8115230000000002</cx:pt>
          <cx:pt idx="599">-4.7058990749999996</cx:pt>
          <cx:pt idx="600">-4.5703129999999996</cx:pt>
          <cx:pt idx="601">-9.0966799999999992</cx:pt>
          <cx:pt idx="602">-7.5366210000000002</cx:pt>
          <cx:pt idx="603">-1.779785</cx:pt>
          <cx:pt idx="604">-8.8549799999999994</cx:pt>
          <cx:pt idx="605">-7.8341911189999998</cx:pt>
          <cx:pt idx="606">-7.7335304989999996</cx:pt>
          <cx:pt idx="607">-5.8860546850000004</cx:pt>
          <cx:pt idx="608">-5.2734379999999996</cx:pt>
          <cx:pt idx="609">-8.3276369999999993</cx:pt>
          <cx:pt idx="610">-8.3492524909999997</cx:pt>
          <cx:pt idx="611">-8.4801619430000006</cx:pt>
          <cx:pt idx="612">-8.5195349460000003</cx:pt>
          <cx:pt idx="613">-8.520853142</cx:pt>
          <cx:pt idx="614">-8.5920045849999998</cx:pt>
          <cx:pt idx="615">-8.5932935449999999</cx:pt>
          <cx:pt idx="616">-8.6352539999999998</cx:pt>
          <cx:pt idx="617">1.3623050000000001</cx:pt>
          <cx:pt idx="618">-6.6357419999999996</cx:pt>
          <cx:pt idx="619">-3.6474609999999998</cx:pt>
          <cx:pt idx="620">-7.8222659999999999</cx:pt>
          <cx:pt idx="621">-7.7077392329999999</cx:pt>
          <cx:pt idx="622">-6.1743160000000001</cx:pt>
          <cx:pt idx="623">-5.2514649999999996</cx:pt>
          <cx:pt idx="624">-8.9648439999999994</cx:pt>
          <cx:pt idx="625">-8.2421955990000004</cx:pt>
          <cx:pt idx="626">-7.2070309999999997</cx:pt>
          <cx:pt idx="627">-2.7685550000000001</cx:pt>
          <cx:pt idx="628">-7.756348</cx:pt>
          <cx:pt idx="629">-2.7465820000000001</cx:pt>
          <cx:pt idx="630">-5.2514649999999996</cx:pt>
          <cx:pt idx="631">-0.65917970000000004</cx:pt>
          <cx:pt idx="632">-9.0966799999999992</cx:pt>
          <cx:pt idx="633">-4.5483399999999996</cx:pt>
          <cx:pt idx="634">-6.8115230000000002</cx:pt>
          <cx:pt idx="635">-7.6847023739999996</cx:pt>
          <cx:pt idx="636">-8.7890630000000005</cx:pt>
          <cx:pt idx="637">-4.1748050000000001</cx:pt>
          <cx:pt idx="638">-9.0966799999999992</cx:pt>
          <cx:pt idx="639">-5.4492190000000003</cx:pt>
          <cx:pt idx="640">-7.1630859999999998</cx:pt>
          <cx:pt idx="641">-4.7241210000000002</cx:pt>
          <cx:pt idx="642">-7.9321289999999998</cx:pt>
          <cx:pt idx="643">-3.911133</cx:pt>
          <cx:pt idx="644">-6.3595147289999998</cx:pt>
          <cx:pt idx="645">-8.9648439999999994</cx:pt>
          <cx:pt idx="646">-9.1186520000000009</cx:pt>
          <cx:pt idx="647">-4.196777</cx:pt>
          <cx:pt idx="648">-9.0747070000000001</cx:pt>
          <cx:pt idx="649">-8.979771586</cx:pt>
          <cx:pt idx="650">-8.8456206430000002</cx:pt>
          <cx:pt idx="651">-7.6464840000000001</cx:pt>
          <cx:pt idx="652">-4.9658199999999999</cx:pt>
          <cx:pt idx="653">-8.7890630000000005</cx:pt>
          <cx:pt idx="654">0.39640329200000002</cx:pt>
          <cx:pt idx="655">3.7353519999999998</cx:pt>
          <cx:pt idx="656">-9.0966799999999992</cx:pt>
          <cx:pt idx="657">-9.1100560050000006</cx:pt>
          <cx:pt idx="658">-9.1133027250000005</cx:pt>
          <cx:pt idx="659">-9.1154036559999998</cx:pt>
          <cx:pt idx="660">-9.1155899090000005</cx:pt>
          <cx:pt idx="661">-9.1182645939999993</cx:pt>
          <cx:pt idx="662">-9.1186520000000009</cx:pt>
          <cx:pt idx="663">-4.4604489999999997</cx:pt>
          <cx:pt idx="664">-7.5805660000000001</cx:pt>
          <cx:pt idx="665">-7.3608399999999996</cx:pt>
          <cx:pt idx="666">-7.1898662470000003</cx:pt>
          <cx:pt idx="667">-7.0751949999999999</cx:pt>
          <cx:pt idx="668">-9.0966799999999992</cx:pt>
          <cx:pt idx="669">-5.4492190000000003</cx:pt>
          <cx:pt idx="670">-8.8330079999999995</cx:pt>
          <cx:pt idx="671">-4.8559570000000001</cx:pt>
          <cx:pt idx="672">-8.6352539999999998</cx:pt>
          <cx:pt idx="673">-6.4379879999999998</cx:pt>
          <cx:pt idx="674">-3.0102540000000002</cx:pt>
          <cx:pt idx="675">-9.1186520000000009</cx:pt>
          <cx:pt idx="676">-9.0747070000000001</cx:pt>
          <cx:pt idx="677">-5.8666989999999997</cx:pt>
          <cx:pt idx="678">-9.0087890000000002</cx:pt>
          <cx:pt idx="679">-7.1191409999999999</cx:pt>
          <cx:pt idx="680">-7.4487300000000003</cx:pt>
          <cx:pt idx="681">-1.4721679999999999</cx:pt>
          <cx:pt idx="682">-7.6464840000000001</cx:pt>
          <cx:pt idx="683">-6.7078430190000002</cx:pt>
          <cx:pt idx="684">-5.8227539999999998</cx:pt>
          <cx:pt idx="685">-6.6039335059999997</cx:pt>
          <cx:pt idx="686">-7.7370625110000004</cx:pt>
          <cx:pt idx="687">-8.7720830559999996</cx:pt>
          <cx:pt idx="688">-9.1186520000000009</cx:pt>
          <cx:pt idx="689">-6.7236330000000004</cx:pt>
          <cx:pt idx="690">-8.4557997670000002</cx:pt>
          <cx:pt idx="691">-8.6791990000000006</cx:pt>
          <cx:pt idx="692">-2.6367189999999998</cx:pt>
          <cx:pt idx="693">-6.2402340000000001</cx:pt>
          <cx:pt idx="694">-4.9658199999999999</cx:pt>
          <cx:pt idx="695">-8.6791990000000006</cx:pt>
          <cx:pt idx="696">-3.9550779999999999</cx:pt>
          <cx:pt idx="697">-9.1186520000000009</cx:pt>
          <cx:pt idx="698">-4.7900390000000002</cx:pt>
          <cx:pt idx="699">-4.2626949999999999</cx:pt>
          <cx:pt idx="700">-8.5693359999999998</cx:pt>
          <cx:pt idx="701">-6.4835068219999998</cx:pt>
          <cx:pt idx="702">-2.1972659999999999</cx:pt>
          <cx:pt idx="703">-3.8012700000000001</cx:pt>
          <cx:pt idx="704">-9.0966799999999992</cx:pt>
          <cx:pt idx="705">-2.3510740000000001</cx:pt>
          <cx:pt idx="706">-6.5698239999999997</cx:pt>
          <cx:pt idx="707">-6.2622070000000001</cx:pt>
          <cx:pt idx="708">-0.1757813</cx:pt>
          <cx:pt idx="709">-9.0747070000000001</cx:pt>
          <cx:pt idx="710">-8.9428710000000002</cx:pt>
          <cx:pt idx="711">2.0214840000000001</cx:pt>
          <cx:pt idx="712">-9.0966799999999992</cx:pt>
          <cx:pt idx="713">-5.5810550000000001</cx:pt>
          <cx:pt idx="714">-8.8549799999999994</cx:pt>
          <cx:pt idx="715">-7.2729489999999997</cx:pt>
          <cx:pt idx="716">-4.9709366279999996</cx:pt>
          <cx:pt idx="717">-4.4165039999999998</cx:pt>
          <cx:pt idx="718">-8.6132810000000006</cx:pt>
          <cx:pt idx="719">-7.2070309999999997</cx:pt>
          <cx:pt idx="720">-3.6914060000000002</cx:pt>
          <cx:pt idx="721">-8.8549799999999994</cx:pt>
          <cx:pt idx="722">-7.3388669999999996</cx:pt>
          <cx:pt idx="723">-3.9550779999999999</cx:pt>
          <cx:pt idx="724">-8.1738280000000003</cx:pt>
          <cx:pt idx="725">-8.7451170000000005</cx:pt>
          <cx:pt idx="726">-4.0869140000000002</cx:pt>
          <cx:pt idx="727">-9.0966799999999992</cx:pt>
          <cx:pt idx="728">-5.2294919999999996</cx:pt>
          <cx:pt idx="729">-5.740720381</cx:pt>
          <cx:pt idx="730">-6.0864260000000003</cx:pt>
          <cx:pt idx="731">-5.2075199999999997</cx:pt>
          <cx:pt idx="732">-0.61523439999999996</cx:pt>
          <cx:pt idx="733">-9.0747070000000001</cx:pt>
          <cx:pt idx="734">-3.6694339999999999</cx:pt>
          <cx:pt idx="735">-9.0966799999999992</cx:pt>
          <cx:pt idx="736">-2.2192379999999998</cx:pt>
          <cx:pt idx="737">-9.0527339999999992</cx:pt>
          <cx:pt idx="738">-9.0966799999999992</cx:pt>
          <cx:pt idx="739">-7.1191409999999999</cx:pt>
          <cx:pt idx="740">-3.5815429999999999</cx:pt>
          <cx:pt idx="741">-8.3496089999999992</cx:pt>
          <cx:pt idx="742">-7.0751949999999999</cx:pt>
          <cx:pt idx="743">-7.5034243329999999</cx:pt>
          <cx:pt idx="744">-8.7670899999999996</cx:pt>
          <cx:pt idx="745">-5.7568359999999998</cx:pt>
          <cx:pt idx="746">-7.2949219999999997</cx:pt>
          <cx:pt idx="747">-2.8564449999999999</cx:pt>
          <cx:pt idx="748">-8.5693359999999998</cx:pt>
          <cx:pt idx="749">-4.5922850000000004</cx:pt>
          <cx:pt idx="750">-8.4375</cx:pt>
          <cx:pt idx="751">-8.3948306469999991</cx:pt>
          <cx:pt idx="752">-6.9873050000000001</cx:pt>
          <cx:pt idx="753">-7.5842037449999999</cx:pt>
          <cx:pt idx="754">-7.8944882610000002</cx:pt>
          <cx:pt idx="755">-9.0966799999999992</cx:pt>
          <cx:pt idx="756">0.13183590000000001</cx:pt>
          <cx:pt idx="757">-5.4052730000000002</cx:pt>
          <cx:pt idx="758">-1.713867</cx:pt>
          <cx:pt idx="759">-8.6572270000000007</cx:pt>
          <cx:pt idx="760">-4.8339840000000001</cx:pt>
          <cx:pt idx="761">-6.824782227</cx:pt>
          <cx:pt idx="762">-8.8989259999999994</cx:pt>
          <cx:pt idx="763">-5.3833010000000003</cx:pt>
          <cx:pt idx="764">-9.0747070000000001</cx:pt>
          <cx:pt idx="765">-8.4843871649999993</cx:pt>
          <cx:pt idx="766">-8.3906918509999997</cx:pt>
          <cx:pt idx="767">-7.6967363439999996</cx:pt>
          <cx:pt idx="768">-5.9326169999999996</cx:pt>
          <cx:pt idx="769">-9.0966799999999992</cx:pt>
          <cx:pt idx="770">-8.5202056929999994</cx:pt>
          <cx:pt idx="771">-7.756348</cx:pt>
          <cx:pt idx="772">-7.9321289999999998</cx:pt>
          <cx:pt idx="773">-9.0966799999999992</cx:pt>
          <cx:pt idx="774">-7.0971679999999999</cx:pt>
          <cx:pt idx="775">-7.5585940000000003</cx:pt>
          <cx:pt idx="776">-3.8671880000000001</cx:pt>
          <cx:pt idx="777">-8.8330079999999995</cx:pt>
          <cx:pt idx="778">-6.8115230000000002</cx:pt>
          <cx:pt idx="779">-5.0976559999999997</cx:pt>
          <cx:pt idx="780">-7.8442379999999998</cx:pt>
          <cx:pt idx="781">-5.9985350000000004</cx:pt>
          <cx:pt idx="782">-7.2949219999999997</cx:pt>
          <cx:pt idx="783">-2.790527</cx:pt>
          <cx:pt idx="784">-9.0966799999999992</cx:pt>
          <cx:pt idx="785">-6.9707753209999996</cx:pt>
          <cx:pt idx="786">-6.0864260000000003</cx:pt>
          <cx:pt idx="787">-6.4379879999999998</cx:pt>
          <cx:pt idx="788">-4.1528320000000001</cx:pt>
          <cx:pt idx="789">-7.4487300000000003</cx:pt>
          <cx:pt idx="790">-5.7788089999999999</cx:pt>
          <cx:pt idx="791">3.493652</cx:pt>
          <cx:pt idx="792">-4.899902</cx:pt>
          <cx:pt idx="793">-6.9928036850000002</cx:pt>
          <cx:pt idx="794">-9.1186520000000009</cx:pt>
          <cx:pt idx="795">-7.6793867340000004</cx:pt>
          <cx:pt idx="796">-6.168018</cx:pt>
          <cx:pt idx="797">-5.7128909999999999</cx:pt>
          <cx:pt idx="798">-9.0966799999999992</cx:pt>
          <cx:pt idx="799">-5.603027</cx:pt>
          <cx:pt idx="800">-9.0966799999999992</cx:pt>
          <cx:pt idx="801">-3.9770509999999999</cx:pt>
          <cx:pt idx="802">-7.6464840000000001</cx:pt>
          <cx:pt idx="803">-5.8007809999999997</cx:pt>
          <cx:pt idx="804">-9.0747070000000001</cx:pt>
          <cx:pt idx="805">-5.2294919999999996</cx:pt>
          <cx:pt idx="806">-8.5693359999999998</cx:pt>
          <cx:pt idx="807">-9.0747070000000001</cx:pt>
          <cx:pt idx="808">2.6806640000000002</cx:pt>
          <cx:pt idx="809">-5.3833010000000003</cx:pt>
          <cx:pt idx="810">-6.8774410000000001</cx:pt>
          <cx:pt idx="811">-2.9003909999999999</cx:pt>
          <cx:pt idx="812">-8.9208979999999993</cx:pt>
          <cx:pt idx="813">-5.2075199999999997</cx:pt>
          <cx:pt idx="814">-9.0966799999999992</cx:pt>
          <cx:pt idx="815">-3.537598</cx:pt>
          <cx:pt idx="816">-7.6904300000000001</cx:pt>
          <cx:pt idx="817">-6.8554690000000003</cx:pt>
          <cx:pt idx="818">-9.0966799999999992</cx:pt>
          <cx:pt idx="819">-5.6909179999999999</cx:pt>
          <cx:pt idx="820">-9.0747070000000001</cx:pt>
          <cx:pt idx="821">-7.0751949999999999</cx:pt>
          <cx:pt idx="822">-4.1088870000000002</cx:pt>
          <cx:pt idx="823">-9.0966799999999992</cx:pt>
          <cx:pt idx="824">-4.9658199999999999</cx:pt>
          <cx:pt idx="825">-7.9321289999999998</cx:pt>
          <cx:pt idx="826">-0.1757813</cx:pt>
          <cx:pt idx="827">-3.8671880000000001</cx:pt>
          <cx:pt idx="828">0.48339840000000001</cx:pt>
          <cx:pt idx="829">-8.9208979999999993</cx:pt>
          <cx:pt idx="830">-8.5555190999999997</cx:pt>
          <cx:pt idx="831">-7.3388669999999996</cx:pt>
          <cx:pt idx="832">-6.0205080000000004</cx:pt>
          <cx:pt idx="833">-7.5366210000000002</cx:pt>
          <cx:pt idx="834">-7.3388669999999996</cx:pt>
          <cx:pt idx="835">-7.4580982850000002</cx:pt>
          <cx:pt idx="836">-7.4721689180000004</cx:pt>
          <cx:pt idx="837">-7.756348</cx:pt>
          <cx:pt idx="838">-4.0209960000000002</cx:pt>
          <cx:pt idx="839">-9.0966799999999992</cx:pt>
          <cx:pt idx="840">-6.306152</cx:pt>
          <cx:pt idx="841">-6.5258789999999998</cx:pt>
          <cx:pt idx="842">-5.71233726</cx:pt>
          <cx:pt idx="843">-4.8120120000000002</cx:pt>
          <cx:pt idx="844">-7.3388669999999996</cx:pt>
          <cx:pt idx="845">-3.493652</cx:pt>
          <cx:pt idx="846">-8.8330079999999995</cx:pt>
          <cx:pt idx="847">-7.495010239</cx:pt>
          <cx:pt idx="848">-5.8007809999999997</cx:pt>
          <cx:pt idx="849">-7.7783199999999999</cx:pt>
          <cx:pt idx="850">-7.6234015819999996</cx:pt>
          <cx:pt idx="851">-7.3137688550000002</cx:pt>
          <cx:pt idx="852">-7.2159445360000003</cx:pt>
          <cx:pt idx="853">-7.1870666879999998</cx:pt>
          <cx:pt idx="854">-6.8774410000000001</cx:pt>
          <cx:pt idx="855">-9.0966799999999992</cx:pt>
          <cx:pt idx="856">-4.8120120000000002</cx:pt>
          <cx:pt idx="857">-9.0966799999999992</cx:pt>
          <cx:pt idx="858">-6.5698239999999997</cx:pt>
          <cx:pt idx="859">-2.6586910000000001</cx:pt>
          <cx:pt idx="860">-5.0893286509999998</cx:pt>
          <cx:pt idx="861">-7.6464840000000001</cx:pt>
          <cx:pt idx="862">-6.7456050000000003</cx:pt>
          <cx:pt idx="863">-6.907499305</cx:pt>
          <cx:pt idx="864">-6.9884464570000002</cx:pt>
          <cx:pt idx="865">-9.0966799999999992</cx:pt>
          <cx:pt idx="866">-1.999512</cx:pt>
          <cx:pt idx="867">-7.8442379999999998</cx:pt>
          <cx:pt idx="868">-7.7761492099999998</cx:pt>
          <cx:pt idx="869">-5.2734379999999996</cx:pt>
          <cx:pt idx="870">-3.6914060000000002</cx:pt>
          <cx:pt idx="871">-8.8549799999999994</cx:pt>
          <cx:pt idx="872">-2.6147459999999998</cx:pt>
          <cx:pt idx="873">-7.6904300000000001</cx:pt>
          <cx:pt idx="874">-9.0747070000000001</cx:pt>
          <cx:pt idx="875">-4.3066409999999999</cx:pt>
          <cx:pt idx="876">-8.1079100000000004</cx:pt>
          <cx:pt idx="877">-8.3682085310000005</cx:pt>
          <cx:pt idx="878">-9.0966799999999992</cx:pt>
          <cx:pt idx="879">-4.1308590000000001</cx:pt>
          <cx:pt idx="880">-7.5805660000000001</cx:pt>
          <cx:pt idx="881">-7.9767868389999999</cx:pt>
          <cx:pt idx="882">-8.3134819370000006</cx:pt>
          <cx:pt idx="883">-8.9868159999999992</cx:pt>
          <cx:pt idx="884">-3.823242</cx:pt>
          <cx:pt idx="885">-8.9428710000000002</cx:pt>
          <cx:pt idx="886">-3.4277340000000001</cx:pt>
          <cx:pt idx="887">-9.0966799999999992</cx:pt>
          <cx:pt idx="888">-7.4813221199999997</cx:pt>
          <cx:pt idx="889">-7.2509769999999998</cx:pt>
          <cx:pt idx="890">-6.6373301429999998</cx:pt>
          <cx:pt idx="891">-3.5595699999999999</cx:pt>
          <cx:pt idx="892">-8.7670899999999996</cx:pt>
          <cx:pt idx="893">-5.1635739999999997</cx:pt>
          <cx:pt idx="894">-8.7231450000000006</cx:pt>
          <cx:pt idx="895">-8.8786540610000007</cx:pt>
          <cx:pt idx="896">-9.030206862</cx:pt>
          <cx:pt idx="897">-9.0524580439999998</cx:pt>
          <cx:pt idx="898">-9.0747070000000001</cx:pt>
          <cx:pt idx="899">-5.4272460000000002</cx:pt>
          <cx:pt idx="900">-9.0747070000000001</cx:pt>
          <cx:pt idx="901">-7.734375</cx:pt>
          <cx:pt idx="902">-7.2765505079999997</cx:pt>
          <cx:pt idx="903">-7.1149859920000003</cx:pt>
          <cx:pt idx="904">-6.8994140000000002</cx:pt>
          <cx:pt idx="905">-1.3183590000000001</cx:pt>
          <cx:pt idx="906">-6.9653320000000001</cx:pt>
          <cx:pt idx="907">-7.6025390000000002</cx:pt>
          <cx:pt idx="908">-4.6801760000000003</cx:pt>
          <cx:pt idx="909">-9.0966799999999992</cx:pt>
          <cx:pt idx="910">-8.5774207730000001</cx:pt>
          <cx:pt idx="911">-8.1100355470000007</cx:pt>
          <cx:pt idx="912">-7.9541019999999998</cx:pt>
          <cx:pt idx="913">-8.2397460000000002</cx:pt>
          <cx:pt idx="914">-4.7680660000000001</cx:pt>
          <cx:pt idx="915">-8.6132810000000006</cx:pt>
          <cx:pt idx="916">-8.6271378510000005</cx:pt>
          <cx:pt idx="917">-8.9526331320000008</cx:pt>
          <cx:pt idx="918">-9.0747070000000001</cx:pt>
          <cx:pt idx="919">-4.5922850000000004</cx:pt>
          <cx:pt idx="920">-9.0747070000000001</cx:pt>
          <cx:pt idx="921">-6.808328232</cx:pt>
          <cx:pt idx="922">-3.8671880000000001</cx:pt>
          <cx:pt idx="923">-9.1186520000000009</cx:pt>
          <cx:pt idx="924">-5.9326169999999996</cx:pt>
          <cx:pt idx="925">-9.0747070000000001</cx:pt>
          <cx:pt idx="926">-9.1186520000000009</cx:pt>
          <cx:pt idx="927">-2.438965</cx:pt>
          <cx:pt idx="928">-7.9541019999999998</cx:pt>
          <cx:pt idx="929">-5.3173830000000004</cx:pt>
          <cx:pt idx="930">-7.4926760000000003</cx:pt>
          <cx:pt idx="931">-3.2739259999999999</cx:pt>
          <cx:pt idx="932">-8.6132810000000006</cx:pt>
          <cx:pt idx="933">-3.1640630000000001</cx:pt>
          <cx:pt idx="934">-8.8330079999999995</cx:pt>
          <cx:pt idx="935">-7.4047850000000004</cx:pt>
          <cx:pt idx="936">-5.6158001070000001</cx:pt>
          <cx:pt idx="937">-4.899902</cx:pt>
          <cx:pt idx="938">-9.0966799999999992</cx:pt>
          <cx:pt idx="939">-6.0589445819999996</cx:pt>
          <cx:pt idx="940">-5.2294919999999996</cx:pt>
          <cx:pt idx="941">-9.1186520000000009</cx:pt>
          <cx:pt idx="942">-6.9213870000000002</cx:pt>
          <cx:pt idx="943">-5.0950865399999996</cx:pt>
          <cx:pt idx="944">-4.9877929999999999</cx:pt>
          <cx:pt idx="945">-9.0087890000000002</cx:pt>
          <cx:pt idx="946">-9.0966799999999992</cx:pt>
          <cx:pt idx="947">-6.4379879999999998</cx:pt>
          <cx:pt idx="948">-4.943848</cx:pt>
          <cx:pt idx="949">-7.8662109999999998</cx:pt>
          <cx:pt idx="950">-7.9282349310000004</cx:pt>
          <cx:pt idx="951">-7.9488785550000003</cx:pt>
          <cx:pt idx="952">-8.2177729999999993</cx:pt>
          <cx:pt idx="953">-7.5146480000000002</cx:pt>
          <cx:pt idx="954">-4.8339840000000001</cx:pt>
          <cx:pt idx="955">-9.1186520000000009</cx:pt>
          <cx:pt idx="956">-4.3066409999999999</cx:pt>
          <cx:pt idx="957">-8.7011719999999997</cx:pt>
          <cx:pt idx="958">-4.3066409999999999</cx:pt>
          <cx:pt idx="959">-7.6025390000000002</cx:pt>
          <cx:pt idx="960">-8.7254026660000008</cx:pt>
          <cx:pt idx="961">-8.9593277239999995</cx:pt>
          <cx:pt idx="962">-9.0527339999999992</cx:pt>
          <cx:pt idx="963">-6.0864260000000003</cx:pt>
          <cx:pt idx="964">-9.0966799999999992</cx:pt>
          <cx:pt idx="965">-7.9737618780000004</cx:pt>
          <cx:pt idx="966">-7.3828129999999996</cx:pt>
          <cx:pt idx="967">-7.6750410709999999</cx:pt>
          <cx:pt idx="968">-7.8715383880000003</cx:pt>
          <cx:pt idx="969">-7.9269499210000003</cx:pt>
          <cx:pt idx="970">-7.9823614540000003</cx:pt>
          <cx:pt idx="971">-7.9874300119999999</cx:pt>
          <cx:pt idx="972">-8.0428818510000006</cx:pt>
          <cx:pt idx="973">-8.1083146189999997</cx:pt>
          <cx:pt idx="974">-8.1738280000000003</cx:pt>
          <cx:pt idx="975">-6.5700248119999998</cx:pt>
          <cx:pt idx="976">-4.9658199999999999</cx:pt>
          <cx:pt idx="977">-9.0527339999999992</cx:pt>
          <cx:pt idx="978">-8.6574238809999997</cx:pt>
          <cx:pt idx="979">-6.8115230000000002</cx:pt>
          <cx:pt idx="980">-1.3623050000000001</cx:pt>
          <cx:pt idx="981">-9.0747070000000001</cx:pt>
          <cx:pt idx="982">-4.8120120000000002</cx:pt>
          <cx:pt idx="983">-8.9868159999999992</cx:pt>
          <cx:pt idx="984">-8.2062759960000005</cx:pt>
          <cx:pt idx="985">-7.9980469999999997</cx:pt>
          <cx:pt idx="986">-7.8935179379999996</cx:pt>
          <cx:pt idx="987">-7.8779817440000004</cx:pt>
          <cx:pt idx="988">-7.8765719949999999</cx:pt>
          <cx:pt idx="989">-7.8680986700000002</cx:pt>
          <cx:pt idx="990">-7.8341961879999999</cx:pt>
          <cx:pt idx="991">-7.8017034550000002</cx:pt>
          <cx:pt idx="992">-7.8002929999999999</cx:pt>
          <cx:pt idx="993">-2.109375</cx:pt>
          <cx:pt idx="994">-7.8662109999999998</cx:pt>
          <cx:pt idx="995">-7.8672553650000001</cx:pt>
          <cx:pt idx="996">-7.8881839999999999</cx:pt>
          <cx:pt idx="997">-6.7628535489999999</cx:pt>
          <cx:pt idx="998">-6.6158893900000004</cx:pt>
          <cx:pt idx="999">-6.076898463</cx:pt>
          <cx:pt idx="1000">-5.7348629999999998</cx:pt>
          <cx:pt idx="1001">-9.0966799999999992</cx:pt>
          <cx:pt idx="1002">-8.9507502250000002</cx:pt>
          <cx:pt idx="1003">-8.2397460000000002</cx:pt>
          <cx:pt idx="1004">-4.5922850000000004</cx:pt>
          <cx:pt idx="1005">-8.3276369999999993</cx:pt>
          <cx:pt idx="1006">-9.0747070000000001</cx:pt>
          <cx:pt idx="1007">-4.1088870000000002</cx:pt>
          <cx:pt idx="1008">-9.0966799999999992</cx:pt>
          <cx:pt idx="1009">-7.4926760000000003</cx:pt>
          <cx:pt idx="1010">-8.6791990000000006</cx:pt>
          <cx:pt idx="1011">-6.1083980000000002</cx:pt>
          <cx:pt idx="1012">-6.6577149999999996</cx:pt>
          <cx:pt idx="1013">-7.9321289999999998</cx:pt>
          <cx:pt idx="1014">-6.9000372270000003</cx:pt>
          <cx:pt idx="1015">-6.306152</cx:pt>
          <cx:pt idx="1016">-6.7456050000000003</cx:pt>
          <cx:pt idx="1017">-2.790527</cx:pt>
          <cx:pt idx="1018">-6.5039059999999997</cx:pt>
          <cx:pt idx="1019">-7.4909676530000002</cx:pt>
          <cx:pt idx="1020">-7.5805660000000001</cx:pt>
          <cx:pt idx="1021">-4.196777</cx:pt>
          <cx:pt idx="1022">-5.5590820000000001</cx:pt>
          <cx:pt idx="1023">-4.4824219999999997</cx:pt>
          <cx:pt idx="1024">-4.9658199999999999</cx:pt>
          <cx:pt idx="1025">-5.1635739999999997</cx:pt>
          <cx:pt idx="1026">-5.291415346</cx:pt>
          <cx:pt idx="1027">-9.0966799999999992</cx:pt>
          <cx:pt idx="1028">-7.6091481009999997</cx:pt>
          <cx:pt idx="1029">-4.0429690000000003</cx:pt>
          <cx:pt idx="1030">-9.0966799999999992</cx:pt>
          <cx:pt idx="1031">-7.7784110670000004</cx:pt>
          <cx:pt idx="1032">-7.1191409999999999</cx:pt>
          <cx:pt idx="1033">-3.7792970000000001</cx:pt>
          <cx:pt idx="1034">-8.3056640000000002</cx:pt>
          <cx:pt idx="1035">-7.1411129999999998</cx:pt>
          <cx:pt idx="1036">-6.1525615550000001</cx:pt>
          <cx:pt idx="1037">-5.1635739999999997</cx:pt>
          <cx:pt idx="1038">-9.0747070000000001</cx:pt>
          <cx:pt idx="1039">-7.3943948009999998</cx:pt>
          <cx:pt idx="1040">-5.9545899999999996</cx:pt>
          <cx:pt idx="1041">-5.9326169999999996</cx:pt>
          <cx:pt idx="1042">-6.2182620000000002</cx:pt>
          <cx:pt idx="1043">-6.9653320000000001</cx:pt>
          <cx:pt idx="1044">-5.9106449999999997</cx:pt>
          <cx:pt idx="1045">-7.8222659999999999</cx:pt>
          <cx:pt idx="1046">-6.350098</cx:pt>
          <cx:pt idx="1047">-7.6464840000000001</cx:pt>
          <cx:pt idx="1048">-8.2837067910000002</cx:pt>
          <cx:pt idx="1049">-9.0966799999999992</cx:pt>
          <cx:pt idx="1050">-3.2299799999999999</cx:pt>
          <cx:pt idx="1051">-6.5478519999999998</cx:pt>
          <cx:pt idx="1052">-1.010742</cx:pt>
          <cx:pt idx="1053">-8.3496089999999992</cx:pt>
          <cx:pt idx="1054">0.19775390000000001</cx:pt>
          <cx:pt idx="1055">-5.8511250889999999</cx:pt>
          <cx:pt idx="1056">-7.6245120000000002</cx:pt>
          <cx:pt idx="1057">-3.5815429999999999</cx:pt>
          <cx:pt idx="1058">-5.9985350000000004</cx:pt>
          <cx:pt idx="1059">-2.1533199999999999</cx:pt>
          <cx:pt idx="1060">-4.5922850000000004</cx:pt>
          <cx:pt idx="1061">-7.1850589999999999</cx:pt>
          <cx:pt idx="1062">-3.5815429999999999</cx:pt>
          <cx:pt idx="1063">-7.3168949999999997</cx:pt>
          <cx:pt idx="1064">-7.8442379999999998</cx:pt>
          <cx:pt idx="1065">-4.1748050000000001</cx:pt>
          <cx:pt idx="1066">-8.4098637390000004</cx:pt>
          <cx:pt idx="1067">-8.9208979999999993</cx:pt>
          <cx:pt idx="1068">-8.1040023990000005</cx:pt>
          <cx:pt idx="1069">-5.8007809999999997</cx:pt>
          <cx:pt idx="1070">-7.3828129999999996</cx:pt>
          <cx:pt idx="1071">-7.6464840000000001</cx:pt>
          <cx:pt idx="1072">-5.0976559999999997</cx:pt>
          <cx:pt idx="1073">-7.6025390000000002</cx:pt>
          <cx:pt idx="1074">-6.4160159999999999</cx:pt>
          <cx:pt idx="1075">-9.0747070000000001</cx:pt>
          <cx:pt idx="1076">-6.5917969999999997</cx:pt>
          <cx:pt idx="1077">-3.5714458269999998</cx:pt>
          <cx:pt idx="1078">-0.92285159999999999</cx:pt>
          <cx:pt idx="1079">-8.0419920000000005</cx:pt>
          <cx:pt idx="1080">-2.9663089999999999</cx:pt>
          <cx:pt idx="1081">-8.8769530000000003</cx:pt>
          <cx:pt idx="1082">-7.1191409999999999</cx:pt>
          <cx:pt idx="1083">-6.3720699999999999</cx:pt>
          <cx:pt idx="1084">-3.120117</cx:pt>
          <cx:pt idx="1085">-6.6137699999999997</cx:pt>
          <cx:pt idx="1086">-6.6357419999999996</cx:pt>
          <cx:pt idx="1087">-1.6699219999999999</cx:pt>
          <cx:pt idx="1088">-8.8549799999999994</cx:pt>
          <cx:pt idx="1089">-4.2626949999999999</cx:pt>
          <cx:pt idx="1090">-6.7895510000000003</cx:pt>
          <cx:pt idx="1091">-4.1308590000000001</cx:pt>
          <cx:pt idx="1092">-6.0424800000000003</cx:pt>
          <cx:pt idx="1093">-7.1703224060000004</cx:pt>
          <cx:pt idx="1094">-7.9321289999999998</cx:pt>
          <cx:pt idx="1095">-4.5043949999999997</cx:pt>
          <cx:pt idx="1096">-7.1630859999999998</cx:pt>
          <cx:pt idx="1097">-7.0971679999999999</cx:pt>
          <cx:pt idx="1098">-3.911133</cx:pt>
          <cx:pt idx="1099">-5.4107279940000002</cx:pt>
          <cx:pt idx="1100">-7.03125</cx:pt>
          <cx:pt idx="1101">-7.1372498530000001</cx:pt>
          <cx:pt idx="1102">-7.7556423780000001</cx:pt>
          <cx:pt idx="1103">-8.9868159999999992</cx:pt>
          <cx:pt idx="1104">-3.3178709999999998</cx:pt>
          <cx:pt idx="1105">-7.8002929999999999</cx:pt>
          <cx:pt idx="1106">-1.8676759999999999</cx:pt>
          <cx:pt idx="1107">-7.1630859999999998</cx:pt>
          <cx:pt idx="1108">-2.6586910000000001</cx:pt>
          <cx:pt idx="1109">-6.8774410000000001</cx:pt>
          <cx:pt idx="1110">-7.9760739999999997</cx:pt>
          <cx:pt idx="1111">-2.3730470000000001</cx:pt>
          <cx:pt idx="1112">-4.5483399999999996</cx:pt>
          <cx:pt idx="1113">-2.2192379999999998</cx:pt>
          <cx:pt idx="1114">-6.1523440000000003</cx:pt>
          <cx:pt idx="1115">-5.1008569469999996</cx:pt>
          <cx:pt idx="1116">-4.5483399999999996</cx:pt>
          <cx:pt idx="1117">-8.7011719999999997</cx:pt>
          <cx:pt idx="1118">-7.1191409999999999</cx:pt>
          <cx:pt idx="1119">-6.2081745130000003</cx:pt>
          <cx:pt idx="1120">-5.2514649999999996</cx:pt>
          <cx:pt idx="1121">-7.9760739999999997</cx:pt>
          <cx:pt idx="1122">-2.8564449999999999</cx:pt>
          <cx:pt idx="1123">-8.9868159999999992</cx:pt>
          <cx:pt idx="1124">-8.0509096230000008</cx:pt>
          <cx:pt idx="1125">-6.1685500040000001</cx:pt>
          <cx:pt idx="1126">-4.3945309999999997</cx:pt>
          <cx:pt idx="1127">-8.6791990000000006</cx:pt>
          <cx:pt idx="1128">-5.9106449999999997</cx:pt>
          <cx:pt idx="1129">-9.0747070000000001</cx:pt>
          <cx:pt idx="1130">-8.5487044409999999</cx:pt>
          <cx:pt idx="1131">-5.0097659999999999</cx:pt>
          <cx:pt idx="1132">-8.9428710000000002</cx:pt>
          <cx:pt idx="1133">-6.5478519999999998</cx:pt>
          <cx:pt idx="1134">-7.004212602</cx:pt>
          <cx:pt idx="1135">-7.0751949999999999</cx:pt>
          <cx:pt idx="1136">-7.0366177490000004</cx:pt>
          <cx:pt idx="1137">-6.9213870000000002</cx:pt>
          <cx:pt idx="1138">-3.6474609999999998</cx:pt>
          <cx:pt idx="1139">-5.5151370000000002</cx:pt>
          <cx:pt idx="1140">-5.9545899999999996</cx:pt>
          <cx:pt idx="1141">-6.4422003319999996</cx:pt>
          <cx:pt idx="1142">-7.6601680280000002</cx:pt>
          <cx:pt idx="1143">-7.8442379999999998</cx:pt>
          <cx:pt idx="1144">-6.0424800000000003</cx:pt>
          <cx:pt idx="1145">-9.0307619999999993</cx:pt>
          <cx:pt idx="1146">-5.0317379999999998</cx:pt>
          <cx:pt idx="1147">-6.1523440000000003</cx:pt>
          <cx:pt idx="1148">-6.5258789999999998</cx:pt>
          <cx:pt idx="1149">-5.2075199999999997</cx:pt>
          <cx:pt idx="1150">-5.631379709</cx:pt>
          <cx:pt idx="1151">-5.8719357419999998</cx:pt>
          <cx:pt idx="1152">-6.1303710000000002</cx:pt>
          <cx:pt idx="1153">-6.9977066030000001</cx:pt>
          <cx:pt idx="1154">-7.0281796070000002</cx:pt>
          <cx:pt idx="1155">-7.6684328979999998</cx:pt>
          <cx:pt idx="1156">-7.734375</cx:pt>
          <cx:pt idx="1157">-4.2846679999999999</cx:pt>
          <cx:pt idx="1158">-4.9559863249999996</cx:pt>
          <cx:pt idx="1159">-7.2509769999999998</cx:pt>
          <cx:pt idx="1160">-6.7942497749999999</cx:pt>
          <cx:pt idx="1161">-5.4272460000000002</cx:pt>
          <cx:pt idx="1162">-6.1962890000000002</cx:pt>
          <cx:pt idx="1163">-6.2804814249999996</cx:pt>
          <cx:pt idx="1164">-6.4809707169999999</cx:pt>
          <cx:pt idx="1165">-6.7117642059999998</cx:pt>
          <cx:pt idx="1166">-7.734375</cx:pt>
          <cx:pt idx="1167">-5.4931640000000002</cx:pt>
          <cx:pt idx="1168">-6.9433590000000001</cx:pt>
          <cx:pt idx="1169">-6.3940429999999999</cx:pt>
          <cx:pt idx="1170">-7.4487300000000003</cx:pt>
          <cx:pt idx="1171">-7.4502836889999999</cx:pt>
          <cx:pt idx="1172">-7.4782644859999996</cx:pt>
          <cx:pt idx="1173">-7.4790755229999997</cx:pt>
          <cx:pt idx="1174">-7.4806728040000001</cx:pt>
          <cx:pt idx="1175">-7.485470243</cx:pt>
          <cx:pt idx="1176">-7.4863188730000001</cx:pt>
          <cx:pt idx="1177">-7.4926760000000003</cx:pt>
          <cx:pt idx="1178">-6.328125</cx:pt>
          <cx:pt idx="1179">-7.053223</cx:pt>
          <cx:pt idx="1180">-1.7578130000000001</cx:pt>
          <cx:pt idx="1181">-7.9541019999999998</cx:pt>
          <cx:pt idx="1182">-6.2907473710000001</cx:pt>
          <cx:pt idx="1183">-5.7348629999999998</cx:pt>
          <cx:pt idx="1184">-6.3849461170000001</cx:pt>
          <cx:pt idx="1185">-6.6357419999999996</cx:pt>
          <cx:pt idx="1186">-7.1630859999999998</cx:pt>
          <cx:pt idx="1187">-7.8758580800000004</cx:pt>
          <cx:pt idx="1188">-7.9760739999999997</cx:pt>
          <cx:pt idx="1189">-6.8115230000000002</cx:pt>
          <cx:pt idx="1190">-9.0307619999999993</cx:pt>
          <cx:pt idx="1191">-4.8559570000000001</cx:pt>
          <cx:pt idx="1192">-5.717615114</cx:pt>
          <cx:pt idx="1193">-9.0527339999999992</cx:pt>
          <cx:pt idx="1194">-4.9658199999999999</cx:pt>
          <cx:pt idx="1195">-8.9648439999999994</cx:pt>
          <cx:pt idx="1196">-6.5074197370000002</cx:pt>
          <cx:pt idx="1197">-4.4384769999999998</cx:pt>
          <cx:pt idx="1198">-9.0307619999999993</cx:pt>
          <cx:pt idx="1199">-5.9007550609999999</cx:pt>
          <cx:pt idx="1200">-5.3393550000000003</cx:pt>
          <cx:pt idx="1201">-6.350098</cx:pt>
          <cx:pt idx="1202">-9.0307619999999993</cx:pt>
          <cx:pt idx="1203">-5.603027</cx:pt>
          <cx:pt idx="1204">-8.8330079999999995</cx:pt>
          <cx:pt idx="1205">-9.0307619999999993</cx:pt>
          <cx:pt idx="1206">-8.170408321</cx:pt>
          <cx:pt idx="1207">-6.4599609999999998</cx:pt>
          <cx:pt idx="1208">-6.7381159070000001</cx:pt>
          <cx:pt idx="1209">-7.009277</cx:pt>
          <cx:pt idx="1210">-7.734375</cx:pt>
          <cx:pt idx="1211">0.021972660000000001</cx:pt>
          <cx:pt idx="1212">-6.4160159999999999</cx:pt>
          <cx:pt idx="1213">-4.2846679999999999</cx:pt>
          <cx:pt idx="1214">-9.0087890000000002</cx:pt>
          <cx:pt idx="1215">-8.7831961920000001</cx:pt>
          <cx:pt idx="1216">-7.4267580000000004</cx:pt>
          <cx:pt idx="1217">-1.2524409999999999</cx:pt>
          <cx:pt idx="1218">-8.9648439999999994</cx:pt>
          <cx:pt idx="1219">-7.1850589999999999</cx:pt>
          <cx:pt idx="1220">-7.1253865039999997</cx:pt>
          <cx:pt idx="1221">-6.7734581030000003</cx:pt>
          <cx:pt idx="1222">-5.646973</cx:pt>
          <cx:pt idx="1223">-9.0087890000000002</cx:pt>
          <cx:pt idx="1224">-4.6582030000000003</cx:pt>
          <cx:pt idx="1225">-4.5435346030000003</cx:pt>
          <cx:pt idx="1226">-4.4865052619999997</cx:pt>
          <cx:pt idx="1227">-4.4809787290000003</cx:pt>
          <cx:pt idx="1228">-4.4604489999999997</cx:pt>
          <cx:pt idx="1229">-3.8012700000000001</cx:pt>
          <cx:pt idx="1230">-8.7451170000000005</cx:pt>
          <cx:pt idx="1231">-4.4604489999999997</cx:pt>
          <cx:pt idx="1232">-7.6464840000000001</cx:pt>
          <cx:pt idx="1233">-7.5559180279999998</cx:pt>
          <cx:pt idx="1234">-7.5178708939999996</cx:pt>
          <cx:pt idx="1235">-7.4047850000000004</cx:pt>
          <cx:pt idx="1236">-7.1511884009999998</cx:pt>
          <cx:pt idx="1237">-6.7016600000000004</cx:pt>
          <cx:pt idx="1238">-7.3828129999999996</cx:pt>
          <cx:pt idx="1239">-7.7862373150000002</cx:pt>
          <cx:pt idx="1240">-8.9784904270000006</cx:pt>
          <cx:pt idx="1241">-9.0527339999999992</cx:pt>
          <cx:pt idx="1242">-5.5371090000000001</cx:pt>
          <cx:pt idx="1243">-9.0087890000000002</cx:pt>
          <cx:pt idx="1244">0.5932617</cx:pt>
          <cx:pt idx="1245">9.2065429999999999</cx:pt>
          <cx:pt idx="1246">0.63720699999999997</cx:pt>
          <cx:pt idx="1247">-9.0307619999999993</cx:pt>
          <cx:pt idx="1248">-5.2734379999999996</cx:pt>
          <cx:pt idx="1249">-4.899902</cx:pt>
          <cx:pt idx="1250">-5.3173830000000004</cx:pt>
          <cx:pt idx="1251">-6.7629463259999998</cx:pt>
          <cx:pt idx="1252">-8.5693359999999998</cx:pt>
          <cx:pt idx="1253">-5.0537109999999998</cx:pt>
          <cx:pt idx="1254">-8.5693359999999998</cx:pt>
          <cx:pt idx="1255">-1.999512</cx:pt>
          <cx:pt idx="1256">-7.1411129999999998</cx:pt>
          <cx:pt idx="1257">-5.5590820000000001</cx:pt>
          <cx:pt idx="1258">0.39550780000000002</cx:pt>
          <cx:pt idx="1259">-7.0751949999999999</cx:pt>
          <cx:pt idx="1260">-4.7900390000000002</cx:pt>
          <cx:pt idx="1261">-8.4594729999999991</cx:pt>
          <cx:pt idx="1262">-6.7675780000000003</cx:pt>
          <cx:pt idx="1263">4.0209960000000002</cx:pt>
          <cx:pt idx="1264">-5.8007809999999997</cx:pt>
          <cx:pt idx="1265">-3.6914060000000002</cx:pt>
          <cx:pt idx="1266">-8.8769530000000003</cx:pt>
          <cx:pt idx="1267">-8.8004957410000006</cx:pt>
          <cx:pt idx="1268">-8.4594729999999991</cx:pt>
          <cx:pt idx="1269">-4.9053973620000004</cx:pt>
          <cx:pt idx="1270">0.37353520000000001</cx:pt>
          <cx:pt idx="1271">7.6684570000000001</cx:pt>
          <cx:pt idx="1272">-8.1518549999999994</cx:pt>
          <cx:pt idx="1273">-6.6357419999999996</cx:pt>
          <cx:pt idx="1274">-4.6362300000000003</cx:pt>
          <cx:pt idx="1275">-9.0087890000000002</cx:pt>
          <cx:pt idx="1276">-4.5703129999999996</cx:pt>
          <cx:pt idx="1277">-5.6740869749999998</cx:pt>
          <cx:pt idx="1278">-6.1312629129999996</cx:pt>
          <cx:pt idx="1279">-7.6904300000000001</cx:pt>
          <cx:pt idx="1280">-4.5990389130000002</cx:pt>
          <cx:pt idx="1281">-3.9770509999999999</cx:pt>
          <cx:pt idx="1282">-6.4160159999999999</cx:pt>
          <cx:pt idx="1283">-5.5590820000000001</cx:pt>
          <cx:pt idx="1284">-7.1850589999999999</cx:pt>
          <cx:pt idx="1285">-6.236027483</cx:pt>
          <cx:pt idx="1286">-6.0424800000000003</cx:pt>
          <cx:pt idx="1287">-5.9106449999999997</cx:pt>
          <cx:pt idx="1288">-6.3940429999999999</cx:pt>
          <cx:pt idx="1289">1.40625</cx:pt>
          <cx:pt idx="1290">-8.5253910000000008</cx:pt>
          <cx:pt idx="1291">-4.1308590000000001</cx:pt>
          <cx:pt idx="1292">0.54931640000000004</cx:pt>
          <cx:pt idx="1293">-7.1191409999999999</cx:pt>
          <cx:pt idx="1294">-2.0214840000000001</cx:pt>
          <cx:pt idx="1295">-7.2070309999999997</cx:pt>
          <cx:pt idx="1296">-5.7788089999999999</cx:pt>
          <cx:pt idx="1297">-9.0087890000000002</cx:pt>
          <cx:pt idx="1298">-4.5043949999999997</cx:pt>
          <cx:pt idx="1299">-9.0307619999999993</cx:pt>
          <cx:pt idx="1300">-7.6749192620000004</cx:pt>
          <cx:pt idx="1301">-7.5499521510000003</cx:pt>
          <cx:pt idx="1302">-6.9433590000000001</cx:pt>
          <cx:pt idx="1303">-3.3178709999999998</cx:pt>
          <cx:pt idx="1304">-5.4711910000000001</cx:pt>
          <cx:pt idx="1305">-2.6806640000000002</cx:pt>
          <cx:pt idx="1306">-8.1079100000000004</cx:pt>
          <cx:pt idx="1307">-7.3828129999999996</cx:pt>
          <cx:pt idx="1308">0.63720699999999997</cx:pt>
          <cx:pt idx="1309">-8.7890630000000005</cx:pt>
          <cx:pt idx="1310">-4.1528320000000001</cx:pt>
          <cx:pt idx="1311">2.109375</cx:pt>
          <cx:pt idx="1312">-4.0649410000000001</cx:pt>
          <cx:pt idx="1313">-6.89327763</cx:pt>
          <cx:pt idx="1314">-7.2070309999999997</cx:pt>
          <cx:pt idx="1315">-8.1298829999999995</cx:pt>
          <cx:pt idx="1316">-4.2846679999999999</cx:pt>
          <cx:pt idx="1317">-8.8549799999999994</cx:pt>
          <cx:pt idx="1318">-3.4277340000000001</cx:pt>
          <cx:pt idx="1319">-8.9648439999999994</cx:pt>
          <cx:pt idx="1320">-2.416992</cx:pt>
          <cx:pt idx="1321">-9.0087890000000002</cx:pt>
          <cx:pt idx="1322">-8.8549799999999994</cx:pt>
          <cx:pt idx="1323">2.7246090000000001</cx:pt>
          <cx:pt idx="1324">1.4721679999999999</cx:pt>
          <cx:pt idx="1325">-5.0976559999999997</cx:pt>
          <cx:pt idx="1326">-9.0087890000000002</cx:pt>
          <cx:pt idx="1327">-9.0087890000000002</cx:pt>
          <cx:pt idx="1328">-9.0087890000000002</cx:pt>
          <cx:pt idx="1329">3.6914060000000002</cx:pt>
          <cx:pt idx="1330">-7.5805660000000001</cx:pt>
          <cx:pt idx="1331">-6.7016600000000004</cx:pt>
          <cx:pt idx="1332">-4.6690503760000004</cx:pt>
          <cx:pt idx="1333">-3.7133790000000002</cx:pt>
          <cx:pt idx="1334">-8.1079100000000004</cx:pt>
          <cx:pt idx="1335">-7.756348</cx:pt>
          <cx:pt idx="1336">1.047650263</cx:pt>
          <cx:pt idx="1337">2.8125</cx:pt>
          <cx:pt idx="1338">-5.2734379999999996</cx:pt>
          <cx:pt idx="1339">1.296387</cx:pt>
          <cx:pt idx="1340">-5.7128909999999999</cx:pt>
          <cx:pt idx="1341">-1.4941409999999999</cx:pt>
          <cx:pt idx="1342">-5.3833010000000003</cx:pt>
          <cx:pt idx="1343">-2.5927730000000002</cx:pt>
          <cx:pt idx="1344">-9.0087890000000002</cx:pt>
          <cx:pt idx="1345">-8.086537775</cx:pt>
          <cx:pt idx="1346">-6.2420353339999997</cx:pt>
          <cx:pt idx="1347">-5.8227539999999998</cx:pt>
          <cx:pt idx="1348">-5.7788089999999999</cx:pt>
          <cx:pt idx="1349">-7.1850589999999999</cx:pt>
          <cx:pt idx="1350">-5.6670601429999996</cx:pt>
          <cx:pt idx="1351">-3.3837890000000002</cx:pt>
          <cx:pt idx="1352">-8.7451170000000005</cx:pt>
          <cx:pt idx="1353">-3.0322269999999998</cx:pt>
          <cx:pt idx="1354">-9.0087890000000002</cx:pt>
          <cx:pt idx="1355">-8.8542254509999996</cx:pt>
          <cx:pt idx="1356">-8.7514404359999993</cx:pt>
          <cx:pt idx="1357">-8.700047928</cx:pt>
          <cx:pt idx="1358">-7.053223</cx:pt>
          <cx:pt idx="1359">-1.3623050000000001</cx:pt>
          <cx:pt idx="1360">-8.0200200000000006</cx:pt>
          <cx:pt idx="1361">-7.9739450789999999</cx:pt>
          <cx:pt idx="1362">-7.6278755780000003</cx:pt>
          <cx:pt idx="1363">-7.28180608</cx:pt>
          <cx:pt idx="1364">-6.6357419999999996</cx:pt>
          <cx:pt idx="1365">-6.8041514909999998</cx:pt>
          <cx:pt idx="1366">-6.8115230000000002</cx:pt>
          <cx:pt idx="1367">-7.6464840000000001</cx:pt>
          <cx:pt idx="1368">-5.8447269999999998</cx:pt>
          <cx:pt idx="1369">-6.4191086889999998</cx:pt>
          <cx:pt idx="1370">-9.0087890000000002</cx:pt>
          <cx:pt idx="1371">-4.5922850000000004</cx:pt>
          <cx:pt idx="1372">-7.2290039999999998</cx:pt>
          <cx:pt idx="1373">-3.6254879999999998</cx:pt>
          <cx:pt idx="1374">-8.7011719999999997</cx:pt>
          <cx:pt idx="1375">-8.6844641120000006</cx:pt>
          <cx:pt idx="1376">-8.6677478539999999</cx:pt>
          <cx:pt idx="1377">-7.9478354449999999</cx:pt>
          <cx:pt idx="1378">-7.2949219999999997</cx:pt>
          <cx:pt idx="1379">-4.4384769999999998</cx:pt>
          <cx:pt idx="1380">-8.9208979999999993</cx:pt>
          <cx:pt idx="1381">-5.2514649999999996</cx:pt>
          <cx:pt idx="1382">-7.9321289999999998</cx:pt>
          <cx:pt idx="1383">-6.7680991759999998</cx:pt>
          <cx:pt idx="1384">-6.4918291799999999</cx:pt>
          <cx:pt idx="1385">-5.9985350000000004</cx:pt>
          <cx:pt idx="1386">-7.5146480000000002</cx:pt>
          <cx:pt idx="1387">-4.0429690000000003</cx:pt>
          <cx:pt idx="1388">-9.0087890000000002</cx:pt>
          <cx:pt idx="1389">-6.1743160000000001</cx:pt>
          <cx:pt idx="1390">3.7353519999999998</cx:pt>
          <cx:pt idx="1391">-8.2177729999999993</cx:pt>
          <cx:pt idx="1392">-7.9418797120000004</cx:pt>
          <cx:pt idx="1393">-7.9198509990000003</cx:pt>
          <cx:pt idx="1394">-6.4941552800000002</cx:pt>
          <cx:pt idx="1395">-6.2182620000000002</cx:pt>
          <cx:pt idx="1396">-6.7047519299999996</cx:pt>
          <cx:pt idx="1397">-6.7675780000000003</cx:pt>
          <cx:pt idx="1398">-5.8227539999999998</cx:pt>
          <cx:pt idx="1399">-6.7456050000000003</cx:pt>
          <cx:pt idx="1400">-7.0802090379999996</cx:pt>
          <cx:pt idx="1401">-7.6974667569999999</cx:pt>
          <cx:pt idx="1402">-7.7227346910000003</cx:pt>
          <cx:pt idx="1403">-8.2886335649999996</cx:pt>
          <cx:pt idx="1404">-9.0087890000000002</cx:pt>
          <cx:pt idx="1405">-6.1324820300000003</cx:pt>
          <cx:pt idx="1406">-5.467799469</cx:pt>
          <cx:pt idx="1407">-5.2467919670000001</cx:pt>
          <cx:pt idx="1408">-2.8125</cx:pt>
          <cx:pt idx="1409">-8.8769530000000003</cx:pt>
          <cx:pt idx="1410">-7.279102398</cx:pt>
          <cx:pt idx="1411">-7.1514609870000001</cx:pt>
          <cx:pt idx="1412">-6.7675780000000003</cx:pt>
          <cx:pt idx="1413">-4.0429690000000003</cx:pt>
          <cx:pt idx="1414">-7.3828129999999996</cx:pt>
          <cx:pt idx="1415">-7.2575026649999996</cx:pt>
          <cx:pt idx="1416">-7.0075351570000004</cx:pt>
          <cx:pt idx="1417">-5.7568359999999998</cx:pt>
          <cx:pt idx="1418">3.7792970000000001</cx:pt>
          <cx:pt idx="1419">-3.9550779999999999</cx:pt>
          <cx:pt idx="1420">-4.6362300000000003</cx:pt>
          <cx:pt idx="1421">-9.0087890000000002</cx:pt>
          <cx:pt idx="1422">-5.5093069159999999</cx:pt>
          <cx:pt idx="1423">-5.2954100000000004</cx:pt>
          <cx:pt idx="1424">-9.0087890000000002</cx:pt>
          <cx:pt idx="1425">-8.728327707</cx:pt>
          <cx:pt idx="1426">-8.2235553459999995</cx:pt>
          <cx:pt idx="1427">-5.9985350000000004</cx:pt>
          <cx:pt idx="1428">-7.2509769999999998</cx:pt>
          <cx:pt idx="1429">-6.9204655529999997</cx:pt>
          <cx:pt idx="1430">-6.816125102</cx:pt>
          <cx:pt idx="1431">-6.4856223530000001</cx:pt>
          <cx:pt idx="1432">-5.9985350000000004</cx:pt>
          <cx:pt idx="1433">-6.306152</cx:pt>
          <cx:pt idx="1434">-8.5822218960000001</cx:pt>
          <cx:pt idx="1435">-8.7231450000000006</cx:pt>
          <cx:pt idx="1436">-6.3440954490000001</cx:pt>
          <cx:pt idx="1437">-4.8120120000000002</cx:pt>
          <cx:pt idx="1438">-8.3496089999999992</cx:pt>
          <cx:pt idx="1439">-7.6527924479999996</cx:pt>
          <cx:pt idx="1440">-7.6245120000000002</cx:pt>
          <cx:pt idx="1441">-4.9877929999999999</cx:pt>
          <cx:pt idx="1442">-6.1458888370000002</cx:pt>
          <cx:pt idx="1443">-7.2949219999999997</cx:pt>
          <cx:pt idx="1444">-5.5810550000000001</cx:pt>
          <cx:pt idx="1445">-6.6722003750000001</cx:pt>
          <cx:pt idx="1446">-6.8277444740000002</cx:pt>
          <cx:pt idx="1447">-9.0087890000000002</cx:pt>
          <cx:pt idx="1448">-5.8447269999999998</cx:pt>
          <cx:pt idx="1449">-8.8110350000000004</cx:pt>
          <cx:pt idx="1450">-6.5478519999999998</cx:pt>
          <cx:pt idx="1451">-7.9762349649999997</cx:pt>
          <cx:pt idx="1452">-9.0087890000000002</cx:pt>
          <cx:pt idx="1453">5.8666989999999997</cx:pt>
          <cx:pt idx="1454">-8.9868159999999992</cx:pt>
          <cx:pt idx="1455">-8.1298842859999993</cx:pt>
          <cx:pt idx="1456">-7.8442379999999998</cx:pt>
          <cx:pt idx="1457">-8.9868159999999992</cx:pt>
          <cx:pt idx="1458">-1.3403320000000001</cx:pt>
          <cx:pt idx="1459">-8.9868159999999992</cx:pt>
          <cx:pt idx="1460">-8.9972183890000004</cx:pt>
          <cx:pt idx="1461">-8.9979912280000001</cx:pt>
          <cx:pt idx="1462">-9.0153404940000001</cx:pt>
          <cx:pt idx="1463">-9.0176532280000004</cx:pt>
          <cx:pt idx="1464">-9.0180380089999996</cx:pt>
          <cx:pt idx="1465">-9.0207386090000004</cx:pt>
          <cx:pt idx="1466">-9.0211295590000002</cx:pt>
          <cx:pt idx="1467">-9.0307619999999993</cx:pt>
          <cx:pt idx="1468">-4.921875</cx:pt>
          <cx:pt idx="1469">-0.43945309999999999</cx:pt>
          <cx:pt idx="1470">-9.0087890000000002</cx:pt>
          <cx:pt idx="1471">-8.1094708969999996</cx:pt>
          <cx:pt idx="1472">-8.0275158530000006</cx:pt>
          <cx:pt idx="1473">-7.2509769999999998</cx:pt>
          <cx:pt idx="1474">2.0214840000000001</cx:pt>
          <cx:pt idx="1475">-9.0307619999999993</cx:pt>
          <cx:pt idx="1476">-9.0307619999999993</cx:pt>
          <cx:pt idx="1477">-9.0307619999999993</cx:pt>
          <cx:pt idx="1478">-9.0307619999999993</cx:pt>
          <cx:pt idx="1479">-9.0307619999999993</cx:pt>
          <cx:pt idx="1480">-9.0307619999999993</cx:pt>
          <cx:pt idx="1481">-9.0307619999999993</cx:pt>
          <cx:pt idx="1482">-9.0307619999999993</cx:pt>
          <cx:pt idx="1483">-0.50537109999999996</cx:pt>
          <cx:pt idx="1484">-9.0087890000000002</cx:pt>
          <cx:pt idx="1485">-8.3879997700000004</cx:pt>
          <cx:pt idx="1486">-7.053223</cx:pt>
          <cx:pt idx="1487">-8.0404079300000006</cx:pt>
          <cx:pt idx="1488">-9.0307619999999993</cx:pt>
          <cx:pt idx="1489">-6.8334960000000002</cx:pt>
          <cx:pt idx="1490">-7.9541019999999998</cx:pt>
          <cx:pt idx="1491">-1.032715</cx:pt>
          <cx:pt idx="1492">-1.3183590000000001</cx:pt>
          <cx:pt idx="1493">-7.009277</cx:pt>
          <cx:pt idx="1494">-7.0856592799999998</cx:pt>
          <cx:pt idx="1495">-7.0902161970000002</cx:pt>
          <cx:pt idx="1496">-7.3338022609999998</cx:pt>
          <cx:pt idx="1497">-7.3552903250000004</cx:pt>
          <cx:pt idx="1498">-7.3597753380000004</cx:pt>
          <cx:pt idx="1499">-7.4047850000000004</cx:pt>
          <cx:pt idx="1500">-0.41748049999999998</cx:pt>
          <cx:pt idx="1501">-8.5473630000000007</cx:pt>
          <cx:pt idx="1502">-5.8159555120000004</cx:pt>
          <cx:pt idx="1503">-5.4052730000000002</cx:pt>
          <cx:pt idx="1504">-4.5043949999999997</cx:pt>
          <cx:pt idx="1505">-9.0307619999999993</cx:pt>
          <cx:pt idx="1506">-8.354979385</cx:pt>
          <cx:pt idx="1507">2.8784179999999999</cx:pt>
          <cx:pt idx="1508">-8.8110350000000004</cx:pt>
          <cx:pt idx="1509">-8.7688642629999993</cx:pt>
          <cx:pt idx="1510">-8.5654440790000006</cx:pt>
          <cx:pt idx="1511">-8.5034179999999999</cx:pt>
          <cx:pt idx="1512">-1.384277</cx:pt>
          <cx:pt idx="1513">-9.0087890000000002</cx:pt>
          <cx:pt idx="1514">-9.0111492420000001</cx:pt>
          <cx:pt idx="1515">-9.0307619999999993</cx:pt>
          <cx:pt idx="1516">-2.3071290000000002</cx:pt>
          <cx:pt idx="1517">-8.9868159999999992</cx:pt>
          <cx:pt idx="1518">-8.6384508479999997</cx:pt>
          <cx:pt idx="1519">-8.4155270000000009</cx:pt>
          <cx:pt idx="1520">-1.8676759999999999</cx:pt>
          <cx:pt idx="1521">-8.3935549999999992</cx:pt>
          <cx:pt idx="1522">-9.0307619999999993</cx:pt>
          <cx:pt idx="1523">-5.3393550000000003</cx:pt>
          <cx:pt idx="1524">-9.0087890000000002</cx:pt>
          <cx:pt idx="1525">2.416992</cx:pt>
          <cx:pt idx="1526">-8.0419920000000005</cx:pt>
          <cx:pt idx="1527">-8.9648439999999994</cx:pt>
          <cx:pt idx="1528">-1.428223</cx:pt>
          <cx:pt idx="1529">8.6572270000000007</cx:pt>
          <cx:pt idx="1530">-3.2739259999999999</cx:pt>
          <cx:pt idx="1531">-7.9980469999999997</cx:pt>
          <cx:pt idx="1532">-7.8002929999999999</cx:pt>
          <cx:pt idx="1533">-7.2070309999999997</cx:pt>
          <cx:pt idx="1534">-9.0087890000000002</cx:pt>
          <cx:pt idx="1535">5.1855469999999997</cx:pt>
          <cx:pt idx="1536">-8.9868159999999992</cx:pt>
          <cx:pt idx="1537">-8.9993045590000005</cx:pt>
          <cx:pt idx="1538">-9.0038013699999997</cx:pt>
          <cx:pt idx="1539">-9.0087890000000002</cx:pt>
          <cx:pt idx="1540">1.6699219999999999</cx:pt>
          <cx:pt idx="1541">-9.0087890000000002</cx:pt>
          <cx:pt idx="1542">-9.009961401</cx:pt>
          <cx:pt idx="1543">-9.0106543220000006</cx:pt>
          <cx:pt idx="1544">-9.0293797819999995</cx:pt>
          <cx:pt idx="1545">-9.0307619999999993</cx:pt>
          <cx:pt idx="1546">-3.4277340000000001</cx:pt>
          <cx:pt idx="1547">-9.0087890000000002</cx:pt>
          <cx:pt idx="1548">-8.8785524480000007</cx:pt>
          <cx:pt idx="1549">-6.9334713089999997</cx:pt>
          <cx:pt idx="1550">-6.7782402590000004</cx:pt>
          <cx:pt idx="1551">-6.1743160000000001</cx:pt>
          <cx:pt idx="1552">-3.4057620000000002</cx:pt>
          <cx:pt idx="1553">-7.3828129999999996</cx:pt>
          <cx:pt idx="1554">-7.8594734849999996</cx:pt>
          <cx:pt idx="1555">-9.0087890000000002</cx:pt>
          <cx:pt idx="1556">12.612299999999999</cx:pt>
          <cx:pt idx="1557">-8.3715820000000001</cx:pt>
          <cx:pt idx="1558">-5.5151370000000002</cx:pt>
          <cx:pt idx="1559">-9.0087890000000002</cx:pt>
          <cx:pt idx="1560">-9.0087890000000002</cx:pt>
          <cx:pt idx="1561">-9.0087890000000002</cx:pt>
          <cx:pt idx="1562">-9.0087890000000002</cx:pt>
          <cx:pt idx="1563">-0.1098633</cx:pt>
          <cx:pt idx="1564">-5.7568359999999998</cx:pt>
          <cx:pt idx="1565">-3.0761720000000001</cx:pt>
          <cx:pt idx="1566">-7.6245120000000002</cx:pt>
          <cx:pt idx="1567">-5.0756839999999999</cx:pt>
          <cx:pt idx="1568">-8.5253910000000008</cx:pt>
          <cx:pt idx="1569">-7.6065054710000002</cx:pt>
          <cx:pt idx="1570">-5.8447269999999998</cx:pt>
          <cx:pt idx="1571">-7.1235202749999997</cx:pt>
          <cx:pt idx="1572">-8.5913090000000008</cx:pt>
          <cx:pt idx="1573">-1.296387</cx:pt>
          <cx:pt idx="1574">-3.4961769930000002</cx:pt>
          <cx:pt idx="1575">-8.0200200000000006</cx:pt>
          <cx:pt idx="1576">-7.9826642420000002</cx:pt>
          <cx:pt idx="1577">-6.8181844439999999</cx:pt>
          <cx:pt idx="1578">-5.8227539999999998</cx:pt>
          <cx:pt idx="1579">-8.3935549999999992</cx:pt>
          <cx:pt idx="1580">-5.8666989999999997</cx:pt>
          <cx:pt idx="1581">-7.1411129999999998</cx:pt>
          <cx:pt idx="1582">-7.8376042540000004</cx:pt>
          <cx:pt idx="1583">-9.0087890000000002</cx:pt>
          <cx:pt idx="1584">-4.2846679999999999</cx:pt>
          <cx:pt idx="1585">-6.9433590000000001</cx:pt>
          <cx:pt idx="1586">-7.4693409300000004</cx:pt>
          <cx:pt idx="1587">-7.4892246269999996</cx:pt>
          <cx:pt idx="1588">-8.2990323949999993</cx:pt>
          <cx:pt idx="1589">-8.5620233599999995</cx:pt>
          <cx:pt idx="1590">-8.8652674260000008</cx:pt>
          <cx:pt idx="1591">-8.9868159999999992</cx:pt>
          <cx:pt idx="1592">-5.7729783829999999</cx:pt>
          <cx:pt idx="1593">-4.5922850000000004</cx:pt>
          <cx:pt idx="1594">-9.0087890000000002</cx:pt>
          <cx:pt idx="1595">-9.0087890000000002</cx:pt>
          <cx:pt idx="1596">0.703125</cx:pt>
          <cx:pt idx="1597">-4.4145236150000002</cx:pt>
          <cx:pt idx="1598">-7.8002929999999999</cx:pt>
          <cx:pt idx="1599">-6.5917969999999997</cx:pt>
          <cx:pt idx="1600">-7.0864715599999997</cx:pt>
          <cx:pt idx="1601">-7.1451046690000002</cx:pt>
          <cx:pt idx="1602">-7.3828129999999996</cx:pt>
          <cx:pt idx="1603">-6.306152</cx:pt>
          <cx:pt idx="1604">-6.2693505949999997</cx:pt>
          <cx:pt idx="1605">-6.2232130269999999</cx:pt>
          <cx:pt idx="1606">-6.1233239529999999</cx:pt>
          <cx:pt idx="1607">-6.1083980000000002</cx:pt>
          <cx:pt idx="1608">-2.7685550000000001</cx:pt>
          <cx:pt idx="1609">-5.7128909999999999</cx:pt>
          <cx:pt idx="1610">-9.0087890000000002</cx:pt>
          <cx:pt idx="1611">-6.6633779799999999</cx:pt>
          <cx:pt idx="1612">-6.5698239999999997</cx:pt>
          <cx:pt idx="1613">-7.7766233339999999</cx:pt>
          <cx:pt idx="1614">-8.1807152339999991</cx:pt>
          <cx:pt idx="1615">-8.9868159999999992</cx:pt>
          <cx:pt idx="1616">-4.3286129999999998</cx:pt>
          <cx:pt idx="1617">-9.0087890000000002</cx:pt>
          <cx:pt idx="1618">-8.9785243030000004</cx:pt>
          <cx:pt idx="1619">-8.6257989829999993</cx:pt>
          <cx:pt idx="1620">-8.3946061259999993</cx:pt>
          <cx:pt idx="1621">-8.2836909999999992</cx:pt>
          <cx:pt idx="1622">2.8125</cx:pt>
          <cx:pt idx="1623">-9.0307619999999993</cx:pt>
          <cx:pt idx="1624">-8.9868159999999992</cx:pt>
          <cx:pt idx="1625">0.087890629999999997</cx:pt>
          <cx:pt idx="1626">-7.756348</cx:pt>
          <cx:pt idx="1627">-5.9545899999999996</cx:pt>
          <cx:pt idx="1628">-8.9868159999999992</cx:pt>
          <cx:pt idx="1629">-6.3811044309999998</cx:pt>
          <cx:pt idx="1630">-5.5151370000000002</cx:pt>
          <cx:pt idx="1631">-9.0087890000000002</cx:pt>
          <cx:pt idx="1632">-9.0087890000000002</cx:pt>
          <cx:pt idx="1633">-9.0087890000000002</cx:pt>
          <cx:pt idx="1634">-9.0087890000000002</cx:pt>
          <cx:pt idx="1635">-9.0087890000000002</cx:pt>
          <cx:pt idx="1636">-9.0087890000000002</cx:pt>
          <cx:pt idx="1637">-9.0087890000000002</cx:pt>
          <cx:pt idx="1638">-9.0087890000000002</cx:pt>
          <cx:pt idx="1639">-9.0087890000000002</cx:pt>
          <cx:pt idx="1640">-9.0087890000000002</cx:pt>
          <cx:pt idx="1641">-9.0087890000000002</cx:pt>
          <cx:pt idx="1642">-4.5922850000000004</cx:pt>
          <cx:pt idx="1643">-9.0087890000000002</cx:pt>
          <cx:pt idx="1644">-7.9101559999999997</cx:pt>
          <cx:pt idx="1645">-8.5228351720000006</cx:pt>
          <cx:pt idx="1646">-8.9752938869999994</cx:pt>
          <cx:pt idx="1647">-9.0087890000000002</cx:pt>
          <cx:pt idx="1648">0.19775390000000001</cx:pt>
          <cx:pt idx="1649">-9.0307619999999993</cx:pt>
          <cx:pt idx="1650">-6.328125</cx:pt>
          <cx:pt idx="1651">-7.2729775940000003</cx:pt>
          <cx:pt idx="1652">-7.846810176</cx:pt>
          <cx:pt idx="1653">-7.9321289999999998</cx:pt>
          <cx:pt idx="1654">-4.1308590000000001</cx:pt>
          <cx:pt idx="1655">-9.0087890000000002</cx:pt>
          <cx:pt idx="1656">-9.0087890000000002</cx:pt>
          <cx:pt idx="1657">-9.0087890000000002</cx:pt>
          <cx:pt idx="1658">-9.0087890000000002</cx:pt>
          <cx:pt idx="1659">-9.0087890000000002</cx:pt>
          <cx:pt idx="1660">-9.0087890000000002</cx:pt>
          <cx:pt idx="1661">-9.0087890000000002</cx:pt>
          <cx:pt idx="1662">-9.0087890000000002</cx:pt>
          <cx:pt idx="1663">-9.0087890000000002</cx:pt>
          <cx:pt idx="1664">-9.0087890000000002</cx:pt>
          <cx:pt idx="1665">-9.0087890000000002</cx:pt>
          <cx:pt idx="1666">-9.0087890000000002</cx:pt>
          <cx:pt idx="1667">-9.0087890000000002</cx:pt>
          <cx:pt idx="1668">-9.0087890000000002</cx:pt>
          <cx:pt idx="1669">-9.0087890000000002</cx:pt>
          <cx:pt idx="1670">-9.0087890000000002</cx:pt>
          <cx:pt idx="1671">-9.0087890000000002</cx:pt>
          <cx:pt idx="1672">-9.0087890000000002</cx:pt>
          <cx:pt idx="1673">-9.0087890000000002</cx:pt>
          <cx:pt idx="1674">-9.0087890000000002</cx:pt>
          <cx:pt idx="1675">-9.0087890000000002</cx:pt>
          <cx:pt idx="1676">-9.0087890000000002</cx:pt>
          <cx:pt idx="1677">-9.0087890000000002</cx:pt>
          <cx:pt idx="1678">-9.0087890000000002</cx:pt>
          <cx:pt idx="1679">-9.0087890000000002</cx:pt>
          <cx:pt idx="1680">-9.0087890000000002</cx:pt>
          <cx:pt idx="1681">-9.0087890000000002</cx:pt>
          <cx:pt idx="1682">-9.0087890000000002</cx:pt>
          <cx:pt idx="1683">-9.0087890000000002</cx:pt>
          <cx:pt idx="1684">-9.0087890000000002</cx:pt>
          <cx:pt idx="1685">-9.0087890000000002</cx:pt>
          <cx:pt idx="1686">-9.0087890000000002</cx:pt>
          <cx:pt idx="1687">-9.0087890000000002</cx:pt>
          <cx:pt idx="1688">-9.0087890000000002</cx:pt>
          <cx:pt idx="1689">-9.0087890000000002</cx:pt>
          <cx:pt idx="1690">-9.0087890000000002</cx:pt>
          <cx:pt idx="1691">-9.0087890000000002</cx:pt>
          <cx:pt idx="1692">-9.0087890000000002</cx:pt>
          <cx:pt idx="1693">-9.0087890000000002</cx:pt>
          <cx:pt idx="1694">-9.0087890000000002</cx:pt>
          <cx:pt idx="1695">-9.0087890000000002</cx:pt>
          <cx:pt idx="1696">-9.0087890000000002</cx:pt>
          <cx:pt idx="1697">-9.0087890000000002</cx:pt>
          <cx:pt idx="1698">-9.0087890000000002</cx:pt>
          <cx:pt idx="1699">-9.0087890000000002</cx:pt>
          <cx:pt idx="1700">-9.0087890000000002</cx:pt>
          <cx:pt idx="1701">-9.0087890000000002</cx:pt>
          <cx:pt idx="1702">-9.0087890000000002</cx:pt>
          <cx:pt idx="1703">-9.0087890000000002</cx:pt>
          <cx:pt idx="1704">-9.0087890000000002</cx:pt>
          <cx:pt idx="1705">-9.0087890000000002</cx:pt>
          <cx:pt idx="1706">-9.0087890000000002</cx:pt>
          <cx:pt idx="1707">-9.0087890000000002</cx:pt>
          <cx:pt idx="1708">-9.0087890000000002</cx:pt>
          <cx:pt idx="1709">-9.0087890000000002</cx:pt>
          <cx:pt idx="1710">-9.0087890000000002</cx:pt>
          <cx:pt idx="1711">-9.0087890000000002</cx:pt>
          <cx:pt idx="1712">-9.0087890000000002</cx:pt>
          <cx:pt idx="1713">-9.0087890000000002</cx:pt>
          <cx:pt idx="1714">-9.0087890000000002</cx:pt>
          <cx:pt idx="1715">-9.0087890000000002</cx:pt>
          <cx:pt idx="1716">-9.0087890000000002</cx:pt>
          <cx:pt idx="1717">-9.0087890000000002</cx:pt>
          <cx:pt idx="1718">-9.0087890000000002</cx:pt>
          <cx:pt idx="1719">-9.0087890000000002</cx:pt>
          <cx:pt idx="1720">-9.0087890000000002</cx:pt>
          <cx:pt idx="1721">-9.0087890000000002</cx:pt>
          <cx:pt idx="1722">-9.0087890000000002</cx:pt>
          <cx:pt idx="1723">-9.0087890000000002</cx:pt>
          <cx:pt idx="1724">-9.0087890000000002</cx:pt>
          <cx:pt idx="1725">-9.0087890000000002</cx:pt>
          <cx:pt idx="1726">-9.0087890000000002</cx:pt>
          <cx:pt idx="1727">-9.0087890000000002</cx:pt>
          <cx:pt idx="1728">-9.0087890000000002</cx:pt>
          <cx:pt idx="1729">-9.0087890000000002</cx:pt>
          <cx:pt idx="1730">-9.0087890000000002</cx:pt>
          <cx:pt idx="1731">-9.0087890000000002</cx:pt>
          <cx:pt idx="1732">-9.0087890000000002</cx:pt>
          <cx:pt idx="1733">-9.0087890000000002</cx:pt>
          <cx:pt idx="1734">-9.0087890000000002</cx:pt>
          <cx:pt idx="1735">-9.0087890000000002</cx:pt>
          <cx:pt idx="1736">-9.0087890000000002</cx:pt>
          <cx:pt idx="1737">-9.0087890000000002</cx:pt>
          <cx:pt idx="1738">-9.0087890000000002</cx:pt>
          <cx:pt idx="1739">-9.0087890000000002</cx:pt>
          <cx:pt idx="1740">-9.0087890000000002</cx:pt>
          <cx:pt idx="1741">-9.0087890000000002</cx:pt>
          <cx:pt idx="1742">-9.0087890000000002</cx:pt>
          <cx:pt idx="1743">-9.0087890000000002</cx:pt>
          <cx:pt idx="1744">-9.0087890000000002</cx:pt>
          <cx:pt idx="1745">-9.0087890000000002</cx:pt>
          <cx:pt idx="1746">-9.0087890000000002</cx:pt>
          <cx:pt idx="1747">-9.0087890000000002</cx:pt>
          <cx:pt idx="1748">-9.0087890000000002</cx:pt>
          <cx:pt idx="1749">-9.0087890000000002</cx:pt>
          <cx:pt idx="1750">-9.0087890000000002</cx:pt>
          <cx:pt idx="1751">-9.0087890000000002</cx:pt>
          <cx:pt idx="1752">-9.0087890000000002</cx:pt>
          <cx:pt idx="1753">-9.0087890000000002</cx:pt>
          <cx:pt idx="1754">-9.0087890000000002</cx:pt>
          <cx:pt idx="1755">-9.0087890000000002</cx:pt>
          <cx:pt idx="1756">-9.0087890000000002</cx:pt>
          <cx:pt idx="1757">-9.0087890000000002</cx:pt>
          <cx:pt idx="1758">-9.0087890000000002</cx:pt>
          <cx:pt idx="1759">-9.0087890000000002</cx:pt>
          <cx:pt idx="1760">-9.0087890000000002</cx:pt>
          <cx:pt idx="1761">-9.0087890000000002</cx:pt>
          <cx:pt idx="1762">-9.0087890000000002</cx:pt>
          <cx:pt idx="1763">-9.0087890000000002</cx:pt>
          <cx:pt idx="1764">-9.0087890000000002</cx:pt>
          <cx:pt idx="1765">-9.0087890000000002</cx:pt>
          <cx:pt idx="1766">-9.0087890000000002</cx:pt>
          <cx:pt idx="1767">-9.0087890000000002</cx:pt>
          <cx:pt idx="1768">-9.0087890000000002</cx:pt>
          <cx:pt idx="1769">-9.0087890000000002</cx:pt>
          <cx:pt idx="1770">-9.0087890000000002</cx:pt>
          <cx:pt idx="1771">-9.0087890000000002</cx:pt>
          <cx:pt idx="1772">-9.0087890000000002</cx:pt>
          <cx:pt idx="1773">-9.0087890000000002</cx:pt>
          <cx:pt idx="1774">-9.0087890000000002</cx:pt>
          <cx:pt idx="1775">-9.0087890000000002</cx:pt>
          <cx:pt idx="1776">-9.0087890000000002</cx:pt>
          <cx:pt idx="1777">-9.0087890000000002</cx:pt>
          <cx:pt idx="1778">-9.0087890000000002</cx:pt>
          <cx:pt idx="1779">-9.0087890000000002</cx:pt>
          <cx:pt idx="1780">-9.0087890000000002</cx:pt>
          <cx:pt idx="1781">-9.0087890000000002</cx:pt>
          <cx:pt idx="1782">-9.0087890000000002</cx:pt>
          <cx:pt idx="1783">-9.0087890000000002</cx:pt>
          <cx:pt idx="1784">-9.0087890000000002</cx:pt>
          <cx:pt idx="1785">-9.0087890000000002</cx:pt>
          <cx:pt idx="1786">-9.0087890000000002</cx:pt>
          <cx:pt idx="1787">-9.0087890000000002</cx:pt>
          <cx:pt idx="1788">-9.0087890000000002</cx:pt>
          <cx:pt idx="1789">-9.0087890000000002</cx:pt>
          <cx:pt idx="1790">-9.0087890000000002</cx:pt>
          <cx:pt idx="1791">-9.0087890000000002</cx:pt>
          <cx:pt idx="1792">-9.0087890000000002</cx:pt>
          <cx:pt idx="1793">-9.0087890000000002</cx:pt>
          <cx:pt idx="1794">-9.0087890000000002</cx:pt>
          <cx:pt idx="1795">-9.0087890000000002</cx:pt>
          <cx:pt idx="1796">-9.0087890000000002</cx:pt>
          <cx:pt idx="1797">-9.0087890000000002</cx:pt>
          <cx:pt idx="1798">-9.0087890000000002</cx:pt>
          <cx:pt idx="1799">-9.0087890000000002</cx:pt>
          <cx:pt idx="1800">-9.0087890000000002</cx:pt>
          <cx:pt idx="1801">-9.0087890000000002</cx:pt>
          <cx:pt idx="1802">-9.0087890000000002</cx:pt>
          <cx:pt idx="1803">-9.0087890000000002</cx:pt>
          <cx:pt idx="1804">-9.0087890000000002</cx:pt>
          <cx:pt idx="1805">-9.0087890000000002</cx:pt>
          <cx:pt idx="1806">-9.0087890000000002</cx:pt>
          <cx:pt idx="1807">-9.0087890000000002</cx:pt>
          <cx:pt idx="1808">-9.0087890000000002</cx:pt>
          <cx:pt idx="1809">-9.0087890000000002</cx:pt>
          <cx:pt idx="1810">-9.0087890000000002</cx:pt>
          <cx:pt idx="1811">-9.0087890000000002</cx:pt>
          <cx:pt idx="1812">-6.5509322069999998</cx:pt>
          <cx:pt idx="1813">-4.0155641209999997</cx:pt>
          <cx:pt idx="1814">-1.5377046830000001</cx:pt>
          <cx:pt idx="1815">-0.73883882499999998</cx:pt>
          <cx:pt idx="1816">3.513028249</cx:pt>
          <cx:pt idx="1817">5.9908879849999996</cx:pt>
          <cx:pt idx="1818">8.4862501849999994</cx:pt>
          <cx:pt idx="1819">10.96410962</cx:pt>
          <cx:pt idx="1820">13.46072191</cx:pt>
          <cx:pt idx="1821">15.996090000000001</cx:pt>
          <cx:pt idx="1822">-6.4160159999999999</cx:pt>
          <cx:pt idx="1823">-6.0763904039999996</cx:pt>
          <cx:pt idx="1824">-5.7444683870000004</cx:pt>
          <cx:pt idx="1825">-5.4023307899999997</cx:pt>
          <cx:pt idx="1826">-4.7413336700000004</cx:pt>
          <cx:pt idx="1827">-4.4042201150000002</cx:pt>
          <cx:pt idx="1828">-4.06459452</cx:pt>
          <cx:pt idx="1829">-3.9549028320000001</cx:pt>
          <cx:pt idx="1830">-3.7353519999999998</cx:pt>
          <cx:pt idx="1831">-2.3079425250000001</cx:pt>
          <cx:pt idx="1832">-0.85693359999999996</cx:pt>
          <cx:pt idx="1833">-8.9648439999999994</cx:pt>
          <cx:pt idx="1834">0.76904300000000003</cx:pt>
          <cx:pt idx="1835">16.660410649999999</cx:pt>
          <cx:pt idx="1836">32.058109999999999</cx:pt>
          <cx:pt idx="1837">36.345971830000003</cx:pt>
          <cx:pt idx="1838">44.956049999999998</cx:pt>
          <cx:pt idx="1839">45.434376790000002</cx:pt>
          <cx:pt idx="1840">45.438180590000002</cx:pt>
          <cx:pt idx="1841">45.905333710000001</cx:pt>
          <cx:pt idx="1842">46.380094419999999</cx:pt>
          <cx:pt idx="1843">46.858658929999997</cx:pt>
          <cx:pt idx="1844">47.815550229999999</cx:pt>
          <cx:pt idx="1845">48.282703349999998</cx:pt>
          <cx:pt idx="1846">50.185549999999999</cx:pt>
          <cx:pt idx="1847">50.134600239999997</cx:pt>
          <cx:pt idx="1848">50.083624950000001</cx:pt>
          <cx:pt idx="1849">49.981265960000002</cx:pt>
          <cx:pt idx="1850">49.929116479999998</cx:pt>
          <cx:pt idx="1851">49.878524079999998</cx:pt>
          <cx:pt idx="1852">49.77659903</cx:pt>
          <cx:pt idx="1853">49.726006630000001</cx:pt>
          <cx:pt idx="1854">49.675056869999999</cx:pt>
          <cx:pt idx="1855">49.572315000000003</cx:pt>
          <cx:pt idx="1856">49.521722590000003</cx:pt>
          <cx:pt idx="1857">49.47074731</cx:pt>
          <cx:pt idx="1858">49.419797539999998</cx:pt>
          <cx:pt idx="1859">49.368005429999997</cx:pt>
          <cx:pt idx="1860">49.317846969999998</cx:pt>
          <cx:pt idx="1861">49.266080379999998</cx:pt>
          <cx:pt idx="1862">49.164538219999997</cx:pt>
          <cx:pt idx="1863">49.112746100000003</cx:pt>
          <cx:pt idx="1864">49.062179229999998</cx:pt>
          <cx:pt idx="1865">49.011203940000001</cx:pt>
          <cx:pt idx="1866">48.908462059999998</cx:pt>
          <cx:pt idx="1867">48.858303599999999</cx:pt>
          <cx:pt idx="1868">48.80653702</cx:pt>
          <cx:pt idx="1869">48.704969329999997</cx:pt>
          <cx:pt idx="1870">48.654019560000002</cx:pt>
          <cx:pt idx="1871">48.602227450000001</cx:pt>
          <cx:pt idx="1872">48.552068990000002</cx:pt>
          <cx:pt idx="1873">48.449710000000003</cx:pt>
          <cx:pt idx="1874">51.789549999999998</cx:pt>
          <cx:pt idx="1875">51.301362599999997</cx:pt>
          <cx:pt idx="1876">50.816871689999999</cx:pt>
          <cx:pt idx="1877">48.833071269999998</cx:pt>
          <cx:pt idx="1878">48.344883869999997</cx:pt>
          <cx:pt idx="1879">47.856450000000002</cx:pt>
          <cx:pt idx="1880">51.350099999999998</cx:pt>
          <cx:pt idx="1881">50.837685829999998</cx:pt>
          <cx:pt idx="1882">49.796168129999998</cx:pt>
          <cx:pt idx="1883">49.271236940000001</cx:pt>
          <cx:pt idx="1884">48.742394169999997</cx:pt>
          <cx:pt idx="1885">48.229979999999998</cx:pt>
          <cx:pt idx="1886">48.264724370000003</cx:pt>
          <cx:pt idx="1887">48.281833280000001</cx:pt>
          <cx:pt idx="1888">48.299339269999997</cx:pt>
          <cx:pt idx="1889">48.333539819999999</cx:pt>
          <cx:pt idx="1890">48.350916320000003</cx:pt>
          <cx:pt idx="1891">48.36842231</cx:pt>
          <cx:pt idx="1892">48.402899089999998</cx:pt>
          <cx:pt idx="1893">48.419861249999997</cx:pt>
          <cx:pt idx="1894">48.43736723</cx:pt>
          <cx:pt idx="1895">48.471705900000003</cx:pt>
          <cx:pt idx="1896">48.489350000000002</cx:pt>
          <cx:pt idx="1897">48.506450270000002</cx:pt>
          <cx:pt idx="1898">48.540927050000001</cx:pt>
          <cx:pt idx="1899">48.558027330000002</cx:pt>
          <cx:pt idx="1900">48.575541940000001</cx:pt>
          <cx:pt idx="1901">48.592504099999999</cx:pt>
          <cx:pt idx="1902">48.661587140000002</cx:pt>
          <cx:pt idx="1903">48.678825529999997</cx:pt>
          <cx:pt idx="1904">48.696331520000001</cx:pt>
          <cx:pt idx="1905">48.730670179999997</cx:pt>
          <cx:pt idx="1906">48.748176170000001</cx:pt>
          <cx:pt idx="1907">48.765146960000003</cx:pt>
          <cx:pt idx="1908">48.78252346</cx:pt>
          <cx:pt idx="1909">48.799891340000002</cx:pt>
          <cx:pt idx="1910">48.816991610000002</cx:pt>
          <cx:pt idx="1911">48.834497599999999</cx:pt>
          <cx:pt idx="1912">48.868974369999997</cx:pt>
          <cx:pt idx="1913">48.886074649999998</cx:pt>
          <cx:pt idx="1914">48.903589269999998</cx:pt>
          <cx:pt idx="1915">48.920551430000003</cx:pt>
          <cx:pt idx="1916">48.937789819999999</cx:pt>
          <cx:pt idx="1917">48.955166319999996</cx:pt>
          <cx:pt idx="1918">48.972396080000003</cx:pt>
          <cx:pt idx="1919">48.989634469999999</cx:pt>
          <cx:pt idx="1920">49.024378839999997</cx:pt>
          <cx:pt idx="1921">49.04134964</cx:pt>
          <cx:pt idx="1922">49.058993729999997</cx:pt>
          <cx:pt idx="1923">49.081480470000002</cx:pt>
          <cx:pt idx="1924">49.09346188</cx:pt>
          <cx:pt idx="1925">49.110432670000002</cx:pt>
          <cx:pt idx="1926">49.127938659999998</cx:pt>
          <cx:pt idx="1927">49.196892220000002</cx:pt>
          <cx:pt idx="1928">49.33532589</cx:pt>
          <cx:pt idx="1929">49.352426170000001</cx:pt>
          <cx:pt idx="1930">49.369396960000003</cx:pt>
          <cx:pt idx="1931">49.40400322</cx:pt>
          <cx:pt idx="1932">49.421509210000004</cx:pt>
          <cx:pt idx="1933">49.438479999999998</cx:pt>
          <cx:pt idx="1934">46.010739999999998</cx:pt>
          <cx:pt idx="1935">46.172119330000001</cx:pt>
          <cx:pt idx="1936">46.252507090000002</cx:pt>
          <cx:pt idx="1937">46.334746549999998</cx:pt>
          <cx:pt idx="1938">46.494274179999998</cx:pt>
          <cx:pt idx="1939">46.57590982</cx:pt>
          <cx:pt idx="1940">46.655049699999999</cx:pt>
          <cx:pt idx="1941">46.817676910000003</cx:pt>
          <cx:pt idx="1942">46.896816790000003</cx:pt>
          <cx:pt idx="1943">46.978452429999997</cx:pt>
          <cx:pt idx="1944">47.13918769</cx:pt>
          <cx:pt idx="1945">47.21832757</cx:pt>
          <cx:pt idx="1946">47.299963210000001</cx:pt>
          <cx:pt idx="1947">47.460094660000003</cx:pt>
          <cx:pt idx="1948">47.541730299999998</cx:pt>
          <cx:pt idx="1949">47.620870179999997</cx:pt>
          <cx:pt idx="1950">47.783497390000001</cx:pt>
          <cx:pt idx="1951">47.86263727</cx:pt>
          <cx:pt idx="1952">47.943025030000001</cx:pt>
          <cx:pt idx="1953">48.104404350000003</cx:pt>
          <cx:pt idx="1954">48.186039999999998</cx:pt>
          <cx:pt idx="1955">47.454187859999998</cx:pt>
          <cx:pt idx="1956">47.094125409999997</cx:pt>
          <cx:pt idx="1957">46.359341460000003</cx:pt>
          <cx:pt idx="1958">45.993415339999999</cx:pt>
          <cx:pt idx="1959">45.619060330000003</cx:pt>
          <cx:pt idx="1960">44.890140000000002</cx:pt>
          <cx:pt idx="1961">45.097027330000003</cx:pt>
          <cx:pt idx="1962">45.19725846</cx:pt>
          <cx:pt idx="1963">45.301498840000001</cx:pt>
          <cx:pt idx="1964">45.505970349999998</cx:pt>
          <cx:pt idx="1965">45.610210729999999</cx:pt>
          <cx:pt idx="1966">45.71126426</cx:pt>
          <cx:pt idx="1967">45.917329189999997</cx:pt>
          <cx:pt idx="1968">46.019976149999998</cx:pt>
          <cx:pt idx="1969">46.122623099999998</cx:pt>
          <cx:pt idx="1970">46.327917020000001</cx:pt>
          <cx:pt idx="1971">46.432157400000001</cx:pt>
          <cx:pt idx="1972">46.533981949999998</cx:pt>
          <cx:pt idx="1973">46.740869279999998</cx:pt>
          <cx:pt idx="1974">46.842693830000002</cx:pt>
          <cx:pt idx="1975">46.945340790000003</cx:pt>
          <cx:pt idx="1976">47.150634699999998</cx:pt>
          <cx:pt idx="1977">47.253230260000002</cx:pt>
          <cx:pt idx="1978">47.356699630000001</cx:pt>
          <cx:pt idx="1979">47.460940000000001</cx:pt>
          <cx:pt idx="1980">44.780270000000002</cx:pt>
          <cx:pt idx="1981">44.793099220000002</cx:pt>
          <cx:pt idx="1982">44.818649309999998</cx:pt>
          <cx:pt idx="1983">44.822728150000003</cx:pt>
          <cx:pt idx="1984">44.831077020000002</cx:pt>
          <cx:pt idx="1985">44.843899860000001</cx:pt>
          <cx:pt idx="1986">44.869354360000003</cx:pt>
          <cx:pt idx="1987">44.88208161</cx:pt>
          <cx:pt idx="1988">44.895006420000001</cx:pt>
          <cx:pt idx="1989">44.907631700000003</cx:pt>
          <cx:pt idx="1990">44.933086189999997</cx:pt>
          <cx:pt idx="1991">44.946011009999999</cx:pt>
          <cx:pt idx="1992">44.95854069</cx:pt>
          <cx:pt idx="1993">44.984090780000002</cx:pt>
          <cx:pt idx="1994">44.997015599999997</cx:pt>
          <cx:pt idx="1995">45.009545279999998</cx:pt>
          <cx:pt idx="1996">45.035095370000001</cx:pt>
          <cx:pt idx="1997">45.047822619999998</cx:pt>
          <cx:pt idx="1998">45.060747429999999</cx:pt>
          <cx:pt idx="1999">45.086195549999999</cx:pt>
          <cx:pt idx="2000">45.098827200000002</cx:pt>
          <cx:pt idx="2001">45.111548079999999</cx:pt>
          <cx:pt idx="2002">45.13700257</cx:pt>
          <cx:pt idx="2003">45.150029359999998</cx:pt>
          <cx:pt idx="2004">45.162552660000003</cx:pt>
          <cx:pt idx="2005">45.175477479999998</cx:pt>
          <cx:pt idx="2006">45.200734410000003</cx:pt>
          <cx:pt idx="2007">45.213461649999999</cx:pt>
          <cx:pt idx="2008">45.239011740000002</cx:pt>
          <cx:pt idx="2009">45.340918950000002</cx:pt>
          <cx:pt idx="2010">45.353843759999997</cx:pt>
          <cx:pt idx="2011">45.36647541</cx:pt>
          <cx:pt idx="2012">45.39192353</cx:pt>
          <cx:pt idx="2013">45.404848350000002</cx:pt>
          <cx:pt idx="2014">45.417479999999998</cx:pt>
          <cx:pt idx="2015">42.055660000000003</cx:pt>
          <cx:pt idx="2016">45.988770000000002</cx:pt>
          <cx:pt idx="2017">46.047061710000001</cx:pt>
          <cx:pt idx="2018">46.105820450000003</cx:pt>
          <cx:pt idx="2019">46.164549999999998</cx:pt>
          <cx:pt idx="2020">41.87988</cx:pt>
          <cx:pt idx="2021">45.812989999999999</cx:pt>
          <cx:pt idx="2022">45.487995570000002</cx:pt>
          <cx:pt idx="2023">44.825277970000002</cx:pt>
          <cx:pt idx="2024">44.495158979999999</cx:pt>
          <cx:pt idx="2025">44.165039999999998</cx:pt>
          <cx:pt idx="2026">44.064297080000003</cx:pt>
          <cx:pt idx="2027">44.014714040000001</cx:pt>
          <cx:pt idx="2028">43.964730529999997</cx:pt>
          <cx:pt idx="2029">43.86478855</cx:pt>
          <cx:pt idx="2030">43.814805040000003</cx:pt>
          <cx:pt idx="2031">43.764045619999997</cx:pt>
          <cx:pt idx="2032">43.71443756</cx:pt>
          <cx:pt idx="2033">43.66447908</cx:pt>
          <cx:pt idx="2034">43.613719670000002</cx:pt>
          <cx:pt idx="2035">43.564111599999997</cx:pt>
          <cx:pt idx="2036">43.364202599999999</cx:pt>
          <cx:pt idx="2037">43.314219100000003</cx:pt>
          <cx:pt idx="2038">43.113133730000001</cx:pt>
          <cx:pt idx="2039">43.063550679999999</cx:pt>
          <cx:pt idx="2040">43.012791270000001</cx:pt>
          <cx:pt idx="2041">42.912824260000001</cx:pt>
          <cx:pt idx="2042">42.863641690000001</cx:pt>
          <cx:pt idx="2043">42.813257710000002</cx:pt>
          <cx:pt idx="2044">42.613348709999997</cx:pt>
          <cx:pt idx="2045">42.513006269999998</cx:pt>
          <cx:pt idx="2046">42.46224685</cx:pt>
          <cx:pt idx="2047">42.413039249999997</cx:pt>
          <cx:pt idx="2048">42.313072230000003</cx:pt>
          <cx:pt idx="2049">42.262713290000001</cx:pt>
          <cx:pt idx="2050">42.211953870000002</cx:pt>
          <cx:pt idx="2051">42.111986860000002</cx:pt>
          <cx:pt idx="2052">42.062403830000001</cx:pt>
          <cx:pt idx="2053">42.012420319999997</cx:pt>
          <cx:pt idx="2054">41.96243681</cx:pt>
          <cx:pt idx="2055">41.911677400000002</cx:pt>
          <cx:pt idx="2056">41.862494830000003</cx:pt>
          <cx:pt idx="2057">41.811735409999997</cx:pt>
          <cx:pt idx="2058">41.711367930000002</cx:pt>
          <cx:pt idx="2059">41.662185360000002</cx:pt>
          <cx:pt idx="2060">41.611425949999997</cx:pt>
          <cx:pt idx="2061">41.56181788</cx:pt>
          <cx:pt idx="2062">41.511859399999999</cx:pt>
          <cx:pt idx="2063">41.110840000000003</cx:pt>
          <cx:pt idx="2064">41.522035520000003</cx:pt>
          <cx:pt idx="2065">41.923830000000002</cx:pt>
          <cx:pt idx="2066">41.951407920000001</cx:pt>
          <cx:pt idx="2067">41.97812914</cx:pt>
          <cx:pt idx="2068">42.005707059999999</cx:pt>
          <cx:pt idx="2069">42.032863429999999</cx:pt>
          <cx:pt idx="2070">42.059815810000003</cx:pt>
          <cx:pt idx="2071">42.086958580000001</cx:pt>
          <cx:pt idx="2072">42.114114950000001</cx:pt>
          <cx:pt idx="2073">42.14169287</cx:pt>
          <cx:pt idx="2074">42.195788030000003</cx:pt>
          <cx:pt idx="2075">42.222944400000003</cx:pt>
          <cx:pt idx="2076">42.250100760000002</cx:pt>
          <cx:pt idx="2077">42.304617479999997</cx:pt>
          <cx:pt idx="2078">42.331773839999997</cx:pt>
          <cx:pt idx="2079">42.359351760000003</cx:pt>
          <cx:pt idx="2080">42.386086570000003</cx:pt>
          <cx:pt idx="2081">42.413664500000003</cx:pt>
          <cx:pt idx="2082">42.440603289999999</cx:pt>
          <cx:pt idx="2083">42.467759649999998</cx:pt>
          <cx:pt idx="2084">42.522058790000003</cx:pt>
          <cx:pt idx="2085">42.549432729999999</cx:pt>
          <cx:pt idx="2086">42.576793080000002</cx:pt>
          <cx:pt idx="2087">42.685200969999997</cx:pt>
          <cx:pt idx="2088">42.693904060000001</cx:pt>
          <cx:pt idx="2089">42.712561309999998</cx:pt>
          <cx:pt idx="2090">42.767295599999997</cx:pt>
          <cx:pt idx="2091">42.794030419999999</cx:pt>
          <cx:pt idx="2092">42.821608339999997</cx:pt>
          <cx:pt idx="2093">42.84854713</cx:pt>
          <cx:pt idx="2094">42.90285986</cx:pt>
          <cx:pt idx="2095">42.930437779999998</cx:pt>
          <cx:pt idx="2096">42.957158999999997</cx:pt>
          <cx:pt idx="2097">43.066409999999998</cx:pt>
          <cx:pt idx="2098">39.990229999999997</cx:pt>
          <cx:pt idx="2099">40.137613819999999</cx:pt>
          <cx:pt idx="2100">40.284923849999998</cx:pt>
          <cx:pt idx="2101">40.434595559999998</cx:pt>
          <cx:pt idx="2102">40.579691490000002</cx:pt>
          <cx:pt idx="2103">40.877854069999998</cx:pt>
          <cx:pt idx="2104">41.022950000000002</cx:pt>
          <cx:pt idx="2105">41.340671460000003</cx:pt>
          <cx:pt idx="2106">41.6486795</cx:pt>
          <cx:pt idx="2107">42.276759030000001</cx:pt>
          <cx:pt idx="2108">42.594480500000003</cx:pt>
          <cx:pt idx="2109">42.90248854</cx:pt>
          <cx:pt idx="2110">43.220210000000002</cx:pt>
          <cx:pt idx="2111">42.416756159999998</cx:pt>
          <cx:pt idx="2112">41.594239999999999</cx:pt>
          <cx:pt idx="2113">41.579979690000002</cx:pt>
          <cx:pt idx="2114">41.551016599999997</cx:pt>
          <cx:pt idx="2115">41.53641537</cx:pt>
          <cx:pt idx="2116">41.521705339999997</cx:pt>
          <cx:pt idx="2117">41.492742249999999</cx:pt>
          <cx:pt idx="2118">41.478481930000001</cx:pt>
          <cx:pt idx="2119">41.434692759999997</cx:pt>
          <cx:pt idx="2120">41.405722419999996</cx:pt>
          <cx:pt idx="2121">41.391237240000002</cx:pt>
          <cx:pt idx="2122">41.386711079999998</cx:pt>
          <cx:pt idx="2123">41.376868129999998</cx:pt>
          <cx:pt idx="2124">41.318818640000003</cx:pt>
          <cx:pt idx="2125">41.30410861</cx:pt>
          <cx:pt idx="2126">41.275370369999997</cx:pt>
          <cx:pt idx="2127">41.260660340000001</cx:pt>
          <cx:pt idx="2128">41.246059119999998</cx:pt>
          <cx:pt idx="2129">41.21709603</cx:pt>
          <cx:pt idx="2130">41.202835710000002</cx:pt>
          <cx:pt idx="2131">41.188125679999999</cx:pt>
          <cx:pt idx="2132">41.173531709999999</cx:pt>
          <cx:pt idx="2133">41.168773430000002</cx:pt>
          <cx:pt idx="2134">41.159271390000001</cx:pt>
          <cx:pt idx="2135">41.14478622</cx:pt>
          <cx:pt idx="2136">41.130076189999997</cx:pt>
          <cx:pt idx="2137">41.11581588</cx:pt>
          <cx:pt idx="2138">41.101105850000003</cx:pt>
          <cx:pt idx="2139">41.086736729999998</cx:pt>
          <cx:pt idx="2140">41.072026700000002</cx:pt>
          <cx:pt idx="2141">41.057773640000001</cx:pt>
          <cx:pt idx="2142">41.028687239999996</cx:pt>
          <cx:pt idx="2143">41.01397721</cx:pt>
          <cx:pt idx="2144">40.999724149999999</cx:pt>
          <cx:pt idx="2145">40.970528950000002</cx:pt>
          <cx:pt idx="2146">40.956159829999997</cx:pt>
          <cx:pt idx="2147">40.941449800000001</cx:pt>
          <cx:pt idx="2148">40.898219150000003</cx:pt>
          <cx:pt idx="2149">40.883509119999999</cx:pt>
          <cx:pt idx="2150">40.869140000000002</cx:pt>
          <cx:pt idx="2151">40.792359779999998</cx:pt>
          <cx:pt idx="2152">40.75337373</cx:pt>
          <cx:pt idx="2153">40.715291200000003</cx:pt>
          <cx:pt idx="2154">40.676016789999998</cx:pt>
          <cx:pt idx="2155">40.600140089999996</cx:pt>
          <cx:pt idx="2156">40.561154039999998</cx:pt>
          <cx:pt idx="2157">40.523071510000001</cx:pt>
          <cx:pt idx="2158">40.484681399999999</cx:pt>
          <cx:pt idx="2159">40.407305239999999</cx:pt>
          <cx:pt idx="2160">40.368915129999998</cx:pt>
          <cx:pt idx="2161">40.330832600000001</cx:pt>
          <cx:pt idx="2162">40.253456440000001</cx:pt>
          <cx:pt idx="2163">40.215662270000003</cx:pt>
          <cx:pt idx="2164">40.176676219999997</cx:pt>
          <cx:pt idx="2165">40.100203579999999</cx:pt>
          <cx:pt idx="2166">40.061832690000003</cx:pt>
          <cx:pt idx="2167">40.022846649999998</cx:pt>
          <cx:pt idx="2168">39.984744890000002</cx:pt>
          <cx:pt idx="2169">39.907387960000001</cx:pt>
          <cx:pt idx="2170">39.869593780000002</cx:pt>
          <cx:pt idx="2171">39.830607739999998</cx:pt>
          <cx:pt idx="2172">39.754135089999998</cx:pt>
          <cx:pt idx="2173">39.715744979999997</cx:pt>
          <cx:pt idx="2174">39.63896476</cx:pt>
          <cx:pt idx="2175">39.599978720000003</cx:pt>
          <cx:pt idx="2176">39.446149140000003</cx:pt>
          <cx:pt idx="2177">39.331286390000002</cx:pt>
          <cx:pt idx="2178">39.291992759999999</cx:pt>
          <cx:pt idx="2179">39.253910230000002</cx:pt>
          <cx:pt idx="2180">39.061671320000002</cx:pt>
          <cx:pt idx="2181">39.023588789999998</cx:pt>
          <cx:pt idx="2182">38.985198680000003</cx:pt>
          <cx:pt idx="2183">38.946212629999998</cx:pt>
          <cx:pt idx="2184">38.870047569999997</cx:pt>
          <cx:pt idx="2185">38.831061519999999</cx:pt>
          <cx:pt idx="2186">38.792978990000002</cx:pt>
          <cx:pt idx="2187">38.716198769999998</cx:pt>
          <cx:pt idx="2188">38.67721272</cx:pt>
          <cx:pt idx="2189">38.639130190000003</cx:pt>
          <cx:pt idx="2190">38.56234997</cx:pt>
          <cx:pt idx="2191">38.523363930000002</cx:pt>
          <cx:pt idx="2192">38.485569750000003</cx:pt>
          <cx:pt idx="2193">38.408501170000001</cx:pt>
          <cx:pt idx="2194">38.369226759999997</cx:pt>
          <cx:pt idx="2195">38.331125020000002</cx:pt>
          <cx:pt idx="2196">38.254652370000002</cx:pt>
          <cx:pt idx="2197">38.215666329999998</cx:pt>
          <cx:pt idx="2198">38.177295440000002</cx:pt>
          <cx:pt idx="2199">38.100515219999998</cx:pt>
          <cx:pt idx="2200">38.062432690000001</cx:pt>
          <cx:pt idx="2201">38.023446640000003</cx:pt>
          <cx:pt idx="2202">37.947262360000003</cx:pt>
          <cx:pt idx="2203">37.908276309999998</cx:pt>
          <cx:pt idx="2204">37.870193780000001</cx:pt>
          <cx:pt idx="2205">37.831803669999999</cx:pt>
          <cx:pt idx="2206">37.792817620000001</cx:pt>
          <cx:pt idx="2207">37.716056620000003</cx:pt>
          <cx:pt idx="2208">37.677954870000001</cx:pt>
          <cx:pt idx="2209">37.639583979999998</cx:pt>
          <cx:pt idx="2210">37.485735179999999</cx:pt>
          <cx:pt idx="2211">37.446749130000001</cx:pt>
          <cx:pt idx="2212">37.370564850000001</cx:pt>
          <cx:pt idx="2213">37.331578800000003</cx:pt>
          <cx:pt idx="2214">37.255106159999997</cx:pt>
          <cx:pt idx="2215">37.177729999999997</cx:pt>
          <cx:pt idx="2216">40.363770000000002</cx:pt>
          <cx:pt idx="2217">39.733874620000002</cx:pt>
          <cx:pt idx="2218">39.089359999999999</cx:pt>
          <cx:pt idx="2219">37.583901529999999</cx:pt>
          <cx:pt idx="2220">36.10107</cx:pt>
          <cx:pt idx="2221">37.446004850000001</cx:pt>
          <cx:pt idx="2222">38.759770000000003</cx:pt>
          <cx:pt idx="2223">38.776104189999998</cx:pt>
          <cx:pt idx="2224">38.792691929999997</cx:pt>
          <cx:pt idx="2225">38.808772560000001</cx:pt>
          <cx:pt idx="2226">38.841694490000002</cx:pt>
          <cx:pt idx="2227">38.857897809999997</cx:pt>
          <cx:pt idx="2228">38.874485550000003</cx:pt>
          <cx:pt idx="2229">38.890557999999999</cx:pt>
          <cx:pt idx="2230">39.103524059999998</cx:pt>
          <cx:pt idx="2231">39.119858239999999</cx:pt>
          <cx:pt idx="2232">39.136192430000001</cx:pt>
          <cx:pt idx="2233">39.152395749999997</cx:pt>
          <cx:pt idx="2234">39.168729929999998</cx:pt>
          <cx:pt idx="2235">39.185317679999997</cx:pt>
          <cx:pt idx="2236">39.218108739999998</cx:pt>
          <cx:pt idx="2237">39.234181190000001</cx:pt>
          <cx:pt idx="2238">39.25076894</cx:pt>
          <cx:pt idx="2239">39.283437309999997</cx:pt>
          <cx:pt idx="2240">39.299771499999999</cx:pt>
          <cx:pt idx="2241">39.31597481</cx:pt>
          <cx:pt idx="2242">39.348643189999997</cx:pt>
          <cx:pt idx="2243">39.365230930000003</cx:pt>
          <cx:pt idx="2244">39.381565119999998</cx:pt>
          <cx:pt idx="2245">39.39776844</cx:pt>
          <cx:pt idx="2246">39.414356179999999</cx:pt>
          <cx:pt idx="2247">39.430428630000002</cx:pt>
          <cx:pt idx="2248">39.446762819999996</cx:pt>
          <cx:pt idx="2249">39.463481430000002</cx:pt>
          <cx:pt idx="2250">39.479553879999997</cx:pt>
          <cx:pt idx="2251">39.496141629999997</cx:pt>
          <cx:pt idx="2252">39.512222250000001</cx:pt>
          <cx:pt idx="2253">39.52881</cx:pt>
          <cx:pt idx="2254">36.25488</cx:pt>
          <cx:pt idx="2255">36.098917210000003</cx:pt>
          <cx:pt idx="2256">36.073215189999999</cx:pt>
          <cx:pt idx="2257">35.969239999999999</cx:pt>
          <cx:pt idx="2258">5.8791335140000003</cx:pt>
          <cx:pt idx="2259">-8.8769530000000003</cx:pt>
          <cx:pt idx="2260">-8.3047061620000004</cx:pt>
          <cx:pt idx="2261">-3.6166836839999998</cx:pt>
          <cx:pt idx="2262">-3.2337748720000001</cx:pt>
          <cx:pt idx="2263">-0.96679689999999996</cx:pt>
          <cx:pt idx="2264">-0.93001022600000005</cx:pt>
          <cx:pt idx="2265">-0.926638882</cx:pt>
          <cx:pt idx="2266">-0.90986590000000001</cx:pt>
          <cx:pt idx="2267">-0.87976832199999999</cx:pt>
          <cx:pt idx="2268">-0.876371856</cx:pt>
          <cx:pt idx="2269">-0.87307922699999996</cx:pt>
          <cx:pt idx="2270">-0.86965763900000004</cx:pt>
          <cx:pt idx="2271">-0.86636500999999999</cx:pt>
          <cx:pt idx="2272">-0.85633304200000004</cx:pt>
          <cx:pt idx="2273">-0.84290293299999997</cx:pt>
          <cx:pt idx="2274">-0.83279225000000001</cx:pt>
          <cx:pt idx="2275">-0.81272663999999994</cx:pt>
          <cx:pt idx="2276">-0.79937524599999998</cx:pt>
          <cx:pt idx="2277">-0.78929135900000003</cx:pt>
          <cx:pt idx="2278">-0.77259541799999998</cx:pt>
          <cx:pt idx="2279">-0.72227479900000002</cx:pt>
          <cx:pt idx="2280">-0.71898384400000004</cx:pt>
          <cx:pt idx="2281">-0.70555373600000004</cx:pt>
          <cx:pt idx="2282">-0.68883267199999998</cx:pt>
          <cx:pt idx="2283">-0.68206653699999997</cx:pt>
          <cx:pt idx="2284">-0.66534547399999999</cx:pt>
          <cx:pt idx="2285">-0.64527986299999995</cx:pt>
          <cx:pt idx="2286">-0.63519430200000004</cx:pt>
          <cx:pt idx="2287">-0.62853200399999998</cx:pt>
          <cx:pt idx="2288">-0.61178581899999995</cx:pt>
          <cx:pt idx="2289">-0.59503795900000001</cx:pt>
          <cx:pt idx="2290">-0.57829009899999995</cx:pt>
          <cx:pt idx="2291">-0.55151027200000002</cx:pt>
          <cx:pt idx="2292">-0.54476925799999998</cx:pt>
          <cx:pt idx="2293">-0.38061511100000001</cx:pt>
          <cx:pt idx="2294">-0.36054950099999999</cx:pt>
          <cx:pt idx="2295">-0.33379647000000001</cx:pt>
          <cx:pt idx="2296">-0.32705545600000002</cx:pt>
          <cx:pt idx="2297">-0.30698984499999998</cx:pt>
          <cx:pt idx="2298">-0.29358653299999998</cx:pt>
          <cx:pt idx="2299">-0.27689226700000003</cx:pt>
          <cx:pt idx="2300">-0.26675478699999999</cx:pt>
          <cx:pt idx="2301">-0.25674794099999998</cx:pt>
          <cx:pt idx="2302">-0.16295322700000001</cx:pt>
          <cx:pt idx="2303">-0.14617857100000001</cx:pt>
          <cx:pt idx="2304">-0.13611980600000001</cx:pt>
          <cx:pt idx="2305">-0.122770088</cx:pt>
          <cx:pt idx="2306">-0.099281214000000007</cx:pt>
          <cx:pt idx="2307">-0.079163684999999998</cx:pt>
          <cx:pt idx="2308">-0.075924648999999997</cx:pt>
          <cx:pt idx="2309">-0.069156838999999998</cx:pt>
          <cx:pt idx="2310">-0.052383857999999998</cx:pt>
          <cx:pt idx="2311">-0.022207563999999999</cx:pt>
          <cx:pt idx="2312">-0.012227514</cx:pt>
          <cx:pt idx="2313">0.091600842000000002</cx:pt>
          <cx:pt idx="2314">0.13183590000000001</cx:pt>
          <cx:pt idx="2315">1.6849957870000001</cx:pt>
          <cx:pt idx="2316">2.532623563</cx:pt>
          <cx:pt idx="2317">2.6759204300000001</cx:pt>
          <cx:pt idx="2318">2.8159669570000001</cx:pt>
          <cx:pt idx="2319">3.0981091479999998</cx:pt>
          <cx:pt idx="2320">3.8047011550000001</cx:pt>
          <cx:pt idx="2321">4.0869140000000002</cx:pt>
          <cx:pt idx="2322">1.032715</cx:pt>
          <cx:pt idx="2323">9.5361329999999995</cx:pt>
          <cx:pt idx="2324">0.21972659999999999</cx:pt>
          <cx:pt idx="2325">4.0125654480000001</cx:pt>
          <cx:pt idx="2326">7.8662109999999998</cx:pt>
          <cx:pt idx="2327">-2.504883</cx:pt>
          <cx:pt idx="2328">2.6367189999999998</cx:pt>
          <cx:pt idx="2329">-3.9770509999999999</cx:pt>
          <cx:pt idx="2330">1.1206050000000001</cx:pt>
          <cx:pt idx="2331">-8.9868159999999992</cx:pt>
          <cx:pt idx="2332">0.30761719999999998</cx:pt>
          <cx:pt idx="2333">-3.9331049999999999</cx:pt>
          <cx:pt idx="2334">-3.1178239209999998</cx:pt>
          <cx:pt idx="2335">-2.5708009999999999</cx:pt>
          <cx:pt idx="2336">-8.7231450000000006</cx:pt>
          <cx:pt idx="2337">-5.6479154329999997</cx:pt>
          <cx:pt idx="2338">-5.625</cx:pt>
          <cx:pt idx="2339">-5.9927364839999999</cx:pt>
          <cx:pt idx="2340">-6.3720699999999999</cx:pt>
          <cx:pt idx="2341">-6.7426122250000002</cx:pt>
          <cx:pt idx="2342">-6.7456050000000003</cx:pt>
          <cx:pt idx="2343">-5.9908711060000002</cx:pt>
          <cx:pt idx="2344">-5.2239456249999998</cx:pt>
          <cx:pt idx="2345">-2.1752929999999999</cx:pt>
          <cx:pt idx="2346">-3.0102540000000002</cx:pt>
          <cx:pt idx="2347">-2.8845773179999998</cx:pt>
          <cx:pt idx="2348">-2.8583957660000001</cx:pt>
          <cx:pt idx="2349">-2.8531699289999999</cx:pt>
          <cx:pt idx="2350">-2.8478603100000002</cx:pt>
          <cx:pt idx="2351">-2.842671127</cx:pt>
          <cx:pt idx="2352">-2.8164503029999999</cx:pt>
          <cx:pt idx="2353">-2.8112637380000001</cx:pt>
          <cx:pt idx="2354">-2.774627894</cx:pt>
          <cx:pt idx="2355">-2.7641290920000001</cx:pt>
          <cx:pt idx="2356">-2.7431786140000001</cx:pt>
          <cx:pt idx="2357">-2.7379501579999999</cx:pt>
          <cx:pt idx="2358">-2.7327217030000002</cx:pt>
          <cx:pt idx="2359">-2.727493247</cx:pt>
          <cx:pt idx="2360">-2.7221417379999999</cx:pt>
          <cx:pt idx="2361">-2.6908155119999999</cx:pt>
          <cx:pt idx="2362">-2.6750908720000002</cx:pt>
          <cx:pt idx="2363">-2.659408123</cx:pt>
          <cx:pt idx="2364">-2.6541377759999998</cx:pt>
          <cx:pt idx="2365">-2.6437227550000002</cx:pt>
          <cx:pt idx="2366">-2.6227696599999999</cx:pt>
          <cx:pt idx="2367">-2.6122734759999999</cx:pt>
          <cx:pt idx="2368">-2.6070450200000002</cx:pt>
          <cx:pt idx="2369">-2.5913622709999999</cx:pt>
          <cx:pt idx="2370">-2.5755957409999999</cx:pt>
          <cx:pt idx="2371">-2.5546845359999999</cx:pt>
          <cx:pt idx="2372">-2.5284637120000002</cx:pt>
          <cx:pt idx="2373">-2.4970955959999999</cx:pt>
          <cx:pt idx="2374">-2.4709140449999998</cx:pt>
          <cx:pt idx="2375">-2.444735112</cx:pt>
          <cx:pt idx="2376">-2.4237820160000001</cx:pt>
          <cx:pt idx="2377">-2.41851167</cx:pt>
          <cx:pt idx="2378">-2.4080573759999999</cx:pt>
          <cx:pt idx="2379">-2.387143553</cx:pt>
          <cx:pt idx="2380">-2.3766473690000001</cx:pt>
          <cx:pt idx="2381">-2.371379642</cx:pt>
          <cx:pt idx="2382">-2.3452399810000002</cx:pt>
          <cx:pt idx="2383">-2.3347019059999998</cx:pt>
          <cx:pt idx="2384">-2.2771522389999999</cx:pt>
          <cx:pt idx="2385">-2.2666979450000002</cx:pt>
          <cx:pt idx="2386">-2.2457029589999999</cx:pt>
          <cx:pt idx="2387">-2.2352486659999999</cx:pt>
          <cx:pt idx="2388">-2.224791754</cx:pt>
          <cx:pt idx="2389">-2.193384365</cx:pt>
          <cx:pt idx="2390">-2.1724312700000001</cx:pt>
          <cx:pt idx="2391">-2.1566647400000001</cx:pt>
          <cx:pt idx="2392">-2.1305669690000002</cx:pt>
          <cx:pt idx="2393">-2.0938080719999999</cx:pt>
          <cx:pt idx="2394">-2.0520249339999999</cx:pt>
          <cx:pt idx="2395">-1.983937192</cx:pt>
          <cx:pt idx="2396">-1.9053139939999999</cx:pt>
          <cx:pt idx="2397">-1.8320815770000001</cx:pt>
          <cx:pt idx="2398">-1.8267719579999999</cx:pt>
          <cx:pt idx="2399">-1.7691411269999999</cx:pt>
          <cx:pt idx="2400">-1.7535002689999999</cx:pt>
          <cx:pt idx="2401">-1.7273187169999999</cx:pt>
          <cx:pt idx="2402">-1.7010978940000001</cx:pt>
          <cx:pt idx="2403">-1.4131086850000001</cx:pt>
          <cx:pt idx="2404">-1.4026543920000001</cx:pt>
          <cx:pt idx="2405">-1.303321586</cx:pt>
          <cx:pt idx="2406">-1.2455703199999999</cx:pt>
          <cx:pt idx="2407">-1.240341865</cx:pt>
          <cx:pt idx="2408">-1.2247795509999999</cx:pt>
          <cx:pt idx="2409">-1.2089318579999999</cx:pt>
          <cx:pt idx="2410">-1.1827921969999999</cx:pt>
          <cx:pt idx="2411">-1.177524469</cx:pt>
          <cx:pt idx="2412">-1.156613264</cx:pt>
          <cx:pt idx="2413">-1.1199355289999999</cx:pt>
          <cx:pt idx="2414">-1.104250161</cx:pt>
          <cx:pt idx="2415">-1.0937539780000001</cx:pt>
          <cx:pt idx="2416">-1.0832577940000001</cx:pt>
          <cx:pt idx="2417">-1.0728427730000001</cx:pt>
          <cx:pt idx="2418">-1.046661222</cx:pt>
          <cx:pt idx="2419">-1.030936582</cx:pt>
          <cx:pt idx="2420">-0.98894922900000004</cx:pt>
          <cx:pt idx="2421">-0.97334764200000001</cx:pt>
          <cx:pt idx="2422">-0.93144145099999998</cx:pt>
          <cx:pt idx="2423">-0.91040719299999995</cx:pt>
          <cx:pt idx="2424">-0.81622168100000003</cx:pt>
          <cx:pt idx="2425">-0.81103511500000003</cx:pt>
          <cx:pt idx="2426">-0.80053893099999995</cx:pt>
          <cx:pt idx="2427">-0.63299794799999998</cx:pt>
          <cx:pt idx="2428">-0.104075633</cx:pt>
          <cx:pt idx="2429">-0.098889067999999997</cx:pt>
          <cx:pt idx="2430">0.246689082</cx:pt>
          <cx:pt idx="2431">0.96941247600000002</cx:pt>
          <cx:pt idx="2432">1.006009049</cx:pt>
          <cx:pt idx="2433">1.252050176</cx:pt>
          <cx:pt idx="2434">1.288809074</cx:pt>
          <cx:pt idx="2435">1.3987192260000001</cx:pt>
          <cx:pt idx="2436">1.555803297</cx:pt>
          <cx:pt idx="2437">1.655298428</cx:pt>
          <cx:pt idx="2438">1.6814799789999999</cx:pt>
          <cx:pt idx="2439">1.6918949999999999</cx:pt>
          <cx:pt idx="2440">1.3616708959999999</cx:pt>
          <cx:pt idx="2441">1.3523688089999999</cx:pt>
          <cx:pt idx="2442">1.3065005279999999</cx:pt>
          <cx:pt idx="2443">1.260636834</cx:pt>
          <cx:pt idx="2444">1.104790175</cx:pt>
          <cx:pt idx="2445">0.90285965499999998</cx:pt>
          <cx:pt idx="2446">0.132286293</cx:pt>
          <cx:pt idx="2447">-0.032720261</cx:pt>
          <cx:pt idx="2448">-0.087890629999999997</cx:pt>
          <cx:pt idx="2449">0.14266301100000001</cx:pt>
          <cx:pt idx="2450">0.33485510899999998</cx:pt>
          <cx:pt idx="2451">0.64217027299999996</cx:pt>
          <cx:pt idx="2452">0.71922008100000001</cx:pt>
          <cx:pt idx="2453">0.75729333899999995</cx:pt>
          <cx:pt idx="2454">0.79598160399999995</cx:pt>
          <cx:pt idx="2455">0.83405486200000001</cx:pt>
          <cx:pt idx="2456">0.98846199199999996</cx:pt>
          <cx:pt idx="2457">0.98876949999999997</cx:pt>
          <cx:pt idx="2458">1.0629364720000001</cx:pt>
          <cx:pt idx="2459">1.210081958</cx:pt>
          <cx:pt idx="2460">1.210676187</cx:pt>
          <cx:pt idx="2461">1.3589729930000001</cx:pt>
          <cx:pt idx="2462">1.4325457370000001</cx:pt>
          <cx:pt idx="2463">1.507864028</cx:pt>
          <cx:pt idx="2464">1.582031</cx:pt>
          <cx:pt idx="2465">-0.328311032</cx:pt>
          <cx:pt idx="2466">-0.96679689999999996</cx:pt>
          <cx:pt idx="2467">-0.243880228</cx:pt>
          <cx:pt idx="2468">0.121815724</cx:pt>
          <cx:pt idx="2469">2.2851560000000002</cx:pt>
          <cx:pt idx="2470">-0.9448242</cx:pt>
          <cx:pt idx="2471">-1.252377311</cx:pt>
          <cx:pt idx="2472">-1.3404913949999999</cx:pt>
          <cx:pt idx="2473">-1.427924134</cx:pt>
          <cx:pt idx="2474">-1.4721679999999999</cx:pt>
          <cx:pt idx="2475">2.0654300000000001</cx:pt>
          <cx:pt idx="2476">1.8944699549999999</cx:pt>
          <cx:pt idx="2477">1.722145308</cx:pt>
          <cx:pt idx="2478">1.5531895309999999</cx:pt>
          <cx:pt idx="2479">1.467389686</cx:pt>
          <cx:pt idx="2480">1.3822294959999999</cx:pt>
          <cx:pt idx="2481">1.297069306</cx:pt>
          <cx:pt idx="2482">1.296387</cx:pt>
          <cx:pt idx="2483">0.79390116700000002</cx:pt>
          <cx:pt idx="2484">-1.2360807840000001</cx:pt>
          <cx:pt idx="2485">-3.2698675499999998</cx:pt>
          <cx:pt idx="2486">-3.2739259999999999</cx:pt>
          <cx:pt idx="2487">-2.9041772950000002</cx:pt>
          <cx:pt idx="2488">-2.528407224</cx:pt>
          <cx:pt idx="2489">-2.1526371530000001</cx:pt>
          <cx:pt idx="2490">-1.4010970119999999</cx:pt>
          <cx:pt idx="2491">-0.26814174099999999</cx:pt>
          <cx:pt idx="2492">0.48339840000000001</cx:pt>
          <cx:pt idx="2493">-0.41523043700000001</cx:pt>
          <cx:pt idx="2494">-1.3134093179999999</cx:pt>
          <cx:pt idx="2495">-2.2120381550000001</cx:pt>
          <cx:pt idx="2496">-2.2192379999999998</cx:pt>
          <cx:pt idx="2497">-1.5904017050000001</cx:pt>
          <cx:pt idx="2498">-1.280904845</cx:pt>
          <cx:pt idx="2499">-0.96890829599999995</cx:pt>
          <cx:pt idx="2500">-0.65691174600000002</cx:pt>
          <cx:pt idx="2501">-0.34507141800000002</cx:pt>
          <cx:pt idx="2502">-0.035418374000000002</cx:pt>
          <cx:pt idx="2503">0.5932617</cx:pt>
          <cx:pt idx="2504">0.37746740000000001</cx:pt>
          <cx:pt idx="2505">0.16340202600000001</cx:pt>
          <cx:pt idx="2506">-0.48560177399999999</cx:pt>
          <cx:pt idx="2507">-0.703125</cx:pt>
          <cx:pt idx="2508">-0.78430623499999996</cx:pt>
          <cx:pt idx="2509">-0.837932762</cx:pt>
          <cx:pt idx="2510">-0.89155929199999995</cx:pt>
          <cx:pt idx="2511">-0.94580593400000001</cx:pt>
          <cx:pt idx="2512">-0.99943246100000005</cx:pt>
          <cx:pt idx="2513">-1.053490373</cx:pt>
          <cx:pt idx="2514">-1.080398003</cx:pt>
          <cx:pt idx="2515">-1.161794931</cx:pt>
          <cx:pt idx="2516">-1.215421458</cx:pt>
          <cx:pt idx="2517">-1.2421268750000001</cx:pt>
          <cx:pt idx="2518">-1.269047984</cx:pt>
          <cx:pt idx="2519">-1.296387</cx:pt>
          <cx:pt idx="2520">-0.99459932200000001</cx:pt>
          <cx:pt idx="2521">-0.54017292100000003</cx:pt>
          <cx:pt idx="2522">-0.38745833800000001</cx:pt>
          <cx:pt idx="2523">0.068181892999999993</cx:pt>
          <cx:pt idx="2524">0.37353520000000001</cx:pt>
          <cx:pt idx="2525">1.5082311479999999</cx:pt>
          <cx:pt idx="2526">3.823242</cx:pt>
          <cx:pt idx="2527">3.3370169390000002</cx:pt>
          <cx:pt idx="2528">-0.103356749</cx:pt>
          <cx:pt idx="2529">-0.5932617</cx:pt>
          <cx:pt idx="2530">-0.65917970000000004</cx:pt>
          <cx:pt idx="2531">3.9990230000000002</cx:pt>
          <cx:pt idx="2532">-1.3403320000000001</cx:pt>
          <cx:pt idx="2533">-1.265238912</cx:pt>
          <cx:pt idx="2534">-0.8129883</cx:pt>
          <cx:pt idx="2535">-2.0214840000000001</cx:pt>
          <cx:pt idx="2536">-1.8955064939999999</cx:pt>
          <cx:pt idx="2537">-1.5234131909999999</cx:pt>
          <cx:pt idx="2538">-1.2763034870000001</cx:pt>
          <cx:pt idx="2539">-0.90222236899999997</cx:pt>
          <cx:pt idx="2540">-0.77916447099999997</cx:pt>
          <cx:pt idx="2541">-0.65511266499999998</cx:pt>
          <cx:pt idx="2542">-0.528141266</cx:pt>
          <cx:pt idx="2543">-0.40315766800000002</cx:pt>
          <cx:pt idx="2544">-0.28103154699999999</cx:pt>
          <cx:pt idx="2545">-0.031996156999999997</cx:pt>
          <cx:pt idx="2546">0.46321717400000001</cx:pt>
          <cx:pt idx="2547">0.58720686499999997</cx:pt>
          <cx:pt idx="2548">0.71125867099999995</cx:pt>
          <cx:pt idx="2549">1.335369085</cx:pt>
          <cx:pt idx="2550">1.4584269839999999</cx:pt>
          <cx:pt idx="2551">1.705536688</cx:pt>
          <cx:pt idx="2552">1.8315141939999999</cx:pt>
          <cx:pt idx="2553">1.9536403149999999</cx:pt>
          <cx:pt idx="2554">1.9555659999999999</cx:pt>
          <cx:pt idx="2555">-0.45112090399999999</cx:pt>
          <cx:pt idx="2556">-1.0546880000000001</cx:pt>
          <cx:pt idx="2557">0.558531479</cx:pt>
          <cx:pt idx="2558">2.4973401000000002</cx:pt>
          <cx:pt idx="2559">2.8203399810000001</cx:pt>
          <cx:pt idx="2560">3.1435017520000001</cx:pt>
          <cx:pt idx="2561">3.4716800000000001</cx:pt>
          <cx:pt idx="2562">-0.90849517599999996</cx:pt>
          <cx:pt idx="2563">-1.582031</cx:pt>
          <cx:pt idx="2564">2.1752929999999999</cx:pt>
          <cx:pt idx="2565">-0.26367190000000001</cx:pt>
          <cx:pt idx="2566">-0.73972923999999995</cx:pt>
          <cx:pt idx="2567">-0.94427927700000003</cx:pt>
          <cx:pt idx="2568">-0.9448242</cx:pt>
          <cx:pt idx="2569">-1.073069295</cx:pt>
          <cx:pt idx="2570">-1.2642053639999999</cx:pt>
          <cx:pt idx="2571">-1.328056007</cx:pt>
          <cx:pt idx="2572">-1.4568129320000001</cx:pt>
          <cx:pt idx="2573">-1.5845781919999999</cx:pt>
          <cx:pt idx="2574">-1.6479490000000001</cx:pt>
          <cx:pt idx="2575">-0.030342826999999999</cx:pt>
          <cx:pt idx="2576">1.6123738270000001</cx:pt>
          <cx:pt idx="2577">3.2170196839999998</cx:pt>
          <cx:pt idx="2578">3.2299799999999999</cx:pt>
          <cx:pt idx="2579">2.9523165929999999</cx:pt>
          <cx:pt idx="2580">2.6703081059999998</cx:pt>
          <cx:pt idx="2581">2.1104960579999998</cx:pt>
          <cx:pt idx="2582">1.550684011</cx:pt>
          <cx:pt idx="2583">-1.2524409999999999</cx:pt>
          <cx:pt idx="2584">-5.5371090000000001</cx:pt>
          <cx:pt idx="2585">1.1206050000000001</cx:pt>
          <cx:pt idx="2586">-0.1757813</cx:pt>
          <cx:pt idx="2587">3.3618160000000001</cx:pt>
          <cx:pt idx="2588">-1.6699219999999999</cx:pt>
          <cx:pt idx="2589">-1.406718205</cx:pt>
          <cx:pt idx="2590">-1.0547619420000001</cx:pt>
          <cx:pt idx="2591">-1.011242478</cx:pt>
          <cx:pt idx="2592">-0.96737151200000004</cx:pt>
          <cx:pt idx="2593">-0.92281953299999997</cx:pt>
          <cx:pt idx="2594">-0.87723503300000005</cx:pt>
          <cx:pt idx="2595">-0.83542910800000003</cx:pt>
          <cx:pt idx="2596">-0.79155814800000002</cx:pt>
          <cx:pt idx="2597">-0.70383819400000003</cx:pt>
          <cx:pt idx="2598">-0.52734380000000003</cx:pt>
          <cx:pt idx="2599">-0.58636763300000005</cx:pt>
          <cx:pt idx="2600">-0.70672702899999995</cx:pt>
          <cx:pt idx="2601">-0.76668155699999996</cx:pt>
          <cx:pt idx="2602">-0.88752131000000001</cx:pt>
          <cx:pt idx="2603">-1.066904539</cx:pt>
          <cx:pt idx="2604">-1.2476688010000001</cx:pt>
          <cx:pt idx="2605">-1.3680582160000001</cx:pt>
          <cx:pt idx="2606">-1.3685085459999999</cx:pt>
          <cx:pt idx="2607">-1.487937246</cx:pt>
          <cx:pt idx="2608">-1.7272750109999999</cx:pt>
          <cx:pt idx="2609">-1.788160228</cx:pt>
          <cx:pt idx="2610">-2.093517023</cx:pt>
          <cx:pt idx="2611">-2.1483077179999999</cx:pt>
          <cx:pt idx="2612">-2.2078119169999999</cx:pt>
          <cx:pt idx="2613">-2.3291019999999998</cx:pt>
          <cx:pt idx="2614">-1.038967285</cx:pt>
          <cx:pt idx="2615">0.25116743000000002</cx:pt>
          <cx:pt idx="2616">1.5621423249999999</cx:pt>
          <cx:pt idx="2617">2.8522771950000001</cx:pt>
          <cx:pt idx="2618">4.1528320000000001</cx:pt>
          <cx:pt idx="2619">3.9321306960000002</cx:pt>
          <cx:pt idx="2620">3.7165442569999998</cx:pt>
          <cx:pt idx="2621">3.280256488</cx:pt>
          <cx:pt idx="2622">3.0645612039999999</cx:pt>
          <cx:pt idx="2623">2.6181525240000001</cx:pt>
          <cx:pt idx="2624">0.88649604000000004</cx:pt>
          <cx:pt idx="2625">0.45184068799999999</cx:pt>
          <cx:pt idx="2626">-0.201474756</cx:pt>
          <cx:pt idx="2627">-0.42933218899999998</cx:pt>
          <cx:pt idx="2628">-0.43945309999999999</cx:pt>
          <cx:pt idx="2629">0.087890629999999997</cx:pt>
          <cx:pt idx="2630">-0.95744485400000001</cx:pt>
          <cx:pt idx="2631">-2.019207465</cx:pt>
          <cx:pt idx="2632">-2.0434570000000001</cx:pt>
          <cx:pt idx="2633">-1.7195706559999999</cx:pt>
          <cx:pt idx="2634">-1.3879687570000001</cx:pt>
          <cx:pt idx="2635">-1.1645509999999999</cx:pt>
          <cx:pt idx="2636">2.7320802780000002</cx:pt>
          <cx:pt idx="2637">6.3940429999999999</cx:pt>
          <cx:pt idx="2638">4.1864460880000003</cx:pt>
          <cx:pt idx="2639">1.979954553</cx:pt>
          <cx:pt idx="2640">-0.21106065700000001</cx:pt>
          <cx:pt idx="2641">-2.504883</cx:pt>
          <cx:pt idx="2642">-2.5241033929999999</cx:pt>
          <cx:pt idx="2643">-2.543480287</cx:pt>
          <cx:pt idx="2644">-2.5828503020000002</cx:pt>
          <cx:pt idx="2645">-2.6216138689999999</cx:pt>
          <cx:pt idx="2646">-2.6411374840000001</cx:pt>
          <cx:pt idx="2647">-2.6802042749999999</cx:pt>
          <cx:pt idx="2648">-2.699884392</cx:pt>
          <cx:pt idx="2649">-2.7195742900000002</cx:pt>
          <cx:pt idx="2650">-2.7584845790000001</cx:pt>
          <cx:pt idx="2651">-2.778017975</cx:pt>
          <cx:pt idx="2652">-2.798617541</cx:pt>
          <cx:pt idx="2653">-2.8172314869999999</cx:pt>
          <cx:pt idx="2654">-2.8564449999999999</cx:pt>
          <cx:pt idx="2655">-1.0989236959999999</cx:pt>
          <cx:pt idx="2656">0.65772437699999997</cx:pt>
          <cx:pt idx="2657">2.3742107180000001</cx:pt>
          <cx:pt idx="2658">4.1168896019999996</cx:pt>
          <cx:pt idx="2659">4.1308590000000001</cx:pt>
          <cx:pt idx="2660">3.5849787310000001</cx:pt>
          <cx:pt idx="2661">1.4392763040000001</cx:pt>
          <cx:pt idx="2662">-1.2524409999999999</cx:pt>
          <cx:pt idx="2663">-2.3950200000000001</cx:pt>
          <cx:pt idx="2664">-1.5404666629999999</cx:pt>
          <cx:pt idx="2665">-0.75057112199999998</cx:pt>
          <cx:pt idx="2666">0.071859219000000002</cx:pt>
          <cx:pt idx="2667">0.90087890000000004</cx:pt>
          <cx:pt idx="2668">0.52463163999999995</cx:pt>
          <cx:pt idx="2669">0.34235207200000001</cx:pt>
          <cx:pt idx="2670">-0.39863981399999998</cx:pt>
          <cx:pt idx="2671">-0.76765154300000005</cx:pt>
          <cx:pt idx="2672">-0.76904300000000003</cx:pt>
          <cx:pt idx="2673">0.41375878399999999</cx:pt>
          <cx:pt idx="2674">5.2016880270000003</cx:pt>
          <cx:pt idx="2675">6.3940429999999999</cx:pt>
          <cx:pt idx="2676">5.74307108</cx:pt>
          <cx:pt idx="2677">4.5089236149999996</cx:pt>
          <cx:pt idx="2678">-2.3950200000000001</cx:pt>
          <cx:pt idx="2679">-4.0209152030000004</cx:pt>
          <cx:pt idx="2680">-5.646973</cx:pt>
          <cx:pt idx="2681">-4.2223173479999998</cx:pt>
          <cx:pt idx="2682">-2.7420166080000001</cx:pt>
          <cx:pt idx="2683">-1.3623050000000001</cx:pt>
          <cx:pt idx="2684">-3.1169318260000001</cx:pt>
          <cx:pt idx="2685">-4.899902</cx:pt>
          <cx:pt idx="2686">-4.2836568909999997</cx:pt>
          <cx:pt idx="2687">-3.6677203459999999</cx:pt>
          <cx:pt idx="2688">-3.0465378599999999</cx:pt>
          <cx:pt idx="2689">0.043945310000000001</cx:pt>
          <cx:pt idx="2690">-0.48339840000000001</cx:pt>
          <cx:pt idx="2691">3.9744945089999999</cx:pt>
          <cx:pt idx="2692">4.7241210000000002</cx:pt>
          <cx:pt idx="2693">3.3635324190000002</cx:pt>
          <cx:pt idx="2694">2.0032831940000002</cx:pt>
          <cx:pt idx="2695">0.62708686300000005</cx:pt>
          <cx:pt idx="2696">-0.039974798999999998</cx:pt>
          <cx:pt idx="2697">-1.384277</cx:pt>
          <cx:pt idx="2698">0.71799042599999996</cx:pt>
          <cx:pt idx="2699">2.9023690110000002</cx:pt>
          <cx:pt idx="2700">4.9877929999999999</cx:pt>
          <cx:pt idx="2701">-1.8237300000000001</cx:pt>
          <cx:pt idx="2702">3.6914060000000002</cx:pt>
          <cx:pt idx="2703">2.2631839999999999</cx:pt>
          <cx:pt idx="2704">-0.96679689999999996</cx:pt>
          <cx:pt idx="2705">2.1673092920000001</cx:pt>
          <cx:pt idx="2706">2.4092082440000002</cx:pt>
          <cx:pt idx="2707">2.880021481</cx:pt>
          <cx:pt idx="2708">3.120117</cx:pt>
          <cx:pt idx="2709">-4.899902</cx:pt>
          <cx:pt idx="2710">-3.9940233749999998</cx:pt>
          <cx:pt idx="2711">-3.52149994</cx:pt>
          <cx:pt idx="2712">-2.1645037280000001</cx:pt>
          <cx:pt idx="2713">-1.7063268330000001</cx:pt>
          <cx:pt idx="2714">-0.78610166800000003</cx:pt>
          <cx:pt idx="2715">-0.327924773</cx:pt>
          <cx:pt idx="2716">0.58524097500000005</cx:pt>
          <cx:pt idx="2717">1.032715</cx:pt>
          <cx:pt idx="2718">1.091694063</cx:pt>
          <cx:pt idx="2719">1.4534582949999999</cx:pt>
          <cx:pt idx="2720">1.5114773720000001</cx:pt>
          <cx:pt idx="2721">1.6331554340000001</cx:pt>
          <cx:pt idx="2722">1.7510835549999999</cx:pt>
          <cx:pt idx="2723">1.8109926080000001</cx:pt>
          <cx:pt idx="2724">1.8727616170000001</cx:pt>
          <cx:pt idx="2725">1.9317406800000001</cx:pt>
          <cx:pt idx="2726">1.990719744</cx:pt>
          <cx:pt idx="2727">2.0534187419999999</cx:pt>
          <cx:pt idx="2728">2.11098783</cx:pt>
          <cx:pt idx="2729">2.1736868290000002</cx:pt>
          <cx:pt idx="2730">2.232665892</cx:pt>
          <cx:pt idx="2731">2.2916149510000001</cx:pt>
          <cx:pt idx="2732">2.3510740000000001</cx:pt>
          <cx:pt idx="2733">1.3039421259999999</cx:pt>
          <cx:pt idx="2734">-0.27475891699999999</cx:pt>
          <cx:pt idx="2735">-2.8564449999999999</cx:pt>
          <cx:pt idx="2736">2.6147459999999998</cx:pt>
          <cx:pt idx="2737">2.379156338</cx:pt>
          <cx:pt idx="2738">2.1972659999999999</cx:pt>
          <cx:pt idx="2739">-0.90087890000000004</cx:pt>
          <cx:pt idx="2740">1.3403320000000001</cx:pt>
          <cx:pt idx="2741">1.2514917670000001</cx:pt>
          <cx:pt idx="2742">-0.28936176400000002</cx:pt>
          <cx:pt idx="2743">-0.37353520000000001</cx:pt>
          <cx:pt idx="2744">-0.36353517099999999</cx:pt>
          <cx:pt idx="2745">-0.34273104199999999</cx:pt>
          <cx:pt idx="2746">-0.33273101300000002</cx:pt>
          <cx:pt idx="2747">-0.312720779</cx:pt>
          <cx:pt idx="2748">-0.30216604200000002</cx:pt>
          <cx:pt idx="2749">-0.27191659299999998</cx:pt>
          <cx:pt idx="2750">-0.231030982</cx:pt>
          <cx:pt idx="2751">-0.21047112800000001</cx:pt>
          <cx:pt idx="2752">-0.200705196</cx:pt>
          <cx:pt idx="2753">-0.19014537100000001</cx:pt>
          <cx:pt idx="2754">-0.17014022600000001</cx:pt>
          <cx:pt idx="2755">-0.149417521</cx:pt>
          <cx:pt idx="2756">-0.129412376</cx:pt>
          <cx:pt idx="2757">-0.119249498</cx:pt>
          <cx:pt idx="2758">-0.098847404</cx:pt>
          <cx:pt idx="2759">-0.088287578000000005</cx:pt>
          <cx:pt idx="2760">-0.087890629999999997</cx:pt>
          <cx:pt idx="2761">-5.6909179999999999</cx:pt>
          <cx:pt idx="2762">-4.9284071779999996</cx:pt>
          <cx:pt idx="2763">-4.1480554009999997</cx:pt>
          <cx:pt idx="2764">-3.3432690699999998</cx:pt>
          <cx:pt idx="2765">-1.8186353390000001</cx:pt>
          <cx:pt idx="2766">-0.26956714700000001</cx:pt>
          <cx:pt idx="2767">0.53521918400000001</cx:pt>
          <cx:pt idx="2768">0.57128909999999999</cx:pt>
          <cx:pt idx="2769">-3.4057620000000002</cx:pt>
          <cx:pt idx="2770">-2.37165866</cx:pt>
          <cx:pt idx="2771">-2.351698222</cx:pt>
          <cx:pt idx="2772">2.2192379999999998</cx:pt>
          <cx:pt idx="2773">6.350098</cx:pt>
          <cx:pt idx="2774">5.126948949</cx:pt>
          <cx:pt idx="2775">3.9763696830000002</cx:pt>
          <cx:pt idx="2776">2.8263754740000002</cx:pt>
          <cx:pt idx="2777">0.4614258</cx:pt>
          <cx:pt idx="2778">0.49205182200000003</cx:pt>
          <cx:pt idx="2779">0.50695547600000002</cx:pt>
          <cx:pt idx="2780">0.521851548</cx:pt>
          <cx:pt idx="2781">0.53675520300000001</cx:pt>
          <cx:pt idx="2782">0.58228487900000003</cx:pt>
          <cx:pt idx="2783">0.90087890000000004</cx:pt>
          <cx:pt idx="2784">9.1845700000000008</cx:pt>
          <cx:pt idx="2785">-1.428223</cx:pt>
          <cx:pt idx="2786">1.010742</cx:pt>
          <cx:pt idx="2787">6.1523440000000003</cx:pt>
          <cx:pt idx="2788">-3.537598</cx:pt>
          <cx:pt idx="2789">-2.4504591119999999</cx:pt>
          <cx:pt idx="2790">2.3730470000000001</cx:pt>
          <cx:pt idx="2791">-0.30979415999999999</cx:pt>
          <cx:pt idx="2792">-0.74776359800000003</cx:pt>
          <cx:pt idx="2793">-1.197762693</cx:pt>
          <cx:pt idx="2794">-1.4167474120000001</cx:pt>
          <cx:pt idx="2795">-1.6356207270000001</cx:pt>
          <cx:pt idx="2796">-1.866746507</cx:pt>
          <cx:pt idx="2797">-2.087402</cx:pt>
          <cx:pt idx="2798">-1.5057729479999999</cx:pt>
          <cx:pt idx="2799">-0.30045865300000002</cx:pt>
          <cx:pt idx="2800">0.28564450000000002</cx:pt>
          <cx:pt idx="2801">-1.749964485</cx:pt>
          <cx:pt idx="2802">-3.7247506480000001</cx:pt>
          <cx:pt idx="2803">-3.8012700000000001</cx:pt>
          <cx:pt idx="2804">-3.156707838</cx:pt>
          <cx:pt idx="2805">-2.4851609109999999</cx:pt>
          <cx:pt idx="2806">-1.8139554579999999</cx:pt>
          <cx:pt idx="2807">-1.1263541960000001</cx:pt>
          <cx:pt idx="2808">0.23791773499999999</cx:pt>
          <cx:pt idx="2809">0.94635535400000004</cx:pt>
          <cx:pt idx="2810">3.6694339999999999</cx:pt>
          <cx:pt idx="2811">8.1738280000000003</cx:pt>
          <cx:pt idx="2812">6.0817161469999999</cx:pt>
          <cx:pt idx="2813">3.9896044169999998</cx:pt>
          <cx:pt idx="2814">2.9715124949999998</cx:pt>
          <cx:pt idx="2815">-1.1645509999999999</cx:pt>
          <cx:pt idx="2816">-0.044019676000000001</cx:pt>
          <cx:pt idx="2817">0</cx:pt>
          <cx:pt idx="2818">0.48909106699999999</cx:pt>
          <cx:pt idx="2819">1.4941409999999999</cx:pt>
          <cx:pt idx="2820">1.5989569109999999</cx:pt>
          <cx:pt idx="2821">1.8676759999999999</cx:pt>
          <cx:pt idx="2822">6.7016600000000004</cx:pt>
          <cx:pt idx="2823">-0.30761719999999998</cx:pt>
          <cx:pt idx="2824">-0.37084422900000003</cx:pt>
          <cx:pt idx="2825">-0.40485781199999998</cx:pt>
          <cx:pt idx="2826">-0.41959760099999999</cx:pt>
          <cx:pt idx="2827">-0.42927356300000002</cx:pt>
          <cx:pt idx="2828">-0.434261701</cx:pt>
          <cx:pt idx="2829">-0.48339840000000001</cx:pt>
          <cx:pt idx="2830">-6.9213870000000002</cx:pt>
          <cx:pt idx="2831">-0.32958979999999999</cx:pt>
          <cx:pt idx="2832">-4.3286129999999998</cx:pt>
          <cx:pt idx="2833">-2.4431431720000001</cx:pt>
          <cx:pt idx="2834">-0.21972659999999999</cx:pt>
          <cx:pt idx="2835">-0.12356829900000001</cx:pt>
          <cx:pt idx="2836">-0.090627583999999997</cx:pt>
          <cx:pt idx="2837">-0.074660756999999994</cx:pt>
          <cx:pt idx="2838">-0.041849984999999999</cx:pt>
          <cx:pt idx="2839">-0.0099163319999999999</cx:pt>
          <cx:pt idx="2840">0.0069357339999999998</cx:pt>
          <cx:pt idx="2841">0.038861264999999999</cx:pt>
          <cx:pt idx="2842">0.054949915000000002</cx:pt>
          <cx:pt idx="2843">0.087760686000000004</cx:pt>
          <cx:pt idx="2844">0.087890629999999997</cx:pt>
          <cx:pt idx="2845">1.38974285</cx:pt>
          <cx:pt idx="2846">2.7329874809999999</cx:pt>
          <cx:pt idx="2847">4.0869140000000002</cx:pt>
          <cx:pt idx="2848">3.5315304730000001</cx:pt>
          <cx:pt idx="2849">2.9453550220000002</cx:pt>
          <cx:pt idx="2850">2.9190830810000001</cx:pt>
          <cx:pt idx="2851">-2.131348</cx:pt>
          <cx:pt idx="2852">1.296387</cx:pt>
          <cx:pt idx="2853">0</cx:pt>
          <cx:pt idx="2854">0.55479758300000004</cx:pt>
          <cx:pt idx="2855">1.536953107</cx:pt>
          <cx:pt idx="2856">2.5708009999999999</cx:pt>
          <cx:pt idx="2857">-1.010742</cx:pt>
          <cx:pt idx="2858">0.19775390000000001</cx:pt>
          <cx:pt idx="2859">3.479445471</cx:pt>
          <cx:pt idx="2860">4.4165039999999998</cx:pt>
          <cx:pt idx="2861">2.7294356030000002</cx:pt>
          <cx:pt idx="2862">2.3141637099999999</cx:pt>
          <cx:pt idx="2863">-1.07666</cx:pt>
          <cx:pt idx="2864">-0.033595862999999997</cx:pt>
          <cx:pt idx="2865">0.069024573000000006</cx:pt>
          <cx:pt idx="2866">0.17733452999999999</cx:pt>
          <cx:pt idx="2867">0.28235605499999999</cx:pt>
          <cx:pt idx="2868">0.28564450000000002</cx:pt>
          <cx:pt idx="2869">4.7680660000000001</cx:pt>
          <cx:pt idx="2870">3.7904409910000001</cx:pt>
          <cx:pt idx="2871">2.8123183799999998</cx:pt>
          <cx:pt idx="2872">1.811310006</cx:pt>
          <cx:pt idx="2873">-0.1757813</cx:pt>
          <cx:pt idx="2874">0.18405355300000001</cx:pt>
          <cx:pt idx="2875">0.42610030399999999</cx:pt>
          <cx:pt idx="2876">0.54388840699999996</cx:pt>
          <cx:pt idx="2877">0.66820697699999998</cx:pt>
          <cx:pt idx="2878">0.90372326000000003</cx:pt>
          <cx:pt idx="2879">1.02804183</cx:pt>
          <cx:pt idx="2880">1.032715</cx:pt>
          <cx:pt idx="2881">0.74498332899999997</cx:pt>
          <cx:pt idx="2882">0.29647142900000001</cx:pt>
          <cx:pt idx="2883">-0.0052995550000000001</cx:pt>
          <cx:pt idx="2884">-1.3473254109999999</cx:pt>
          <cx:pt idx="2885">-1.4941409999999999</cx:pt>
          <cx:pt idx="2886">-1.0729068349999999</cx:pt>
          <cx:pt idx="2887">-0.44668593499999998</cx:pt>
          <cx:pt idx="2888">-0.2416992</cx:pt>
          <cx:pt idx="2889">-0.27506227100000002</cx:pt>
          <cx:pt idx="2890">-0.37167684099999998</cx:pt>
          <cx:pt idx="2891">-0.40330259000000002</cx:pt>
          <cx:pt idx="2892">-0.434928335</cx:pt>
          <cx:pt idx="2893">-0.79101560000000004</cx:pt>
          <cx:pt idx="2894">-0.88374910699999998</cx:pt>
          <cx:pt idx="2895">-0.89910574899999995</cx:pt>
          <cx:pt idx="2896">-0.91469672700000004</cx:pt>
          <cx:pt idx="2897">-0.93066263699999996</cx:pt>
          <cx:pt idx="2898">-0.94601928099999999</cx:pt>
          <cx:pt idx="2899">-1.0398463440000001</cx:pt>
          <cx:pt idx="2900">-1.0867598759999999</cx:pt>
          <cx:pt idx="2901">-1.102108708</cx:pt>
          <cx:pt idx="2902">-1.1183167629999999</cx:pt>
          <cx:pt idx="2903">-1.1805869369999999</cx:pt>
          <cx:pt idx="2904">-1.195935771</cx:pt>
          <cx:pt idx="2905">-1.2275004679999999</cx:pt>
          <cx:pt idx="2906">-1.2428493</cx:pt>
          <cx:pt idx="2907">-1.259057356</cx:pt>
          <cx:pt idx="2908">-1.2744139999999999</cx:pt>
          <cx:pt idx="2909">-1.2299586309999999</cx:pt>
          <cx:pt idx="2910">-1.1399619510000001</cx:pt>
          <cx:pt idx="2911">-1.048539992</cx:pt>
          <cx:pt idx="2912">0.17435600900000001</cx:pt>
          <cx:pt idx="2913">0.1757813</cx:pt>
          <cx:pt idx="2914">3.8516862409999999</cx:pt>
          <cx:pt idx="2915">5.0805299149999996</cx:pt>
          <cx:pt idx="2916">6.328125</cx:pt>
          <cx:pt idx="2917">4.3019052819999999</cx:pt>
          <cx:pt idx="2918">0.21972659999999999</cx:pt>
          <cx:pt idx="2919">-0.19775390000000001</cx:pt>
          <cx:pt idx="2920">4.3505859999999998</cx:pt>
          <cx:pt idx="2921">2.7587687160000001</cx:pt>
          <cx:pt idx="2922">2.3868103970000001</cx:pt>
          <cx:pt idx="2923">-1.516113</cx:pt>
          <cx:pt idx="2924">-1.6880383219999999</cx:pt>
          <cx:pt idx="2925">-2.0416007409999999</cx:pt>
          <cx:pt idx="2926">-3.618063963</cx:pt>
          <cx:pt idx="2927">-3.971538894</cx:pt>
          <cx:pt idx="2928">-3.9770509999999999</cx:pt>
          <cx:pt idx="2929">-3.3201462140000002</cx:pt>
          <cx:pt idx="2930">-2.6415551069999998</cx:pt>
          <cx:pt idx="2931">-1.9577563680000001</cx:pt>
          <cx:pt idx="2932">-1.2470336769999999</cx:pt>
          <cx:pt idx="2933">0.1098633</cx:pt>
          <cx:pt idx="2934">0.17600222300000001</cx:pt>
          <cx:pt idx="2935">0.33890266000000002</cx:pt>
          <cx:pt idx="2936">0.40553259200000003</cx:pt>
          <cx:pt idx="2937">0.46987114600000002</cx:pt>
          <cx:pt idx="2938">0.50383260699999999</cx:pt>
          <cx:pt idx="2939">0.50537109999999996</cx:pt>
          <cx:pt idx="2940">-0.31100867799999998</cx:pt>
          <cx:pt idx="2941">-1.1403687309999999</cx:pt>
          <cx:pt idx="2942">-1.4118509130000001</cx:pt>
          <cx:pt idx="2943">-1.9697288180000001</cx:pt>
          <cx:pt idx="2944">-2.2412109999999998</cx:pt>
          <cx:pt idx="2945">-0.58078005499999996</cx:pt>
          <cx:pt idx="2946">1.170864626</cx:pt>
          <cx:pt idx="2947">4.4917263140000001</cx:pt>
          <cx:pt idx="2948">4.5043949999999997</cx:pt>
          <cx:pt idx="2949">-2.3291019999999998</cx:pt>
          <cx:pt idx="2950">-2.0064006249999999</cx:pt>
          <cx:pt idx="2951">-1.844277049</cx:pt>
          <cx:pt idx="2952">-1.722119953</cx:pt>
          <cx:pt idx="2953">-1.6399293420000001</cx:pt>
          <cx:pt idx="2954">-1.599962857</cx:pt>
          <cx:pt idx="2955">-1.4765243939999999</cx:pt>
          <cx:pt idx="2956">-1.396571091</cx:pt>
          <cx:pt idx="2957">-1.314400818</cx:pt>
          <cx:pt idx="2958">-1.2744139999999999</cx:pt>
          <cx:pt idx="2959">-1.3954197690000001</cx:pt>
          <cx:pt idx="2960">-1.437225792</cx:pt>
          <cx:pt idx="2961">-1.4768357400000001</cx:pt>
          <cx:pt idx="2962">-1.5582315600000001</cx:pt>
          <cx:pt idx="2963">-1.597841509</cx:pt>
          <cx:pt idx="2964">-1.6770412539999999</cx:pt>
          <cx:pt idx="2965">-1.7188472720000001</cx:pt>
          <cx:pt idx="2966">-1.7989939530000001</cx:pt>
          <cx:pt idx="2967">-1.919052787</cx:pt>
          <cx:pt idx="2968">-2.000448607</cx:pt>
          <cx:pt idx="2969">-2.121454376</cx:pt>
          <cx:pt idx="2970">-2.2028703470000002</cx:pt>
          <cx:pt idx="2971">-2.2412109999999998</cx:pt>
          <cx:pt idx="2972">-2.1827873229999999</cx:pt>
          <cx:pt idx="2973">-1.3403320000000001</cx:pt>
          <cx:pt idx="2974">4.5922850000000004</cx:pt>
          <cx:pt idx="2975">3.6912798439999999</cx:pt>
          <cx:pt idx="2976">3.2531519059999998</cx:pt>
          <cx:pt idx="2977">2.8148009649999999</cx:pt>
          <cx:pt idx="2978">1.9140188119999999</cx:pt>
          <cx:pt idx="2979">0.57488571700000002</cx:pt>
          <cx:pt idx="2980">-0.75042348400000003</cx:pt>
          <cx:pt idx="2981">-1.230469</cx:pt>
          <cx:pt idx="2982">-1.1324139900000001</cx:pt>
          <cx:pt idx="2983">-0.92648289800000005</cx:pt>
          <cx:pt idx="2984">-0.81865876400000004</cx:pt>
          <cx:pt idx="2985">-0.61439049300000004</cx:pt>
          <cx:pt idx="2986">0.21972659999999999</cx:pt>
          <cx:pt idx="2987">2.3713841100000002</cx:pt>
          <cx:pt idx="2988">2.9932682709999998</cx:pt>
          <cx:pt idx="2989">3.2958980000000002</cx:pt>
          <cx:pt idx="2990">3.0641014819999999</cx:pt>
          <cx:pt idx="2991">2.8194535850000002</cx:pt>
          <cx:pt idx="2992">2.5877749890000001</cx:pt>
          <cx:pt idx="2993">-0.0038420189999999999</cx:pt>
          <cx:pt idx="2994">-1.186523</cx:pt>
          <cx:pt idx="2995">-0.37355422399999999</cx:pt>
          <cx:pt idx="2996">0.41748049999999998</cx:pt>
          <cx:pt idx="2997">-7.604187123</cx:pt>
          <cx:pt idx="2998">-7.6684570000000001</cx:pt>
          <cx:pt idx="2999">-5.960083075</cx:pt>
          <cx:pt idx="3000">-0.90066765100000001</cx:pt>
          <cx:pt idx="3001">-0.83496090000000001</cx:pt>
          <cx:pt idx="3002">-0.99124008100000005</cx:pt>
          <cx:pt idx="3003">-1.1551040560000001</cx:pt>
          <cx:pt idx="3004">-1.2354541960000001</cx:pt>
          <cx:pt idx="3005">-1.396195015</cx:pt>
          <cx:pt idx="3006">-1.480357827</cx:pt>
          <cx:pt idx="3007">-1.5600590000000001</cx:pt>
          <cx:pt idx="3008">0.74154553499999998</cx:pt>
          <cx:pt idx="3009">3.0794420659999999</cx:pt>
          <cx:pt idx="3010">5.4711910000000001</cx:pt>
          <cx:pt idx="3011">5.1147442160000001</cx:pt>
          <cx:pt idx="3012">4.7385351309999999</cx:pt>
          <cx:pt idx="3013">4.3822696829999996</cx:pt>
          <cx:pt idx="3014">4.0258228989999996</cx:pt>
          <cx:pt idx="3015">2.936901582</cx:pt>
          <cx:pt idx="3016">2.2042457560000002</cx:pt>
          <cx:pt idx="3017">1.8479803079999999</cx:pt>
          <cx:pt idx="3018">0.396991753</cx:pt>
          <cx:pt idx="3019">-1.07666</cx:pt>
          <cx:pt idx="3020">-0.72574761799999998</cx:pt>
          <cx:pt idx="3021">0.19775390000000001</cx:pt>
          <cx:pt idx="3022">5.7128909999999999</cx:pt>
          <cx:pt idx="3023">0.72509769999999996</cx:pt>
          <cx:pt idx="3024">0.18854080300000001</cx:pt>
          <cx:pt idx="3025">-0.28564450000000002</cx:pt>
          <cx:pt idx="3026">4.6754222350000001</cx:pt>
          <cx:pt idx="3027">5.1937873960000003</cx:pt>
          <cx:pt idx="3028">5.6846729250000001</cx:pt>
          <cx:pt idx="3029">6.6941734110000004</cx:pt>
          <cx:pt idx="3030">7.1850589999999999</cx:pt>
          <cx:pt idx="3031">5.8432598249999996</cx:pt>
          <cx:pt idx="3032">0.28564450000000002</cx:pt>
          <cx:pt idx="3033">0.92285159999999999</cx:pt>
          <cx:pt idx="3034">-6.1743160000000001</cx:pt>
          <cx:pt idx="3035">-2.7130177610000001</cx:pt>
          <cx:pt idx="3036">-1.737371464</cx:pt>
          <cx:pt idx="3037">-0.73442397299999995</cx:pt>
          <cx:pt idx="3038">-0.24672488200000001</cx:pt>
          <cx:pt idx="3039">0.24122232399999999</cx:pt>
          <cx:pt idx="3040">0.75622260799999996</cx:pt>
          <cx:pt idx="3041">1.73584</cx:pt>
          <cx:pt idx="3042">1.361883685</cx:pt>
          <cx:pt idx="3043">1.232341219</cx:pt>
          <cx:pt idx="3044">0.85738603499999999</cx:pt>
          <cx:pt idx="3045">0.23701810400000001</cx:pt>
          <cx:pt idx="3046">0.114280517</cx:pt>
          <cx:pt idx="3047">-0.015261949</cx:pt>
          <cx:pt idx="3048">-0.26067468199999999</cx:pt>
          <cx:pt idx="3049">-0.51289229400000003</cx:pt>
          <cx:pt idx="3050">-0.63562987999999998</cx:pt>
          <cx:pt idx="3051">-0.76904300000000003</cx:pt>
          <cx:pt idx="3052">-0.53273932300000004</cx:pt>
          <cx:pt idx="3053">-0.50359969800000004</cx:pt>
          <cx:pt idx="3054">-0.47446007600000001</cx:pt>
          <cx:pt idx="3055">-0.41458007600000002</cx:pt>
          <cx:pt idx="3056">-0.354700073</cx:pt>
          <cx:pt idx="3057">-0.29642082600000003</cx:pt>
          <cx:pt idx="3058">-0.23654082600000001</cx:pt>
          <cx:pt idx="3059">-0.20740120100000001</cx:pt>
          <cx:pt idx="3060">-0.118381575</cx:pt>
          <cx:pt idx="3061">-0.089256773999999997</cx:pt>
          <cx:pt idx="3062">-0.029361953999999999</cx:pt>
          <cx:pt idx="3063">0</cx:pt>
          <cx:pt idx="3064">-0.43571460499999998</cx:pt>
          <cx:pt idx="3065">-1.7066722620000001</cx:pt>
          <cx:pt idx="3066">-2.109375</cx:pt>
          <cx:pt idx="3067">-1.27806325</cx:pt>
          <cx:pt idx="3068">0.29682176700000001</cx:pt>
          <cx:pt idx="3069">2.703419137</cx:pt>
          <cx:pt idx="3070">3.5343301880000002</cx:pt>
          <cx:pt idx="3071">3.5595699999999999</cx:pt>
          <cx:pt idx="3072">2.5563757260000002</cx:pt>
          <cx:pt idx="3073">1.508842869</cx:pt>
          <cx:pt idx="3074">0.99907815300000002</cx:pt>
          <cx:pt idx="3075">0.46131001199999999</cx:pt>
          <cx:pt idx="3076">-0.55821948099999996</cx:pt>
          <cx:pt idx="3077">-1.6057523380000001</cx:pt>
          <cx:pt idx="3078">-1.625977</cx:pt>
          <cx:pt idx="3079">-1.648955833</cx:pt>
          <cx:pt idx="3080">-1.6843056080000001</cx:pt>
          <cx:pt idx="3081">-1.69658189</cx:pt>
          <cx:pt idx="3082">-1.708213298</cx:pt>
          <cx:pt idx="3083">-1.719838789</cx:pt>
          <cx:pt idx="3084">-1.732115071</cx:pt>
          <cx:pt idx="3085">-1.755371969</cx:pt>
          <cx:pt idx="3086">-1.7911832139999999</cx:pt>
          <cx:pt idx="3087">-1.814440112</cx:pt>
          <cx:pt idx="3088">-1.8262549239999999</cx:pt>
          <cx:pt idx="3089">-1.8499792079999999</cx:pt>
          <cx:pt idx="3090">-1.8622495750000001</cx:pt>
          <cx:pt idx="3091">-1.8738809809999999</cx:pt>
          <cx:pt idx="3092">-1.8855123890000001</cx:pt>
          <cx:pt idx="3093">-1.9094141609999999</cx:pt>
          <cx:pt idx="3094">-1.9333159339999999</cx:pt>
          <cx:pt idx="3095">-1.933594</cx:pt>
          <cx:pt idx="3096">-3.8671880000000001</cx:pt>
          <cx:pt idx="3097">-2.9414973689999999</cx:pt>
          <cx:pt idx="3098">-2.0640104080000001</cx:pt>
          <cx:pt idx="3099">-0.295646672</cx:pt>
          <cx:pt idx="3100">1.4941409999999999</cx:pt>
          <cx:pt idx="3101">-0.010985999999999999</cx:pt>
          <cx:pt idx="3102">-0.50342269100000003</cx:pt>
          <cx:pt idx="3103">-1.516113</cx:pt>
          <cx:pt idx="3104">-1.4934975130000001</cx:pt>
          <cx:pt idx="3105">-1.4238326050000001</cx:pt>
          <cx:pt idx="3106">-1.378590121</cx:pt>
          <cx:pt idx="3107">-1.3320816280000001</cx:pt>
          <cx:pt idx="3108">-1.2855846470000001</cx:pt>
          <cx:pt idx="3109">-1.2629576490000001</cx:pt>
          <cx:pt idx="3110">-1.1938336700000001</cx:pt>
          <cx:pt idx="3111">-1.1473366890000001</cx:pt>
          <cx:pt idx="3112">-1.1020826960000001</cx:pt>
          <cx:pt idx="3113">-1.0782127100000001</cx:pt>
          <cx:pt idx="3114">-1.0546880000000001</cx:pt>
          <cx:pt idx="3115">-1.974343945</cx:pt>
          <cx:pt idx="3116">-2.946607346</cx:pt>
          <cx:pt idx="3117">-3.9422517620000002</cx:pt>
          <cx:pt idx="3118">-4.899902</cx:pt>
          <cx:pt idx="3119">-4.2672827670000002</cx:pt>
          <cx:pt idx="3120">-3.5992496909999998</cx:pt>
          <cx:pt idx="3121">-1.032715</cx:pt>
          <cx:pt idx="3122">-3.7854765260000001</cx:pt>
          <cx:pt idx="3123">-4.4604489999999997</cx:pt>
          <cx:pt idx="3124">-0.41748049999999998</cx:pt>
          <cx:pt idx="3125">-0.29750119600000002</cx:pt>
          <cx:pt idx="3126">-0.27650279300000002</cx:pt>
          <cx:pt idx="3127">-0.25660743899999999</cx:pt>
          <cx:pt idx="3128">-0.19582844899999999</cx:pt>
          <cx:pt idx="3129">-0.17594321600000001</cx:pt>
          <cx:pt idx="3130">-0.1757813</cx:pt>
          <cx:pt idx="3131">3.5126322829999999</cx:pt>
          <cx:pt idx="3132">3.6254879999999998</cx:pt>
          <cx:pt idx="3133">2.8420242579999999</cx:pt>
          <cx:pt idx="3134">2.0525339260000002</cx:pt>
          <cx:pt idx="3135">1.2626417510000001</cx:pt>
          <cx:pt idx="3136">-5.9765629999999996</cx:pt>
          <cx:pt idx="3137">-1.801758</cx:pt>
          <cx:pt idx="3138">-1.788479618</cx:pt>
          <cx:pt idx="3139">-1.76330575</cx:pt>
          <cx:pt idx="3140">-1.737440433</cx:pt>
          <cx:pt idx="3141">-1.724853499</cx:pt>
          <cx:pt idx="3142">-1.712272968</cx:pt>
          <cx:pt idx="3143">-1.6864012500000001</cx:pt>
          <cx:pt idx="3144">-1.6605359340000001</cx:pt>
          <cx:pt idx="3145">-1.6479490000000001</cx:pt>
          <cx:pt idx="3146">-1.7183847370000001</cx:pt>
          <cx:pt idx="3147">-1.792763428</cx:pt>
          <cx:pt idx="3148">-2.0058270340000002</cx:pt>
          <cx:pt idx="3149">-2.1506414619999998</cx:pt>
          <cx:pt idx="3150">-2.2211130410000002</cx:pt>
          <cx:pt idx="3151">-2.2915487689999998</cx:pt>
          <cx:pt idx="3152">-2.9374426329999999</cx:pt>
          <cx:pt idx="3153">-3.0117854909999999</cx:pt>
          <cx:pt idx="3154">-3.2248490969999999</cx:pt>
          <cx:pt idx="3155">-3.515625</cx:pt>
          <cx:pt idx="3156">2.48291</cx:pt>
          <cx:pt idx="3157">-0.373995835</cx:pt>
          <cx:pt idx="3158">-0.545786726</cx:pt>
          <cx:pt idx="3159">-0.55234233200000005</cx:pt>
          <cx:pt idx="3160">-0.71102197099999997</cx:pt>
          <cx:pt idx="3161">-0.87617319500000002</cx:pt>
          <cx:pt idx="3162">-1.0505694969999999</cx:pt>
          <cx:pt idx="3163">-1.5553522879999999</cx:pt>
          <cx:pt idx="3164">-2.0601350790000001</cx:pt>
          <cx:pt idx="3165">-2.0654300000000001</cx:pt>
          <cx:pt idx="3166">1.3765774609999999</cx:pt>
          <cx:pt idx="3167">1.40625</cx:pt>
          <cx:pt idx="3168">0.20195649500000001</cx:pt>
          <cx:pt idx="3169">-1.0074246469999999</cx:pt>
          <cx:pt idx="3170">-1.595505296</cx:pt>
          <cx:pt idx="3171">-2.8048865100000002</cx:pt>
          <cx:pt idx="3172">-3.9813471370000002</cx:pt>
          <cx:pt idx="3173">-5.7788089999999999</cx:pt>
          <cx:pt idx="3174">-3.6048145300000001</cx:pt>
          <cx:pt idx="3175">-2.5309978530000001</cx:pt>
          <cx:pt idx="3176">-1.4733206889999999</cx:pt>
          <cx:pt idx="3177">1.7578130000000001</cx:pt>
          <cx:pt idx="3178">1.55886013</cx:pt>
          <cx:pt idx="3179">1.491946244</cx:pt>
          <cx:pt idx="3180">1.426821141</cx:pt>
          <cx:pt idx="3181">1.3940101499999999</cx:pt>
          <cx:pt idx="3182">1.2945337130000001</cx:pt>
          <cx:pt idx="3183">1.227619826</cx:pt>
          <cx:pt idx="3184">1.1950572749999999</cx:pt>
          <cx:pt idx="3185">1.1606893789999999</cx:pt>
          <cx:pt idx="3186">1.1281433890000001</cx:pt>
          <cx:pt idx="3187">1.0955808419999999</cx:pt>
          <cx:pt idx="3188">1.028666952</cx:pt>
          <cx:pt idx="3189">0.99610440499999997</cx:pt>
          <cx:pt idx="3190">0.96173650399999999</cx:pt>
          <cx:pt idx="3191">0.92917395300000005</cx:pt>
          <cx:pt idx="3192">0.49820877299999999</cx:pt>
          <cx:pt idx="3193">0.43308367399999997</cx:pt>
          <cx:pt idx="3194">0.36590478199999998</cx:pt>
          <cx:pt idx="3195">0.30079624500000002</cx:pt>
          <cx:pt idx="3196">0.23388235900000001</cx:pt>
          <cx:pt idx="3197">0.13440592200000001</cx:pt>
          <cx:pt idx="3198">0.067475470999999995</cx:pt>
          <cx:pt idx="3199">0.0023669339999999998</cx:pt>
          <cx:pt idx="3200">-0.064546952000000005</cx:pt>
          <cx:pt idx="3201">-0.097887955999999998</cx:pt>
          <cx:pt idx="3202">-0.16299649199999999</cx:pt>
          <cx:pt idx="3203">-0.22992694</cx:pt>
          <cx:pt idx="3204">-0.26247292999999999</cx:pt>
          <cx:pt idx="3205">-0.329403377</cx:pt>
          <cx:pt idx="3206">-0.4614258</cx:pt>
          <cx:pt idx="3207">-3.9990230000000002</cx:pt>
          <cx:pt idx="3208">0</cx:pt>
          <cx:pt idx="3209">-1.2524409999999999</cx:pt>
          <cx:pt idx="3210">5.2257992519999998</cx:pt>
          <cx:pt idx="3211">7.4639525549999997</cx:pt>
          <cx:pt idx="3212">7.5146480000000002</cx:pt>
          <cx:pt idx="3213">6.6113369280000001</cx:pt>
          <cx:pt idx="3214">5.6863726349999997</cx:pt>
          <cx:pt idx="3215">4.709629337</cx:pt>
          <cx:pt idx="3216">3.7841943580000001</cx:pt>
          <cx:pt idx="3217">-0.90087890000000004</cx:pt>
          <cx:pt idx="3218">-1.2024792500000001</cx:pt>
          <cx:pt idx="3219">-1.215936519</cx:pt>
          <cx:pt idx="3220">-1.230469</cx:pt>
          <cx:pt idx="3221">-1.179242358</cx:pt>
          <cx:pt idx="3222">-1.071396786</cx:pt>
          <cx:pt idx="3223">-0.96646091499999998</cx:pt>
          <cx:pt idx="3224">-0.91397963599999998</cx:pt>
          <cx:pt idx="3225">-0.85693359999999996</cx:pt>
          <cx:pt idx="3226">-0.82408212199999997</cx:pt>
          <cx:pt idx="3227">-0.79014307100000003</cx:pt>
          <cx:pt idx="3228">-0.72040057000000002</cx:pt>
          <cx:pt idx="3229">-0.58277996899999995</cx:pt>
          <cx:pt idx="3230">-0.546147893</cx:pt>
          <cx:pt idx="3231">-0.51303746800000005</cx:pt>
          <cx:pt idx="3232">-0.41042622299999998</cx:pt>
          <cx:pt idx="3233">-0.37353520000000001</cx:pt>
          <cx:pt idx="3234">-0.90801637000000002</cx:pt>
          <cx:pt idx="3235">-2.0421046710000001</cx:pt>
          <cx:pt idx="3236">-3.7280785440000002</cx:pt>
          <cx:pt idx="3237">-4.2799641160000004</cx:pt>
          <cx:pt idx="3238">-5.4140524179999998</cx:pt>
          <cx:pt idx="3239">-5.4272460000000002</cx:pt>
          <cx:pt idx="3240">-4.9036556869999997</cx:pt>
          <cx:pt idx="3241">-3.8013603869999999</cx:pt>
          <cx:pt idx="3242">-3.2649463600000002</cx:pt>
          <cx:pt idx="3243">-1.0900958970000001</cx:pt>
          <cx:pt idx="3244">-0.55368193499999996</cx:pt>
          <cx:pt idx="3245">-0.54931640000000004</cx:pt>
          <cx:pt idx="3246">-8.6975147170000007</cx:pt>
          <cx:pt idx="3247">-8.9428710000000002</cx:pt>
          <cx:pt idx="3248">-7.8003746700000001</cx:pt>
          <cx:pt idx="3249">-6.6104495820000002</cx:pt>
          <cx:pt idx="3250">5.4052730000000002</cx:pt>
          <cx:pt idx="3251">-1.0546880000000001</cx:pt>
          <cx:pt idx="3252">-1.2946520050000001</cx:pt>
          <cx:pt idx="3253">-1.3847848270000001</cx:pt>
          <cx:pt idx="3254">-1.4159246190000001</cx:pt>
          <cx:pt idx="3255">-1.4749326549999999</cx:pt>
          <cx:pt idx="3256">-1.5060574410000001</cx:pt>
          <cx:pt idx="3257">-1.535561459</cx:pt>
          <cx:pt idx="3258">-1.5650654770000001</cx:pt>
          <cx:pt idx="3259">-1.9555659999999999</cx:pt>
          <cx:pt idx="3260">5.9765629999999996</cx:pt>
          <cx:pt idx="3261">-1.186523</cx:pt>
          <cx:pt idx="3262">-5.1416019999999998</cx:pt>
          <cx:pt idx="3263">-4.2488539010000004</cx:pt>
          <cx:pt idx="3264">-3.0480207720000001</cx:pt>
          <cx:pt idx="3265">-2.7558378449999998</cx:pt>
          <cx:pt idx="3266">-1.2744139999999999</cx:pt>
          <cx:pt idx="3267">-0.95005835299999997</cx:pt>
          <cx:pt idx="3268">-0.79233531499999998</cx:pt>
          <cx:pt idx="3269">-0.63453199699999996</cx:pt>
          <cx:pt idx="3270">-0.46797968699999998</cx:pt>
          <cx:pt idx="3271">-0.31017636999999998</cx:pt>
          <cx:pt idx="3272">0.014098997</cx:pt>
          <cx:pt idx="3273">0.8129883</cx:pt>
          <cx:pt idx="3274">5.5824559970000003</cx:pt>
          <cx:pt idx="3275">6.5158398179999999</cx:pt>
          <cx:pt idx="3276">8.4338817559999999</cx:pt>
          <cx:pt idx="3277">9.3672655769999995</cx:pt>
          <cx:pt idx="3278">9.4042969999999997</cx:pt>
          <cx:pt idx="3279">7.7616595630000003</cx:pt>
          <cx:pt idx="3280">-1.032715</cx:pt>
          <cx:pt idx="3281">-1.6479490000000001</cx:pt>
          <cx:pt idx="3282">-0.915336645</cx:pt>
          <cx:pt idx="3283">0.63997299699999999</cx:pt>
          <cx:pt idx="3284">1.3968389269999999</cx:pt>
          <cx:pt idx="3285">2.1533199999999999</cx:pt>
          <cx:pt idx="3286">2.5268549999999999</cx:pt>
          <cx:pt idx="3287">2.1976704570000001</cx:pt>
          <cx:pt idx="3288">2.0219359130000001</cx:pt>
          <cx:pt idx="3289">1.855352428</cx:pt>
          <cx:pt idx="3290">1.6861422530000001</cx:pt>
          <cx:pt idx="3291">1.519643514</cx:pt>
          <cx:pt idx="3292">1.343824224</cx:pt>
          <cx:pt idx="3293">1.010742</cx:pt>
          <cx:pt idx="3294">-8.9868159999999992</cx:pt>
          <cx:pt idx="3295">-7.6691113480000004</cx:pt>
          <cx:pt idx="3296">-6.307783455</cx:pt>
          <cx:pt idx="3297">-4.8709799609999997</cx:pt>
          <cx:pt idx="3298">-4.8280489409999996</cx:pt>
          <cx:pt idx="3299">-3.509651903</cx:pt>
          <cx:pt idx="3300">-0.71221290199999998</cx:pt>
          <cx:pt idx="3301">0.64911515600000003</cx:pt>
          <cx:pt idx="3302">0.703125</cx:pt>
          <cx:pt idx="3303">0.67202716100000004</cx:pt>
          <cx:pt idx="3304">0.50620498899999999</cx:pt>
          <cx:pt idx="3305">0.473805227</cx:pt>
          <cx:pt idx="3306">0.44142194800000001</cx:pt>
          <cx:pt idx="3307">0.40722586199999999</cx:pt>
          <cx:pt idx="3308">0.30824673499999999</cx:pt>
          <cx:pt idx="3309">0.27584697699999999</cx:pt>
          <cx:pt idx="3310">-0.118784085</cx:pt>
          <cx:pt idx="3311">-0.152980171</cx:pt>
          <cx:pt idx="3312">-0.21776321200000001</cx:pt>
          <cx:pt idx="3313">-0.251959294</cx:pt>
          <cx:pt idx="3314">-0.284359056</cx:pt>
          <cx:pt idx="3315">-0.28564450000000002</cx:pt>
          <cx:pt idx="3316">-4.389680297</cx:pt>
          <cx:pt idx="3317">-6.4819339999999999</cx:pt>
          <cx:pt idx="3318">-4.5209493380000003</cx:pt>
          <cx:pt idx="3319">-2.472257833</cx:pt>
          <cx:pt idx="3320">-0.424073268</cx:pt>
          <cx:pt idx="3321">2.6208269049999999</cx:pt>
          <cx:pt idx="3322">4.6142580000000004</cx:pt>
          <cx:pt idx="3323">2.3013876070000001</cx:pt>
          <cx:pt idx="3324">0.108956019</cx:pt>
          <cx:pt idx="3325">0.021972660000000001</cx:pt>
          <cx:pt idx="3326">0.53274416000000002</cx:pt>
          <cx:pt idx="3327">0.80562028500000005</cx:pt>
          <cx:pt idx="3328">1.0641621670000001</cx:pt>
          <cx:pt idx="3329">1.322572584</cx:pt>
          <cx:pt idx="3330">1.595448709</cx:pt>
          <cx:pt idx="3331">1.8539905910000001</cx:pt>
          <cx:pt idx="3332">2.3709428909999999</cx:pt>
          <cx:pt idx="3333">2.3730470000000001</cx:pt>
          <cx:pt idx="3334">-4.7726245250000003</cx:pt>
          <cx:pt idx="3335">-4.9877929999999999</cx:pt>
          <cx:pt idx="3336">-1.3655059759999999</cx:pt>
          <cx:pt idx="3337">0.57717839400000004</cx:pt>
          <cx:pt idx="3338">2.504883</cx:pt>
          <cx:pt idx="3339">2.3269791190000002</cx:pt>
          <cx:pt idx="3340">2.1282627540000001</cx:pt>
          <cx:pt idx="3341">1.567941558</cx:pt>
          <cx:pt idx="3342">1.3707457430000001</cx:pt>
          <cx:pt idx="3343">1.1839086670000001</cx:pt>
          <cx:pt idx="3344">0.99716659500000004</cx:pt>
          <cx:pt idx="3345">0.613133704</cx:pt>
          <cx:pt idx="3346">0.42639163200000002</cx:pt>
          <cx:pt idx="3347">-0.34157912299999998</cx:pt>
          <cx:pt idx="3348">-0.71819936900000003</cx:pt>
          <cx:pt idx="3349">-1.296387</cx:pt>
          <cx:pt idx="3350">1.008810505</cx:pt>
          <cx:pt idx="3351">3.5815429999999999</cx:pt>
          <cx:pt idx="3352">3.3276567350000001</cx:pt>
          <cx:pt idx="3353">1.7454271830000001</cx:pt>
          <cx:pt idx="3354">-1.1425780000000001</cx:pt>
          <cx:pt idx="3355">-1.346481676</cx:pt>
          <cx:pt idx="3356">-1.361934881</cx:pt>
          <cx:pt idx="3357">-1.3937142229999999</cx:pt>
          <cx:pt idx="3358">-1.4091674279999999</cx:pt>
          <cx:pt idx="3359">-1.424628499</cx:pt>
          <cx:pt idx="3360">-1.44094677</cx:pt>
          <cx:pt idx="3361">-1.4563999759999999</cx:pt>
          <cx:pt idx="3362">-1.4718610459999999</cx:pt>
          <cx:pt idx="3363">-1.487565907</cx:pt>
          <cx:pt idx="3364">-1.582031</cx:pt>
          <cx:pt idx="3365">2.3730470000000001</cx:pt>
          <cx:pt idx="3366">2.0284474709999998</cx:pt>
          <cx:pt idx="3367">1.686630482</cx:pt>
          <cx:pt idx="3368">0.81169724399999998</cx:pt>
          <cx:pt idx="3369">0.64074526499999995</cx:pt>
          <cx:pt idx="3370">0.11849831199999999</cx:pt>
          <cx:pt idx="3371">-0.74695692000000002</cx:pt>
          <cx:pt idx="3372">-0.92729995700000001</cx:pt>
          <cx:pt idx="3373">-1.269203893</cx:pt>
          <cx:pt idx="3374">-1.4414601739999999</cx:pt>
          <cx:pt idx="3375">-1.625977</cx:pt>
          <cx:pt idx="3376">-1.662536521</cx:pt>
          <cx:pt idx="3377">-1.738076347</cx:pt>
          <cx:pt idx="3378">-1.7770185279999999</cx:pt>
          <cx:pt idx="3379">-1.891500534</cx:pt>
          <cx:pt idx="3380">-1.9289749979999999</cx:pt>
          <cx:pt idx="3381">-2.0434570000000001</cx:pt>
          <cx:pt idx="3382">-2.1033918329999999</cx:pt>
          <cx:pt idx="3383">-2.1601494020000001</cx:pt>
          <cx:pt idx="3384">-2.2178312610000002</cx:pt>
          <cx:pt idx="3385">-2.3345525380000001</cx:pt>
          <cx:pt idx="3386">-2.3913101060000002</cx:pt>
          <cx:pt idx="3387">-2.4480965499999998</cx:pt>
          <cx:pt idx="3388">-2.504883</cx:pt>
          <cx:pt idx="3389">-0.98876949999999997</cx:pt>
          <cx:pt idx="3390">1.182359012</cx:pt>
          <cx:pt idx="3391">2.4178673399999999</cx:pt>
          <cx:pt idx="3392">2.7465820000000001</cx:pt>
          <cx:pt idx="3393">2.5568471320000001</cx:pt>
          <cx:pt idx="3394">2.362465276</cx:pt>
          <cx:pt idx="3395">1.572776658</cx:pt>
          <cx:pt idx="3396">1.3676177839999999</cx:pt>
          <cx:pt idx="3397">-1.010742</cx:pt>
          <cx:pt idx="3398">0.93461351500000001</cx:pt>
          <cx:pt idx="3399">0.9448242</cx:pt>
          <cx:pt idx="3400">-2.1341691209999998</cx:pt>
          <cx:pt idx="3401">-4.2382172479999998</cx:pt>
          <cx:pt idx="3402">-4.2626949999999999</cx:pt>
          <cx:pt idx="3403">-3.212240354</cx:pt>
          <cx:pt idx="3404">-2.676603133</cx:pt>
          <cx:pt idx="3405">-1.5842384</cx:pt>
          <cx:pt idx="3406">-1.052657017</cx:pt>
          <cx:pt idx="3407">0.039707653000000002</cx:pt>
          <cx:pt idx="3408">0.57128909999999999</cx:pt>
          <cx:pt idx="3409">0.43032052599999998</cx:pt>
          <cx:pt idx="3410">0.022292938000000002</cx:pt>
          <cx:pt idx="3411">-0.111202595</cx:pt>
          <cx:pt idx="3412">-0.38573463400000002</cx:pt>
          <cx:pt idx="3413">-0.51923018300000001</cx:pt>
          <cx:pt idx="3414">-0.65917970000000004</cx:pt>
          <cx:pt idx="3415">-0.70115406400000002</cx:pt>
          <cx:pt idx="3416">-0.74692221599999997</cx:pt>
          <cx:pt idx="3417">-0.79165369799999996</cx:pt>
          <cx:pt idx="3418">-0.83362805600000001</cx:pt>
          <cx:pt idx="3419">-0.87939621300000004</cx:pt>
          <cx:pt idx="3420">-0.96610205400000004</cx:pt>
          <cx:pt idx="3421">-1.0094660049999999</cx:pt>
          <cx:pt idx="3422">-1.0985760520000001</cx:pt>
          <cx:pt idx="3423">-1.187686099</cx:pt>
          <cx:pt idx="3424">-1.1887227730000001</cx:pt>
          <cx:pt idx="3425">-1.231050049</cx:pt>
          <cx:pt idx="3426">-1.2744139999999999</cx:pt>
          <cx:pt idx="3427">-1.153908691</cx:pt>
          <cx:pt idx="3428">-0.92725491800000004</cx:pt>
          <cx:pt idx="3429">-0.69875608300000003</cx:pt>
          <cx:pt idx="3430">-0.58096069800000005</cx:pt>
          <cx:pt idx="3431">-0.46760499100000003</cx:pt>
          <cx:pt idx="3432">-0.23466647900000001</cx:pt>
          <cx:pt idx="3433">-0.0016703270000000001</cx:pt>
          <cx:pt idx="3434">0.111627727</cx:pt>
          <cx:pt idx="3435">0.224983447</cx:pt>
          <cx:pt idx="3436">0.45792194600000002</cx:pt>
          <cx:pt idx="3437">0.57306506000000001</cx:pt>
          <cx:pt idx="3438">0.68642078100000004</cx:pt>
          <cx:pt idx="3439">1.032715</cx:pt>
          <cx:pt idx="3440">0.92079644999999999</cx:pt>
          <cx:pt idx="3441">0.81186978200000004</cx:pt>
          <cx:pt idx="3442">0.69995123199999998</cx:pt>
          <cx:pt idx="3443">0.53356934499999997</cx:pt>
          <cx:pt idx="3444">0.20036232800000001</cx:pt>
          <cx:pt idx="3445">-0.020455188999999999</cx:pt>
          <cx:pt idx="3446">-0.13240144000000001</cx:pt>
          <cx:pt idx="3447">-0.24130040699999999</cx:pt>
          <cx:pt idx="3448">-0.29878332800000001</cx:pt>
          <cx:pt idx="3449">-0.52048733000000003</cx:pt>
          <cx:pt idx="3450">-0.57492296600000004</cx:pt>
          <cx:pt idx="3451">-0.79576818400000005</cx:pt>
          <cx:pt idx="3452">-0.85023152099999999</cx:pt>
          <cx:pt idx="3453">-1.128531959</cx:pt>
          <cx:pt idx="3454">-1.2408937520000001</cx:pt>
          <cx:pt idx="3455">-1.461738969</cx:pt>
          <cx:pt idx="3456">-1.628120856</cx:pt>
          <cx:pt idx="3457">-1.682556486</cx:pt>
          <cx:pt idx="3458">-1.7945027440000001</cx:pt>
          <cx:pt idx="3459">-1.848938373</cx:pt>
          <cx:pt idx="3460">-1.9608846310000001</cx:pt>
          <cx:pt idx="3461">-2.125105713</cx:pt>
          <cx:pt idx="3462">-2.2370242629999999</cx:pt>
          <cx:pt idx="3463">-2.2914876</cx:pt>
          <cx:pt idx="3464">-2.3489705139999999</cx:pt>
          <cx:pt idx="3465">-2.6242513679999999</cx:pt>
          <cx:pt idx="3466">-2.845096592</cx:pt>
          <cx:pt idx="3467">-2.9003909999999999</cx:pt>
          <cx:pt idx="3468">-1.742812689</cx:pt>
          <cx:pt idx="3469">-1.720468916</cx:pt>
          <cx:pt idx="3470">-1.1799220159999999</cx:pt>
          <cx:pt idx="3471">-0.022343703999999999</cx:pt>
          <cx:pt idx="3472">0</cx:pt>
          <cx:pt idx="3473">-1.1319987010000001</cx:pt>
          <cx:pt idx="3474">-1.3552640730000001</cx:pt>
          <cx:pt idx="3475">-1.3623050000000001</cx:pt>
          <cx:pt idx="3476">4.6801760000000003</cx:pt>
          <cx:pt idx="3477">3.9696725769999999</cx:pt>
          <cx:pt idx="3478">2.6175237349999998</cx:pt>
          <cx:pt idx="3479">1.9440185729999999</cx:pt>
          <cx:pt idx="3480">0.56001006900000005</cx:pt>
          <cx:pt idx="3481">-0.83496090000000001</cx:pt>
          <cx:pt idx="3482">-6.4125508010000001</cx:pt>
          <cx:pt idx="3483">-8.2468543010000008</cx:pt>
          <cx:pt idx="3484">-8.3056640000000002</cx:pt>
          <cx:pt idx="3485">-6.8485856500000004</cx:pt>
          <cx:pt idx="3486">-5.3565797550000003</cx:pt>
          <cx:pt idx="3487">-3.7810519870000001</cx:pt>
          <cx:pt idx="3488">-3.757514059</cx:pt>
          <cx:pt idx="3489">-2.2882870369999999</cx:pt>
          <cx:pt idx="3490">-2.2412109999999998</cx:pt>
          <cx:pt idx="3491">-2.1676589229999998</cx:pt>
          <cx:pt idx="3492">-2.0108921309999999</cx:pt>
          <cx:pt idx="3493">-1.9349050779999999</cx:pt>
          <cx:pt idx="3494">-1.8589566630000001</cx:pt>
          <cx:pt idx="3495">-1.626821219</cx:pt>
          <cx:pt idx="3496">-1.314485809</cx:pt>
          <cx:pt idx="3497">-0.15380859999999999</cx:pt>
          <cx:pt idx="3498">-4.5483399999999996</cx:pt>
          <cx:pt idx="3499">-2.3071290000000002</cx:pt>
          <cx:pt idx="3500">-4.0869140000000002</cx:pt>
          <cx:pt idx="3501">-8.9868159999999992</cx:pt>
          <cx:pt idx="3502">0.21972659999999999</cx:pt>
          <cx:pt idx="3503">-1.428223</cx:pt>
          <cx:pt idx="3504">-1.0162252890000001</cx:pt>
          <cx:pt idx="3505">-0.91264670299999995</cx:pt>
          <cx:pt idx="3506">-0.81545169100000003</cx:pt>
          <cx:pt idx="3507">-0.50543666700000001</cx:pt>
          <cx:pt idx="3508">-0.40427766799999998</cx:pt>
          <cx:pt idx="3509">-0.095086331999999996</cx:pt>
          <cx:pt idx="3510">0.21410500399999999</cx:pt>
          <cx:pt idx="3511">0.32092684199999999</cx:pt>
          <cx:pt idx="3512">0.52329632699999995</cx:pt>
          <cx:pt idx="3513">0.73132866500000004</cx:pt>
          <cx:pt idx="3514">0.93452183899999997</cx:pt>
          <cx:pt idx="3515">1.1425026869999999</cx:pt>
          <cx:pt idx="3516">1.350535013</cx:pt>
          <cx:pt idx="3517">1.4516940229999999</cx:pt>
          <cx:pt idx="3518">2.070900371</cx:pt>
          <cx:pt idx="3519">2.2732698569999998</cx:pt>
          <cx:pt idx="3520">2.3809153950000002</cx:pt>
          <cx:pt idx="3521">2.583284881</cx:pt>
          <cx:pt idx="3522">2.892476217</cx:pt>
          <cx:pt idx="3523">2.9936352159999999</cx:pt>
          <cx:pt idx="3524">3.302826552</cx:pt>
          <cx:pt idx="3525">3.510858877</cx:pt>
          <cx:pt idx="3526">3.7188397379999998</cx:pt>
          <cx:pt idx="3527">3.823242</cx:pt>
          <cx:pt idx="3528">3.2919564160000001</cx:pt>
          <cx:pt idx="3529">-1.713867</cx:pt>
          <cx:pt idx="3530">3.845215</cx:pt>
          <cx:pt idx="3531">2.044802008</cx:pt>
          <cx:pt idx="3532">1.054193776</cx:pt>
          <cx:pt idx="3533">0.41748049999999998</cx:pt>
          <cx:pt idx="3534">-0.371404489</cx:pt>
          <cx:pt idx="3535">-0.50458301500000002</cx:pt>
          <cx:pt idx="3536">-0.63416835999999999</cx:pt>
          <cx:pt idx="3537">-0.76737985799999997</cx:pt>
          <cx:pt idx="3538">-0.83215604499999996</cx:pt>
          <cx:pt idx="3539">-1.032715</cx:pt>
          <cx:pt idx="3540">2.580706583</cx:pt>
          <cx:pt idx="3541">4.3665253999999996</cx:pt>
          <cx:pt idx="3542">6.1523440000000003</cx:pt>
          <cx:pt idx="3543">4.869907209</cx:pt>
          <cx:pt idx="3544">1.032715</cx:pt>
          <cx:pt idx="3545">-0.54931640000000004</cx:pt>
          <cx:pt idx="3546">4.6801760000000003</cx:pt>
          <cx:pt idx="3547">-0.37353520000000001</cx:pt>
          <cx:pt idx="3548">-0.34745042300000001</cx:pt>
          <cx:pt idx="3549">-0.33566898000000001</cx:pt>
          <cx:pt idx="3550">-0.33283130599999999</cx:pt>
          <cx:pt idx="3551">-0.329970347</cx:pt>
          <cx:pt idx="3552">-0.32711084499999998</cx:pt>
          <cx:pt idx="3553">-0.32123031000000002</cx:pt>
          <cx:pt idx="3554">-0.31548656600000002</cx:pt>
          <cx:pt idx="3555">-0.31242187700000001</cx:pt>
          <cx:pt idx="3556">-0.30674652800000002</cx:pt>
          <cx:pt idx="3557">-0.30086744900000001</cx:pt>
          <cx:pt idx="3558">-0.292127411</cx:pt>
          <cx:pt idx="3559">-0.28633855499999999</cx:pt>
          <cx:pt idx="3560">-0.28347759700000003</cx:pt>
          <cx:pt idx="3561">-0.27759851699999999</cx:pt>
          <cx:pt idx="3562">-0.27183149000000001</cx:pt>
          <cx:pt idx="3563">-0.268813368</cx:pt>
          <cx:pt idx="3564">-0.263091452</cx:pt>
          <cx:pt idx="3565">-0.22220711000000001</cx:pt>
          <cx:pt idx="3566">-0.181503216</cx:pt>
          <cx:pt idx="3567">-0.1757813</cx:pt>
          <cx:pt idx="3568">-1.3428855930000001</cx:pt>
          <cx:pt idx="3569">-1.9332325699999999</cx:pt>
          <cx:pt idx="3570">-2.5237256970000002</cx:pt>
          <cx:pt idx="3571">-3.0981450000000001</cx:pt>
          <cx:pt idx="3572">-4.0093431300000004</cx:pt>
          <cx:pt idx="3573">-4.0229561660000002</cx:pt>
          <cx:pt idx="3574">-4.8722367240000004</cx:pt>
          <cx:pt idx="3575">-4.899902</cx:pt>
          <cx:pt idx="3576">-3.3053184259999999</cx:pt>
          <cx:pt idx="3577">-1.723161371</cx:pt>
          <cx:pt idx="3578">-1.6918949999999999</cx:pt>
          <cx:pt idx="3579">-0.51574109099999998</cx:pt>
          <cx:pt idx="3580">-0.44755925800000002</cx:pt>
          <cx:pt idx="3581">-0.239268282</cx:pt>
          <cx:pt idx="3582">-0.099159123000000002</cx:pt>
          <cx:pt idx="3583">-0.030977299</cx:pt>
          <cx:pt idx="3584">0.040984706000000003</cx:pt>
          <cx:pt idx="3585">0.109131852</cx:pt>
          <cx:pt idx="3586">0.11131673</cx:pt>
          <cx:pt idx="3587">0.177313685</cx:pt>
          <cx:pt idx="3588">0.52734380000000003</cx:pt>
          <cx:pt idx="3589">3.0322269999999998</cx:pt>
          <cx:pt idx="3590">8.2836909999999992</cx:pt>
          <cx:pt idx="3591">-0.72509769999999996</cx:pt>
          <cx:pt idx="3592">-0.69371887099999996</cx:pt>
          <cx:pt idx="3593">-0.61523439999999996</cx:pt>
          <cx:pt idx="3594">1.1206050000000001</cx:pt>
          <cx:pt idx="3595">0.51846339100000005</cx:pt>
          <cx:pt idx="3596">0.440057965</cx:pt>
          <cx:pt idx="3597">0.43945309999999999</cx:pt>
          <cx:pt idx="3598">1.27958397</cx:pt>
          <cx:pt idx="3599">2.1266082339999999</cx:pt>
          <cx:pt idx="3600">2.1533199999999999</cx:pt>
          <cx:pt idx="3601">1.594628905</cx:pt>
          <cx:pt idx="3602">-0.92285159999999999</cx:pt>
          <cx:pt idx="3603">0.087890629999999997</cx:pt>
          <cx:pt idx="3604">1.1686424689999999</cx:pt>
          <cx:pt idx="3605">1.7049267349999999</cx:pt>
          <cx:pt idx="3606">2.2412109999999998</cx:pt>
          <cx:pt idx="3607">-0.43945309999999999</cx:pt>
          <cx:pt idx="3608">5.4052730000000002</cx:pt>
          <cx:pt idx="3609">1.5600590000000001</cx:pt>
          <cx:pt idx="3610">-0.3515625</cx:pt>
          <cx:pt idx="3611">3.6914060000000002</cx:pt>
          <cx:pt idx="3612">1.07666</cx:pt>
          <cx:pt idx="3613">5.0756839999999999</cx:pt>
          <cx:pt idx="3614">-2.109375</cx:pt>
          <cx:pt idx="3615">0.2416992</cx:pt>
          <cx:pt idx="3616">-7.9760739999999997</cx:pt>
          <cx:pt idx="3617">-7.0384922799999998</cx:pt>
          <cx:pt idx="3618">-5.0959779210000002</cx:pt>
          <cx:pt idx="3619">-4.1433754450000002</cx:pt>
          <cx:pt idx="3620">-2.1858404459999998</cx:pt>
          <cx:pt idx="3621">-1.1726706730000001</cx:pt>
          <cx:pt idx="3622">-0.227820943</cx:pt>
          <cx:pt idx="3623">0.72429703000000001</cx:pt>
          <cx:pt idx="3624">0.74707029999999996</cx:pt>
          <cx:pt idx="3625">0.57473563999999999</cx:pt>
          <cx:pt idx="3626">0.40511932699999997</cx:pt>
          <cx:pt idx="3627">0.23079984200000001</cx:pt>
          <cx:pt idx="3628">-0.113179112</cx:pt>
          <cx:pt idx="3629">-0.28749859799999999</cx:pt>
          <cx:pt idx="3630">-0.45983325800000002</cx:pt>
          <cx:pt idx="3631">-0.54466299200000001</cx:pt>
          <cx:pt idx="3632">-0.71898247800000004</cx:pt>
          <cx:pt idx="3633">-1.3214202660000001</cx:pt>
          <cx:pt idx="3634">-1.40625</cx:pt>
          <cx:pt idx="3635">1.98133077</cx:pt>
          <cx:pt idx="3636">5.2954100000000004</cx:pt>
          <cx:pt idx="3637">4.3955649489999997</cx:pt>
          <cx:pt idx="3638">2.6584381549999998</cx:pt>
          <cx:pt idx="3639">0.86540375700000005</cx:pt>
          <cx:pt idx="3640">-0.0064874390000000002</cx:pt>
          <cx:pt idx="3641">-1.7578130000000001</cx:pt>
          <cx:pt idx="3642">-1.818878561</cx:pt>
          <cx:pt idx="3643">-1.9956302429999999</cx:pt>
          <cx:pt idx="3644">-2.172381933</cx:pt>
          <cx:pt idx="3645">-2.2894512370000002</cx:pt>
          <cx:pt idx="3646">-2.4051373649999999</cx:pt>
          <cx:pt idx="3647">-2.4662029190000001</cx:pt>
          <cx:pt idx="3648">-2.582801356</cx:pt>
          <cx:pt idx="3649">-2.64065913</cx:pt>
          <cx:pt idx="3650">-2.7017246909999999</cx:pt>
          <cx:pt idx="3651">-2.7026370000000002</cx:pt>
          <cx:pt idx="3652">-2.4560472139999998</cx:pt>
          <cx:pt idx="3653">-2.336641942</cx:pt>
          <cx:pt idx="3654">-2.2152609989999998</cx:pt>
          <cx:pt idx="3655">-1.221307803</cx:pt>
          <cx:pt idx="3656">-1.09801291</cx:pt>
          <cx:pt idx="3657">-0.110789393</cx:pt>
          <cx:pt idx="3658">-0.1098633</cx:pt>
          <cx:pt idx="3659">-0.15368420299999999</cx:pt>
          <cx:pt idx="3660">-0.175423264</cx:pt>
          <cx:pt idx="3661">-0.220095595</cx:pt>
          <cx:pt idx="3662">-0.26390543900000002</cx:pt>
          <cx:pt idx="3663">-0.28564450000000002</cx:pt>
          <cx:pt idx="3664">-3.836116971</cx:pt>
          <cx:pt idx="3665">-3.88916</cx:pt>
          <cx:pt idx="3666">-3.3749740749999999</cx:pt>
          <cx:pt idx="3667">-2.8483949690000001</cx:pt>
          <cx:pt idx="3668">-2.0402002050000001</cx:pt>
          <cx:pt idx="3669">-1.2524409999999999</cx:pt>
          <cx:pt idx="3670">-1.2706273269999999</cx:pt>
          <cx:pt idx="3671">-1.2886576700000001</cx:pt>
          <cx:pt idx="3672">-1.324874339</cx:pt>
          <cx:pt idx="3673">-1.34391401</cx:pt>
          <cx:pt idx="3674">-1.3619443520000001</cx:pt>
          <cx:pt idx="3675">-1.656109592</cx:pt>
          <cx:pt idx="3676">-1.673855485</cx:pt>
          <cx:pt idx="3677">-1.6918949999999999</cx:pt>
          <cx:pt idx="3678">-2.8945550940000002</cx:pt>
          <cx:pt idx="3679">-3.516723362</cx:pt>
          <cx:pt idx="3680">-4.0972152590000004</cx:pt>
          <cx:pt idx="3681">-5.2954100000000004</cx:pt>
          <cx:pt idx="3682">0.61523439999999996</cx:pt>
          <cx:pt idx="3683">2.3950200000000001</cx:pt>
          <cx:pt idx="3684">0.70679651300000002</cx:pt>
          <cx:pt idx="3685">-0.995279091</cx:pt>
          <cx:pt idx="3686">-1.07666</cx:pt>
          <cx:pt idx="3687">-1.078110999</cx:pt>
          <cx:pt idx="3688">-1.0795502779999999</cx:pt>
          <cx:pt idx="3689">-1.0824639949999999</cx:pt>
          <cx:pt idx="3690">-1.0868638690000001</cx:pt>
          <cx:pt idx="3691">-1.0897658670000001</cx:pt>
          <cx:pt idx="3692">-1.091285716</cx:pt>
          <cx:pt idx="3693">-1.0941650080000001</cx:pt>
          <cx:pt idx="3694">-1.095650432</cx:pt>
          <cx:pt idx="3695">-1.097090444</cx:pt>
          <cx:pt idx="3696">-1.098609561</cx:pt>
          <cx:pt idx="3697">-1.098633</cx:pt>
          <cx:pt idx="3698">-5.8463335499999998</cx:pt>
          <cx:pt idx="3699">-5.9985350000000004</cx:pt>
          <cx:pt idx="3700">-5.0273355070000001</cx:pt>
          <cx:pt idx="3701">-4.0934897619999999</cx:pt>
          <cx:pt idx="3702">-3.1519816770000002</cx:pt>
          <cx:pt idx="3703">-2.2104737069999998</cx:pt>
          <cx:pt idx="3704">-1.216766056</cx:pt>
          <cx:pt idx="3705">0.703125</cx:pt>
          <cx:pt idx="3706">0.65390037099999998</cx:pt>
          <cx:pt idx="3707">0.549398257</cx:pt>
          <cx:pt idx="3708">0.54776864599999997</cx:pt>
          <cx:pt idx="3709">0.39404191</cx:pt>
          <cx:pt idx="3710">0.343187664</cx:pt>
          <cx:pt idx="3711">0.18661557000000001</cx:pt>
          <cx:pt idx="3712">0.031259215999999999</cx:pt>
          <cx:pt idx="3713">-0.071225275000000005</cx:pt>
          <cx:pt idx="3714">-0.175753254</cx:pt>
          <cx:pt idx="3715">-0.277435875</cx:pt>
          <cx:pt idx="3716">-0.38356759299999998</cx:pt>
          <cx:pt idx="3717">-0.43439597499999999</cx:pt>
          <cx:pt idx="3718">-0.486853961</cx:pt>
          <cx:pt idx="3719">-0.53931195300000001</cx:pt>
          <cx:pt idx="3720">-0.90087890000000004</cx:pt>
          <cx:pt idx="3721">-1.28399353</cx:pt>
          <cx:pt idx="3722">-1.3617088150000001</cx:pt>
          <cx:pt idx="3723">-1.3623050000000001</cx:pt>
          <cx:pt idx="3724">3.0102540000000002</cx:pt>
          <cx:pt idx="3725">2.9458543800000001</cx:pt>
          <cx:pt idx="3726">2.6128677219999998</cx:pt>
          <cx:pt idx="3727">2.4783411129999999</cx:pt>
          <cx:pt idx="3728">2.2128841540000002</cx:pt>
          <cx:pt idx="3729">2.078357537</cx:pt>
          <cx:pt idx="3730">0.87890630000000003</cx:pt>
          <cx:pt idx="3731">-4.2996182919999999</cx:pt>
          <cx:pt idx="3732">-4.3286129999999998</cx:pt>
          <cx:pt idx="3733">-3.8973059029999999</cx:pt>
          <cx:pt idx="3734">-3.4792895399999999</cx:pt>
          <cx:pt idx="3735">-3.0445525070000001</cx:pt>
          <cx:pt idx="3736">-2.1917991620000001</cx:pt>
          <cx:pt idx="3737">-1.3456911840000001</cx:pt>
          <cx:pt idx="3738">-0.90087890000000004</cx:pt>
          <cx:pt idx="3739">1.6410559149999999</cx:pt>
          <cx:pt idx="3740">6.7236330000000004</cx:pt>
          <cx:pt idx="3741">5.1467909079999998</cx:pt>
          <cx:pt idx="3742">0.57128909999999999</cx:pt>
          <cx:pt idx="3743">0.497789276</cx:pt>
          <cx:pt idx="3744">-0.90087890000000004</cx:pt>
          <cx:pt idx="3745">-6.3940429999999999</cx:pt>
          <cx:pt idx="3746">-1.263446941</cx:pt>
          <cx:pt idx="3747">-1.247492687</cx:pt>
          <cx:pt idx="3748">-0.25214984800000001</cx:pt>
          <cx:pt idx="3749">-0.21972659999999999</cx:pt>
          <cx:pt idx="3750">-0.26415949399999999</cx:pt>
          <cx:pt idx="3751">-0.31260838499999999</cx:pt>
          <cx:pt idx="3752">-0.49764814800000001</cx:pt>
          <cx:pt idx="3753">-0.68668056200000005</cx:pt>
          <cx:pt idx="3754">-0.73258442800000001</cx:pt>
          <cx:pt idx="3755">-0.87172031900000002</cx:pt>
          <cx:pt idx="3756">-0.96604973500000002</cx:pt>
          <cx:pt idx="3757">-0.96679689999999996</cx:pt>
          <cx:pt idx="3758">-1.444747502</cx:pt>
          <cx:pt idx="3759">-1.961250454</cx:pt>
          <cx:pt idx="3760">-2.4431551539999998</cx:pt>
          <cx:pt idx="3761">-2.9443359999999998</cx:pt>
          <cx:pt idx="3762">1.6918949999999999</cx:pt>
          <cx:pt idx="3763">1.608858463</cx:pt>
          <cx:pt idx="3764">1.5234983419999999</cx:pt>
          <cx:pt idx="3765">1.4819906380000001</cx:pt>
          <cx:pt idx="3766">1.396630512</cx:pt>
          <cx:pt idx="3767">1.3551228070000001</cx:pt>
          <cx:pt idx="3768">1.1425780000000001</cx:pt>
          <cx:pt idx="3769">-1.032715</cx:pt>
          <cx:pt idx="3770">-1.0336710760000001</cx:pt>
          <cx:pt idx="3771">-1.036538827</cx:pt>
          <cx:pt idx="3772">-1.048959202</cx:pt>
          <cx:pt idx="3773">-1.0518346119999999</cx:pt>
          <cx:pt idx="3774">-1.0528055300000001</cx:pt>
          <cx:pt idx="3775">-1.0537467650000001</cx:pt>
          <cx:pt idx="3776">-1.0546880000000001</cx:pt>
          <cx:pt idx="3777">0.23202394000000001</cx:pt>
          <cx:pt idx="3778">0.67545979300000003</cx:pt>
          <cx:pt idx="3779">2.8125</cx:pt>
          <cx:pt idx="3780">-2.7026370000000002</cx:pt>
          <cx:pt idx="3781">-1.636909768</cx:pt>
          <cx:pt idx="3782">-0.57128909999999999</cx:pt>
          <cx:pt idx="3783">-0.83225178399999999</cx:pt>
          <cx:pt idx="3784">-1.086991799</cx:pt>
          <cx:pt idx="3785">-1.3418614740000001</cx:pt>
          <cx:pt idx="3786">-1.5986757119999999</cx:pt>
          <cx:pt idx="3787">-1.8676759999999999</cx:pt>
          <cx:pt idx="3788">-1.8340340159999999</cx:pt>
          <cx:pt idx="3789">-1.7664973559999999</cx:pt>
          <cx:pt idx="3790">-1.700274702</cx:pt>
          <cx:pt idx="3791">-1.3623050000000001</cx:pt>
          <cx:pt idx="3792">0.69146959100000005</cx:pt>
          <cx:pt idx="3793">0.89928466699999998</cx:pt>
          <cx:pt idx="3794">0.90087890000000004</cx:pt>
          <cx:pt idx="3795">0.87916596999999996</cx:pt>
          <cx:pt idx="3796">0.84991138499999996</cx:pt>
          <cx:pt idx="3797">0.82791275799999997</cx:pt>
          <cx:pt idx="3798">0.65917970000000004</cx:pt>
          <cx:pt idx="3799">1.322997977</cx:pt>
          <cx:pt idx="3800">1.5600590000000001</cx:pt>
          <cx:pt idx="3801">-1.0546880000000001</cx:pt>
          <cx:pt idx="3802">-0.52812896200000004</cx:pt>
          <cx:pt idx="3803">1.5652897990000001</cx:pt>
          <cx:pt idx="3804">2.087402</cx:pt>
          <cx:pt idx="3805">2.0118108239999999</cx:pt>
          <cx:pt idx="3806">1.618736693</cx:pt>
          <cx:pt idx="3807">-0.33202356900000002</cx:pt>
          <cx:pt idx="3808">-0.41308387899999999</cx:pt>
          <cx:pt idx="3809">-0.413669852</cx:pt>
          <cx:pt idx="3810">-0.56907124899999995</cx:pt>
          <cx:pt idx="3811">-0.72263658399999997</cx:pt>
          <cx:pt idx="3812">-0.72509769999999996</cx:pt>
          <cx:pt idx="3813">-1.3388706939999999</cx:pt>
          <cx:pt idx="3814">-1.541912556</cx:pt>
          <cx:pt idx="3815">-1.756211567</cx:pt>
          <cx:pt idx="3816">-2.163844428</cx:pt>
          <cx:pt idx="3817">-2.5810820080000001</cx:pt>
          <cx:pt idx="3818">-2.790527</cx:pt>
          <cx:pt idx="3819">-2.091677953</cx:pt>
          <cx:pt idx="3820">-1.409492918</cx:pt>
          <cx:pt idx="3821">-0.72696082200000001</cx:pt>
          <cx:pt idx="3822">0.68115230000000004</cx:pt>
          <cx:pt idx="3823">0.49007177699999999</cx:pt>
          <cx:pt idx="3824">0.100267527</cx:pt>
          <cx:pt idx="3825">-0.37821770300000002</cx:pt>
          <cx:pt idx="3826">-0.69002190500000005</cx:pt>
          <cx:pt idx="3827">-0.88267027200000003</cx:pt>
          <cx:pt idx="3828">-1.075220632</cx:pt>
          <cx:pt idx="3829">-1.2785499060000001</cx:pt>
          <cx:pt idx="3830">-1.4711982729999999</cx:pt>
          <cx:pt idx="3831">-1.663748633</cx:pt>
          <cx:pt idx="3832">-1.6699219999999999</cx:pt>
          <cx:pt idx="3833">-1.4854212369999999</cx:pt>
          <cx:pt idx="3834">-1.3942839899999999</cx:pt>
          <cx:pt idx="3835">-1.2973028200000001</cx:pt>
          <cx:pt idx="3836">-1.1157240239999999</cx:pt>
          <cx:pt idx="3837">-1.0245404</cx:pt>
          <cx:pt idx="3838">-0.92830131599999999</cx:pt>
          <cx:pt idx="3839">-0.74523834899999997</cx:pt>
          <cx:pt idx="3840">-0.46667838299999997</cx:pt>
          <cx:pt idx="3841">-0.28217763099999998</cx:pt>
          <cx:pt idx="3842">0</cx:pt>
          <cx:pt idx="3843">0.061801666999999998</cx:pt>
          <cx:pt idx="3844">0.092468522999999997</cx:pt>
          <cx:pt idx="3845">0.124835627</cx:pt>
          <cx:pt idx="3846">0.15548688199999999</cx:pt>
          <cx:pt idx="3847">0.18615373900000001</cx:pt>
          <cx:pt idx="3848">0.24967125400000001</cx:pt>
          <cx:pt idx="3849">0.280322509</cx:pt>
          <cx:pt idx="3850">0.343356465</cx:pt>
          <cx:pt idx="3851">0.40564169100000003</cx:pt>
          <cx:pt idx="3852">0.43630854800000002</cx:pt>
          <cx:pt idx="3853">0.49957648500000001</cx:pt>
          <cx:pt idx="3854">0.52999376300000001</cx:pt>
          <cx:pt idx="3855">0.56064501799999999</cx:pt>
          <cx:pt idx="3856">0.59301212199999997</cx:pt>
          <cx:pt idx="3857">0.5932617</cx:pt>
          <cx:pt idx="3858">0.30567977200000002</cx:pt>
          <cx:pt idx="3859">0.0076670339999999997</cx:pt>
          <cx:pt idx="3860">-0.13667486500000001</cx:pt>
          <cx:pt idx="3861">-0.28109019899999999</cx:pt>
          <cx:pt idx="3862">-0.28564450000000002</cx:pt>
          <cx:pt idx="3863">5.7557627480000004</cx:pt>
          <cx:pt idx="3864">5.8007809999999997</cx:pt>
          <cx:pt idx="3865">5.3351495990000002</cx:pt>
          <cx:pt idx="3866">1.032715</cx:pt>
          <cx:pt idx="3867">-3.5815429999999999</cx:pt>
          <cx:pt idx="3868">-3.4026954150000002</cx:pt>
          <cx:pt idx="3869">-3.3131523500000002</cx:pt>
          <cx:pt idx="3870">-3.253143889</cx:pt>
          <cx:pt idx="3871">-3.194775409</cx:pt>
          <cx:pt idx="3872">-3.1652258980000001</cx:pt>
          <cx:pt idx="3873">-3.1640630000000001</cx:pt>
          <cx:pt idx="3874">-2.2465906879999999</cx:pt>
          <cx:pt idx="3875">-1.9254444529999999</cx:pt>
          <cx:pt idx="3876">-1.621322787</cx:pt>
          <cx:pt idx="3877">0.54931640000000004</cx:pt>
          <cx:pt idx="3878">0.46536687199999999</cx:pt>
          <cx:pt idx="3879">0.44143864900000002</cx:pt>
          <cx:pt idx="3880">0.41788196500000002</cx:pt>
          <cx:pt idx="3881">0.405351558</cx:pt>
          <cx:pt idx="3882">0.39366610000000002</cx:pt>
          <cx:pt idx="3883">0.369456228</cx:pt>
          <cx:pt idx="3884">0.345899544</cx:pt>
          <cx:pt idx="3885">0.33402232500000001</cx:pt>
          <cx:pt idx="3886">0.32159379100000002</cx:pt>
          <cx:pt idx="3887">0.30981245400000001</cx:pt>
          <cx:pt idx="3888">0.20221036000000001</cx:pt>
          <cx:pt idx="3889">0.189775834</cx:pt>
          <cx:pt idx="3890">0.17800048900000001</cx:pt>
          <cx:pt idx="3891">0.15425204200000001</cx:pt>
          <cx:pt idx="3892">0.14182351000000001</cx:pt>
          <cx:pt idx="3893">0.094332609999999997</cx:pt>
          <cx:pt idx="3894">0.081898084999999995</cx:pt>
          <cx:pt idx="3895">0.070116745999999994</cx:pt>
          <cx:pt idx="3896">0.058341400000000002</cx:pt>
          <cx:pt idx="3897">0.022350189999999999</cx:pt>
          <cx:pt idx="3898">0.021972660000000001</cx:pt>
          <cx:pt idx="3899">-1.336944125</cx:pt>
          <cx:pt idx="3900">-2.6647922340000001</cx:pt>
          <cx:pt idx="3901">-3.9919648259999998</cx:pt>
          <cx:pt idx="3902">-5.3306194519999996</cx:pt>
          <cx:pt idx="3903">-5.3833010000000003</cx:pt>
          <cx:pt idx="3904">-3.5160927040000001</cx:pt>
          <cx:pt idx="3905">-1.6769486330000001</cx:pt>
          <cx:pt idx="3906">-1.6479490000000001</cx:pt>
          <cx:pt idx="3907">-1.636354128</cx:pt>
          <cx:pt idx="3908">-1.623920349</cx:pt>
          <cx:pt idx="3909">-1.5879313020000001</cx:pt>
          <cx:pt idx="3910">-1.5404492489999999</cx:pt>
          <cx:pt idx="3911">-1.504460202</cx:pt>
          <cx:pt idx="3912">-1.492583698</cx:pt>
          <cx:pt idx="3913">-1.252626757</cx:pt>
          <cx:pt idx="3914">-1.2524409999999999</cx:pt>
          <cx:pt idx="3915">-4.5904292089999998</cx:pt>
          <cx:pt idx="3916">-8.1699249439999999</cx:pt>
          <cx:pt idx="3917">-8.1958009999999994</cx:pt>
          <cx:pt idx="3918">0</cx:pt>
          <cx:pt idx="3919">-6.1743160000000001</cx:pt>
          <cx:pt idx="3920">0.39550780000000002</cx:pt>
          <cx:pt idx="3921">0.57128909999999999</cx:pt>
          <cx:pt idx="3922">0.90208076400000003</cx:pt>
          <cx:pt idx="3923">0.98528501599999996</cx:pt>
          <cx:pt idx="3924">1.1477668379999999</cx:pt>
          <cx:pt idx="3925">1.2315910859999999</cx:pt>
          <cx:pt idx="3926">1.3128113370000001</cx:pt>
          <cx:pt idx="3927">1.479839836</cx:pt>
          <cx:pt idx="3928">2.3071290000000002</cx:pt>
          <cx:pt idx="3929">-0.45928092799999998</cx:pt>
          <cx:pt idx="3930">-0.4614258</cx:pt>
          <cx:pt idx="3931">-0.86136680399999999</cx:pt>
          <cx:pt idx="3932">-0.97544182599999996</cx:pt>
          <cx:pt idx="3933">-1.00352139</cx:pt>
          <cx:pt idx="3934">-1.003964152</cx:pt>
          <cx:pt idx="3935">-1.032715</cx:pt>
          <cx:pt idx="3936">-1.6755419090000001</cx:pt>
          <cx:pt idx="3937">-2.33102418</cx:pt>
          <cx:pt idx="3938">-2.96898369</cx:pt>
          <cx:pt idx="3939">-3.2980227929999999</cx:pt>
          <cx:pt idx="3940">-3.9535050639999998</cx:pt>
          <cx:pt idx="3941">-4.2724848189999998</cx:pt>
          <cx:pt idx="3942">-4.5913022989999996</cx:pt>
          <cx:pt idx="3943">-5.5709562740000003</cx:pt>
          <cx:pt idx="3944">-6.2238425709999996</cx:pt>
          <cx:pt idx="3945">-6.5478519999999998</cx:pt>
          <cx:pt idx="3946">-0.92285159999999999</cx:pt>
          <cx:pt idx="3947">-2.087402</cx:pt>
          <cx:pt idx="3948">5.4272460000000002</cx:pt>
          <cx:pt idx="3949">0.32958979999999999</cx:pt>
          <cx:pt idx="3950">-0.37151996599999998</cx:pt>
          <cx:pt idx="3951">-0.37353520000000001</cx:pt>
          <cx:pt idx="3952">1.2885074489999999</cx:pt>
          <cx:pt idx="3953">2.8864331070000002</cx:pt>
          <cx:pt idx="3954">4.6142580000000004</cx:pt>
          <cx:pt idx="3955">3.9953132280000001</cx:pt>
          <cx:pt idx="3956">-2.2631839999999999</cx:pt>
          <cx:pt idx="3957">-2.0329583869999999</cx:pt>
          <cx:pt idx="3958">-2.011701956</cx:pt>
          <cx:pt idx="3959">-1.9914307819999999</cx:pt>
          <cx:pt idx="3960">-1.928479039</cx:pt>
          <cx:pt idx="3961">-1.886616026</cx:pt>
          <cx:pt idx="3962">-1.864866964</cx:pt>
          <cx:pt idx="3963">-1.8442708649999999</cx:pt>
          <cx:pt idx="3964">-1.8236642830000001</cx:pt>
          <cx:pt idx="3965">-1.801758</cx:pt>
          <cx:pt idx="3966">1.820154222</cx:pt>
          <cx:pt idx="3967">5.4717847580000001</cx:pt>
          <cx:pt idx="3968">5.5590820000000001</cx:pt>
          <cx:pt idx="3969">1.8965630840000001</cx:pt>
          <cx:pt idx="3970">0.67900147300000002</cx:pt>
          <cx:pt idx="3971">-0.59633445299999999</cx:pt>
          <cx:pt idx="3972">-1.8046767050000001</cx:pt>
          <cx:pt idx="3973">-1.8237300000000001</cx:pt>
          <cx:pt idx="3974">-1.6619450849999999</cx:pt>
          <cx:pt idx="3975">-1.2586780639999999</cx:pt>
          <cx:pt idx="3976">-1.0975009010000001</cx:pt>
          <cx:pt idx="3977">-0.93377116999999998</cx:pt>
          <cx:pt idx="3978">-0.851602419</cx:pt>
          <cx:pt idx="3979">-0.773242282</cx:pt>
          <cx:pt idx="3980">-0.68916923799999996</cx:pt>
          <cx:pt idx="3981">-0.52734380000000003</cx:pt>
          <cx:pt idx="3982">-0.350686371</cx:pt>
          <cx:pt idx="3983">-0.33274460099999997</cx:pt>
          <cx:pt idx="3984">-0.31563445200000001</cx:pt>
          <cx:pt idx="3985">-0.297276871</cx:pt>
          <cx:pt idx="3986">-0.26249920900000001</cx:pt>
          <cx:pt idx="3987">-0.226748372</cx:pt>
          <cx:pt idx="3988">-0.20936396600000001</cx:pt>
          <cx:pt idx="3989">-0.138419658</cx:pt>
          <cx:pt idx="3990">-0.121035251</cx:pt>
          <cx:pt idx="3991">-0.050232496000000001</cx:pt>
          <cx:pt idx="3992">-0.014481661</cx:pt>
          <cx:pt idx="3993">0.038237772000000003</cx:pt>
          <cx:pt idx="3994">0.056595353000000001</cx:pt>
          <cx:pt idx="3995">0.073979760000000006</cx:pt>
          <cx:pt idx="3996">0.1098633</cx:pt>
          <cx:pt idx="3997">-4.8591306860000003</cx:pt>
          <cx:pt idx="3998">-4.899902</cx:pt>
          <cx:pt idx="3999">-4.7293654040000002</cx:pt>
          <cx:pt idx="4000">-4.5478969969999996</cx:pt>
          <cx:pt idx="4001">-0.52734380000000003</cx:pt>
          <cx:pt idx="4002">-0.59077488099999997</cx:pt>
          <cx:pt idx="4003">-0.62689780799999995</cx:pt>
          <cx:pt idx="4004">-0.63578946599999997</cx:pt>
          <cx:pt idx="4005">-0.65406123599999999</cx:pt>
          <cx:pt idx="4006">-0.67212495999999999</cx:pt>
          <cx:pt idx="4007">-0.68115230000000004</cx:pt>
          <cx:pt idx="4008">-1.106925962</cx:pt>
          <cx:pt idx="4009">-1.1480982749999999</cx:pt>
          <cx:pt idx="4010">-1.1922722880000001</cx:pt>
          <cx:pt idx="4011">-1.233125274</cx:pt>
          <cx:pt idx="4012">-1.3191315530000001</cx:pt>
          <cx:pt idx="4013">-1.360985106</cx:pt>
          <cx:pt idx="4014">-1.3623050000000001</cx:pt>
          <cx:pt idx="4015">-1.376208114</cx:pt>
          <cx:pt idx="4016">-1.383079285</cx:pt>
          <cx:pt idx="4017">-1.39719909</cx:pt>
          <cx:pt idx="4018">-1.410993857</cx:pt>
          <cx:pt idx="4019">-1.4251171570000001</cx:pt>
          <cx:pt idx="4020">-1.4392369599999999</cx:pt>
          <cx:pt idx="4021">-1.446108132</cx:pt>
          <cx:pt idx="4022">-1.4602279359999999</cx:pt>
          <cx:pt idx="4023">-1.4739667839999999</cx:pt>
          <cx:pt idx="4024">-1.481002221</cx:pt>
          <cx:pt idx="4025">-1.4878698969999999</cx:pt>
          <cx:pt idx="4026">-1.502101541</cx:pt>
          <cx:pt idx="4027">-1.5090251379999999</cx:pt>
          <cx:pt idx="4028">-1.51589631</cx:pt>
          <cx:pt idx="4029">-1.516113</cx:pt>
          <cx:pt idx="4030">3.2988364899999998</cx:pt>
          <cx:pt idx="4031">8.0037020670000008</cx:pt>
          <cx:pt idx="4032">8.0419920000000005</cx:pt>
          <cx:pt idx="4033">7.2077331259999999</cx:pt>
          <cx:pt idx="4034">5.5058450969999999</cx:pt>
          <cx:pt idx="4035">4.6181080919999999</cx:pt>
          <cx:pt idx="4036">3.7774318990000002</cx:pt>
          <cx:pt idx="4037">-0.52734380000000003</cx:pt>
          <cx:pt idx="4038">4.196777</cx:pt>
          <cx:pt idx="4039">0.9448242</cx:pt>
          <cx:pt idx="4040">7.2290039999999998</cx:pt>
          <cx:pt idx="4041">-1.1645509999999999</cx:pt>
          <cx:pt idx="4042">-0.30761719999999998</cx:pt>
          <cx:pt idx="4043">-3.853869295</cx:pt>
          <cx:pt idx="4044">-7.4267580000000004</cx:pt>
          <cx:pt idx="4045">1.779785</cx:pt>
          <cx:pt idx="4046">1.631009532</cx:pt>
          <cx:pt idx="4047">1.4703166320000001</cx:pt>
          <cx:pt idx="4048">1.3215411640000001</cx:pt>
          <cx:pt idx="4049">1.010919509</cx:pt>
          <cx:pt idx="4050">0.85860725900000001</cx:pt>
          <cx:pt idx="4051">0.707448297</cx:pt>
          <cx:pt idx="4052">0.244514392</cx:pt>
          <cx:pt idx="4053">0.093355430000000003</cx:pt>
          <cx:pt idx="4054">-0.066184163000000004</cx:pt>
          <cx:pt idx="4055">-0.217343125</cx:pt>
          <cx:pt idx="4056">-0.21972659999999999</cx:pt>
          <cx:pt idx="4057">0.46318583800000002</cx:pt>
          <cx:pt idx="4058">0.79808374800000004</cx:pt>
          <cx:pt idx="4059">1.132811367</cx:pt>
          <cx:pt idx="4060">1.478270663</cx:pt>
          <cx:pt idx="4061">1.8131686140000001</cx:pt>
          <cx:pt idx="4062">1.8237300000000001</cx:pt>
          <cx:pt idx="4063">1.5180787920000001</cx:pt>
          <cx:pt idx="4064">1.2197158530000001</cx:pt>
          <cx:pt idx="4065">0.62040868900000001</cx:pt>
          <cx:pt idx="4066">0.30534347899999997</cx:pt>
          <cx:pt idx="4067">0.0045511170000000004</cx:pt>
          <cx:pt idx="4068">-0.29396368499999997</cx:pt>
          <cx:pt idx="4069">-1.511405981</cx:pt>
          <cx:pt idx="4070">-1.516113</cx:pt>
          <cx:pt idx="4071">-1.0918613429999999</cx:pt>
          <cx:pt idx="4072">-0.95226656499999995</cx:pt>
          <cx:pt idx="4073">-0.80493231799999998</cx:pt>
          <cx:pt idx="4074">-0.66540853899999997</cx:pt>
          <cx:pt idx="4075">-0.52581377699999998</cx:pt>
          <cx:pt idx="4076">-0.38515392399999998</cx:pt>
          <cx:pt idx="4077">-0.098295898000000007</cx:pt>
          <cx:pt idx="4078">0.041298863999999998</cx:pt>
          <cx:pt idx="4079">0.045701143</cx:pt>
          <cx:pt idx="4080">0.32822790600000001</cx:pt>
          <cx:pt idx="4081">0.46775166899999998</cx:pt>
          <cx:pt idx="4082">0.61508593199999995</cx:pt>
          <cx:pt idx="4083">0.90087890000000004</cx:pt>
          <cx:pt idx="4084">0.25209299800000001</cx:pt>
          <cx:pt idx="4085">-0.093094392999999998</cx:pt>
          <cx:pt idx="4086">-0.75485602399999996</cx:pt>
          <cx:pt idx="4087">-4.4165039999999998</cx:pt>
          <cx:pt idx="4088">-3.1458758470000001</cx:pt>
          <cx:pt idx="4089">-2.5232363910000002</cx:pt>
          <cx:pt idx="4090">-1.2380324519999999</cx:pt>
          <cx:pt idx="4091">-0.61507607900000005</cx:pt>
          <cx:pt idx="4092">0.012633225</cx:pt>
          <cx:pt idx="4093">1.282944536</cx:pt>
          <cx:pt idx="4094">2.5532558480000001</cx:pt>
          <cx:pt idx="4095">3.186035</cx:pt>
          <cx:pt idx="4096">1.6559935800000001</cx:pt>
          <cx:pt idx="4097">-1.5756753100000001</cx:pt>
          <cx:pt idx="4098">-3.1302291310000001</cx:pt>
          <cx:pt idx="4099">-3.14209</cx:pt>
          <cx:pt idx="4100">-2.91610814</cx:pt>
          <cx:pt idx="4101">-2.8057279240000002</cx:pt>
          <cx:pt idx="4102">-2.5789038899999999</cx:pt>
          <cx:pt idx="4103">-2.2451806040000002</cx:pt>
          <cx:pt idx="4104">-2.0192548850000001</cx:pt>
          <cx:pt idx="4105">-1.9062358779999999</cx:pt>
          <cx:pt idx="4106">-1.5716704180000001</cx:pt>
          <cx:pt idx="4107">-1.461290215</cx:pt>
          <cx:pt idx="4108">-1.3447902439999999</cx:pt>
          <cx:pt idx="4109">-1.234466168</cx:pt>
          <cx:pt idx="4110">-1.1214471610000001</cx:pt>
          <cx:pt idx="4111">-1.1206050000000001</cx:pt>
          <cx:pt idx="4112">3.88916</cx:pt>
          <cx:pt idx="4113">2.1447925250000002</cx:pt>
          <cx:pt idx="4114">-1.3040610509999999</cx:pt>
          <cx:pt idx="4115">-3.0761720000000001</cx:pt>
          <cx:pt idx="4116">-2.492351728</cx:pt>
          <cx:pt idx="4117">-1.894270168</cx:pt>
          <cx:pt idx="4118">-1.3101527369999999</cx:pt>
          <cx:pt idx="4119">-0.69840420700000005</cx:pt>
          <cx:pt idx="4120">-0.123794301</cx:pt>
          <cx:pt idx="4121">0.460323129</cx:pt>
          <cx:pt idx="4122">2.2587273250000002</cx:pt>
          <cx:pt idx="4123">2.2631839999999999</cx:pt>
          <cx:pt idx="4124">2.0736454339999999</cx:pt>
          <cx:pt idx="4125">1.677916328</cx:pt>
          <cx:pt idx="4126">1.4853412130000001</cx:pt>
          <cx:pt idx="4127">-0.28564450000000002</cx:pt>
          <cx:pt idx="4128">2.504883</cx:pt>
          <cx:pt idx="4129">1.7210337410000001</cx:pt>
          <cx:pt idx="4130">-1.672380881</cx:pt>
          <cx:pt idx="4131">-2.0214840000000001</cx:pt>
          <cx:pt idx="4132">-1.74374151</cx:pt>
          <cx:pt idx="4133">-1.6885399299999999</cx:pt>
          <cx:pt idx="4134">-1.6054045159999999</cx:pt>
          <cx:pt idx="4135">-1.605196367</cx:pt>
          <cx:pt idx="4136">-1.495001357</cx:pt>
          <cx:pt idx="4137">-1.4941409999999999</cx:pt>
          <cx:pt idx="4138">-5.9985350000000004</cx:pt>
          <cx:pt idx="4139">-2.9779513350000002</cx:pt>
          <cx:pt idx="4140">-1.497273004</cx:pt>
          <cx:pt idx="4141">-1.4501949999999999</cx:pt>
          <cx:pt idx="4142">-8.9648439999999994</cx:pt>
          <cx:pt idx="4143">-1.230469</cx:pt>
          <cx:pt idx="4144">0.410582004</cx:pt>
          <cx:pt idx="4145">1.218264504</cx:pt>
          <cx:pt idx="4146">5.2954100000000004</cx:pt>
          <cx:pt idx="4147">-0.51213973800000001</cx:pt>
          <cx:pt idx="4148">-2.7246090000000001</cx:pt>
          <cx:pt idx="4149">-0.023308071</cx:pt>
          <cx:pt idx="4150">0.41103812000000001</cx:pt>
          <cx:pt idx="4151">0.85257097199999998</cx:pt>
          <cx:pt idx="4152">1.3183590000000001</cx:pt>
          <cx:pt idx="4153">-0.4614258</cx:pt>
          <cx:pt idx="4154">-0.232404581</cx:pt>
          <cx:pt idx="4155">-0.010384974999999999</cx:pt>
          <cx:pt idx="4156">0.43884897299999998</cx:pt>
          <cx:pt idx="4157">0.67317790200000005</cx:pt>
          <cx:pt idx="4158">1.1206050000000001</cx:pt>
          <cx:pt idx="4159">1.0687658579999999</cx:pt>
          <cx:pt idx="4160">1.041422426</cx:pt>
          <cx:pt idx="4161">1.015502854</cx:pt>
          <cx:pt idx="4162">0.98958328200000001</cx:pt>
          <cx:pt idx="4163">0.85775734599999998</cx:pt>
          <cx:pt idx="4164">0.83018978499999996</cx:pt>
          <cx:pt idx="4165">0.80469209799999997</cx:pt>
          <cx:pt idx="4166">0.77733547999999997</cx:pt>
          <cx:pt idx="4167">0.75142909400000002</cx:pt>
          <cx:pt idx="4168">0.72550952099999999</cx:pt>
          <cx:pt idx="4169">0.69877254899999997</cx:pt>
          <cx:pt idx="4170">0.67326167699999995</cx:pt>
          <cx:pt idx="4171">0.594079103</cx:pt>
          <cx:pt idx="4172">0.5932617</cx:pt>
          <cx:pt idx="4173">3.6474609999999998</cx:pt>
          <cx:pt idx="4174">-1.5718990580000001</cx:pt>
          <cx:pt idx="4175">-2.716261598</cx:pt>
          <cx:pt idx="4176">-3.3178709999999998</cx:pt>
          <cx:pt idx="4177">-2.9193645579999998</cx:pt>
          <cx:pt idx="4178">-2.5290651799999999</cx:pt>
          <cx:pt idx="4179">-2.3906700609999998</cx:pt>
          <cx:pt idx="4180">-2.1284407789999999</cx:pt>
          <cx:pt idx="4181">-1.9983189210000001</cx:pt>
          <cx:pt idx="4182">-1.9952743610000001</cx:pt>
          <cx:pt idx="4183">-1.73092712</cx:pt>
          <cx:pt idx="4184">-1.463469138</cx:pt>
          <cx:pt idx="4185">-1.0701252000000001</cx:pt>
          <cx:pt idx="4186">0.78321769900000004</cx:pt>
          <cx:pt idx="4187">1.05166848</cx:pt>
          <cx:pt idx="4188">1.1817903219999999</cx:pt>
          <cx:pt idx="4189">1.314956741</cx:pt>
          <cx:pt idx="4190">1.4450785989999999</cx:pt>
          <cx:pt idx="4191">1.5803629610000001</cx:pt>
          <cx:pt idx="4192">1.8457030000000001</cx:pt>
          <cx:pt idx="4193">1.677547525</cx:pt>
          <cx:pt idx="4194">1.511378801</cx:pt>
          <cx:pt idx="4195">1.423665723</cx:pt>
          <cx:pt idx="4196">0.74707029999999996</cx:pt>
          <cx:pt idx="4197">-0.52734380000000003</cx:pt>
          <cx:pt idx="4198">5.2294919999999996</cx:pt>
          <cx:pt idx="4199">1.1645509999999999</cx:pt>
          <cx:pt idx="4200">1.1645509999999999</cx:pt>
          <cx:pt idx="4201">-0.41073685700000001</cx:pt>
          <cx:pt idx="4202">-0.87890630000000003</cx:pt>
          <cx:pt idx="4203">5.2294919999999996</cx:pt>
          <cx:pt idx="4204">-8.8330079999999995</cx:pt>
          <cx:pt idx="4205">24.279789999999998</cx:pt>
          <cx:pt idx="4206">116.9385</cx:pt>
          <cx:pt idx="4207">106.2158</cx:pt>
          <cx:pt idx="4208">47.570799999999998</cx:pt>
          <cx:pt idx="4209">86.374510000000001</cx:pt>
          <cx:pt idx="4210">107.0288</cx:pt>
          <cx:pt idx="4211">103.9746</cx:pt>
          <cx:pt idx="4212">54.492190000000001</cx:pt>
          <cx:pt idx="4213">37.881068069999998</cx:pt>
          <cx:pt idx="4214">26.674800000000001</cx:pt>
          <cx:pt idx="4215">7.3168949999999997</cx:pt>
          <cx:pt idx="4216">4.0694755999999996</cx:pt>
          <cx:pt idx="4217">1.230469</cx:pt>
          <cx:pt idx="4218">1.229974761</cx:pt>
          <cx:pt idx="4219">1.2298938100000001</cx:pt>
          <cx:pt idx="4220">1.226843677</cx:pt>
          <cx:pt idx="4221">1.2213237109999999</cx:pt>
          <cx:pt idx="4222">1.217452236</cx:pt>
          <cx:pt idx="4223">1.2162980240000001</cx:pt>
          <cx:pt idx="4224">1.216215754</cx:pt>
          <cx:pt idx="4225">1.2059991409999999</cx:pt>
          <cx:pt idx="4226">1.2058352590000001</cx:pt>
          <cx:pt idx="4227">1.2032799830000001</cx:pt>
          <cx:pt idx="4228">1.2031161020000001</cx:pt>
          <cx:pt idx="4229">1.2030325550000001</cx:pt>
          <cx:pt idx="4230">1.199655937</cx:pt>
          <cx:pt idx="4231">1.1992439690000001</cx:pt>
          <cx:pt idx="4232">1.1952054000000001</cx:pt>
          <cx:pt idx="4233">1.194628274</cx:pt>
          <cx:pt idx="4234">1.188779968</cx:pt>
          <cx:pt idx="4235">1.1838332970000001</cx:pt>
          <cx:pt idx="4236">1.1835890819999999</cx:pt>
          <cx:pt idx="4237">1.1819412499999999</cx:pt>
          <cx:pt idx="4238">1.181117354</cx:pt>
          <cx:pt idx="4239">1.179056275</cx:pt>
          <cx:pt idx="4240">1.1771616730000001</cx:pt>
          <cx:pt idx="4241">1.1702406839999999</cx:pt>
          <cx:pt idx="4242">1.1655440370000001</cx:pt>
          <cx:pt idx="4243">1.1590338630000001</cx:pt>
          <cx:pt idx="4244">1.1535932419999999</cx:pt>
          <cx:pt idx="4245">1.1525262430000001</cx:pt>
          <cx:pt idx="4246">1.152445827</cx:pt>
          <cx:pt idx="4247">1.152198193</cx:pt>
          <cx:pt idx="4248">1.1505504010000001</cx:pt>
          <cx:pt idx="4249">1.1503027669999999</cx:pt>
          <cx:pt idx="4250">1.143544052</cx:pt>
          <cx:pt idx="4251">1.142390129</cx:pt>
          <cx:pt idx="4252">1.1391758679999999</cx:pt>
          <cx:pt idx="4253">1.1381871429999999</cx:pt>
          <cx:pt idx="4254">1.13398387</cx:pt>
          <cx:pt idx="4255">1.131764472</cx:pt>
          <cx:pt idx="4256">1.131347353</cx:pt>
          <cx:pt idx="4257">1.1258326190000001</cx:pt>
          <cx:pt idx="4258">1.1209711019999999</cx:pt>
          <cx:pt idx="4259">1.120310428</cx:pt>
          <cx:pt idx="4260">1.118829648</cx:pt>
          <cx:pt idx="4261">1.118661895</cx:pt>
          <cx:pt idx="4262">1.1185802840000001</cx:pt>
          <cx:pt idx="4263">1.1164394479999999</cx:pt>
          <cx:pt idx="4264">1.1163571779999999</cx:pt>
          <cx:pt idx="4265">1.109511868</cx:pt>
          <cx:pt idx="4266">1.1049867229999999</cx:pt>
          <cx:pt idx="4267">1.10095005</cx:pt>
          <cx:pt idx="4268">1.098636393</cx:pt>
          <cx:pt idx="4269">1.094770027</cx:pt>
          <cx:pt idx="4270">1.0815045169999999</cx:pt>
          <cx:pt idx="4271">1.0789505180000001</cx:pt>
          <cx:pt idx="4272">1.067908732</cx:pt>
          <cx:pt idx="4273">1.0665077089999999</cx:pt>
          <cx:pt idx="4274">1.0631246649999999</cx:pt>
          <cx:pt idx="4275">1.057192771</cx:pt>
          <cx:pt idx="4276">1.057032762</cx:pt>
          <cx:pt idx="4277">1.0568669449999999</cx:pt>
          <cx:pt idx="4278">1.0493701479999999</cx:pt>
          <cx:pt idx="4279">1.049206885</cx:pt>
          <cx:pt idx="4280">1.043521801</cx:pt>
          <cx:pt idx="4281">1.0414555729999999</cx:pt>
          <cx:pt idx="4282">1.038407377</cx:pt>
          <cx:pt idx="4283">1.0336284600000001</cx:pt>
          <cx:pt idx="4284">1.0327274019999999</cx:pt>
          <cx:pt idx="4285">1.0135249310000001</cx:pt>
          <cx:pt idx="4286">1.0084985849999999</cx:pt>
          <cx:pt idx="4287">1.0049599819999999</cx:pt>
          <cx:pt idx="4288">1.0038025559999999</cx:pt>
          <cx:pt idx="4289">1.003390588</cx:pt>
          <cx:pt idx="4290">0.99424467999999999</cx:pt>
          <cx:pt idx="4291">0.993420784</cx:pt>
          <cx:pt idx="4292">0.99326139400000002</cx:pt>
          <cx:pt idx="4293">0.984851963</cx:pt>
          <cx:pt idx="4294">0.98155633799999997</cx:pt>
          <cx:pt idx="4295">0.97479988900000003</cx:pt>
          <cx:pt idx="4296">0.97265785900000001</cx:pt>
          <cx:pt idx="4297">0.97241492100000004</cx:pt>
          <cx:pt idx="4298">0.97232816</cx:pt>
          <cx:pt idx="4299">0.96640013899999999</cx:pt>
          <cx:pt idx="4300">0.964583317</cx:pt>
          <cx:pt idx="4301">0.95996951699999999</cx:pt>
          <cx:pt idx="4302">0.95832172500000001</cx:pt>
          <cx:pt idx="4303">0.95477863100000004</cx:pt>
          <cx:pt idx="4304">0.95264109100000005</cx:pt>
          <cx:pt idx="4305">0.95098880900000005</cx:pt>
          <cx:pt idx="4306">0.94950551599999999</cx:pt>
          <cx:pt idx="4307">0.94192966199999995</cx:pt>
          <cx:pt idx="4308">0.92693025900000003</cx:pt>
          <cx:pt idx="4309">0.92610636300000004</cx:pt>
          <cx:pt idx="4310">0.92116290499999998</cx:pt>
          <cx:pt idx="4311">0.914653885</cx:pt>
          <cx:pt idx="4312">0.91448872699999995</cx:pt>
          <cx:pt idx="4313">0.90880360199999999</cx:pt>
          <cx:pt idx="4314">0.90872133200000005</cx:pt>
          <cx:pt idx="4315">0.90789743599999995</cx:pt>
          <cx:pt idx="4316">0.89636268799999996</cx:pt>
          <cx:pt idx="4317">0.89545652200000003</cx:pt>
          <cx:pt idx="4318">0.89471489599999998</cx:pt>
          <cx:pt idx="4319">0.88598091599999995</cx:pt>
          <cx:pt idx="4320">0.88433312500000005</cx:pt>
          <cx:pt idx="4321">0.87823475500000003</cx:pt>
          <cx:pt idx="4322">0.87271482899999997</cx:pt>
          <cx:pt idx="4323">0.86538318999999997</cx:pt>
          <cx:pt idx="4324">0.86315695400000003</cx:pt>
          <cx:pt idx="4325">0.85953290800000004</cx:pt>
          <cx:pt idx="4326">0.85607274300000002</cx:pt>
          <cx:pt idx="4327">0.85557854499999997</cx:pt>
          <cx:pt idx="4328">0.84684460699999997</cx:pt>
          <cx:pt idx="4329">0.83514469999999996</cx:pt>
          <cx:pt idx="4330">0.83407399400000004</cx:pt>
          <cx:pt idx="4331">0.83333236799999999</cx:pt>
          <cx:pt idx="4332">0.82879956099999996</cx:pt>
          <cx:pt idx="4333">0.82435161899999998</cx:pt>
          <cx:pt idx="4334">0.81949043200000005</cx:pt>
          <cx:pt idx="4335">0.81396918799999995</cx:pt>
          <cx:pt idx="4336">0.81380530699999998</cx:pt>
          <cx:pt idx="4337">0.81372175999999996</cx:pt>
          <cx:pt idx="4338">0.80853215099999998</cx:pt>
          <cx:pt idx="4339">0.80746144500000006</cx:pt>
          <cx:pt idx="4340">0.80737855700000005</cx:pt>
          <cx:pt idx="4341">0.80573072400000001</cx:pt>
          <cx:pt idx="4342">0.79848007799999998</cx:pt>
          <cx:pt idx="4343">0.79773906999999999</cx:pt>
          <cx:pt idx="4344">0.797491642</cx:pt>
          <cx:pt idx="4345">0.79304242300000005</cx:pt>
          <cx:pt idx="4346">0.79114716200000001</cx:pt>
          <cx:pt idx="4347">0.79032260700000001</cx:pt>
          <cx:pt idx="4348">0.77755137600000002</cx:pt>
          <cx:pt idx="4349">0.77549289300000002</cx:pt>
          <cx:pt idx="4350">0.77532835300000003</cx:pt>
          <cx:pt idx="4351">0.76585274699999994</cx:pt>
          <cx:pt idx="4352">0.764863034</cx:pt>
          <cx:pt idx="4353">0.76206160700000003</cx:pt>
          <cx:pt idx="4354">0.76082574300000005</cx:pt>
          <cx:pt idx="4355">0.76041509200000001</cx:pt>
          <cx:pt idx="4356">0.75629553100000002</cx:pt>
          <cx:pt idx="4357">0.75209373999999996</cx:pt>
          <cx:pt idx="4358">0.75077300999999996</cx:pt>
          <cx:pt idx="4359">0.74418048400000003</cx:pt>
          <cx:pt idx="4360">0.73866311299999998</cx:pt>
          <cx:pt idx="4361">0.72671643699999999</cx:pt>
          <cx:pt idx="4362">0.72589122299999997</cx:pt>
          <cx:pt idx="4363">0.72531603300000003</cx:pt>
          <cx:pt idx="4364">0.72523054899999995</cx:pt>
          <cx:pt idx="4365">0.72152423300000001</cx:pt>
          <cx:pt idx="4366">0.71435457999999996</cx:pt>
          <cx:pt idx="4367">0.71320415800000003</cx:pt>
          <cx:pt idx="4368">0.71295673000000004</cx:pt>
          <cx:pt idx="4369">0.71262641299999996</cx:pt>
          <cx:pt idx="4370">0.71032050199999996</cx:pt>
          <cx:pt idx="4371">0.70949528799999995</cx:pt>
          <cx:pt idx="4372">0.70776522600000003</cx:pt>
          <cx:pt idx="4373">0.69828962000000006</cx:pt>
          <cx:pt idx="4374">0.69606338300000004</cx:pt>
          <cx:pt idx="4375">0.68889500800000003</cx:pt>
          <cx:pt idx="4376">0.68420091400000005</cx:pt>
          <cx:pt idx="4377">0.67975165400000004</cx:pt>
          <cx:pt idx="4378">0.67629149</cx:pt>
          <cx:pt idx="4379">0.67604406100000003</cx:pt>
          <cx:pt idx="4380">0.67225419799999997</cx:pt>
          <cx:pt idx="4381">0.66664878900000002</cx:pt>
          <cx:pt idx="4382">0.66343733000000005</cx:pt>
          <cx:pt idx="4383">0.65758836600000004</cx:pt>
          <cx:pt idx="4384">0.65346559000000004</cx:pt>
          <cx:pt idx="4385">0.64786599099999997</cx:pt>
          <cx:pt idx="4386">0.64596817500000003</cx:pt>
          <cx:pt idx="4387">0.64160118499999996</cx:pt>
          <cx:pt idx="4388">0.63105808699999999</cx:pt>
          <cx:pt idx="4389">0.63031646100000005</cx:pt>
          <cx:pt idx="4390">0.62479521699999996</cx:pt>
          <cx:pt idx="4391">0.62404716500000001</cx:pt>
          <cx:pt idx="4392">0.62092374299999997</cx:pt>
          <cx:pt idx="4393">0.62083825999999998</cx:pt>
          <cx:pt idx="4394">0.61927529199999998</cx:pt>
          <cx:pt idx="4395">0.61902786399999998</cx:pt>
          <cx:pt idx="4396">0.61704905600000004</cx:pt>
          <cx:pt idx="4397">0.60576239499999995</cx:pt>
          <cx:pt idx="4398">0.60436203200000005</cx:pt>
          <cx:pt idx="4399">0.60205352499999998</cx:pt>
          <cx:pt idx="4400">0.59472254499999999</cx:pt>
          <cx:pt idx="4401">0.58887292099999999</cx:pt>
          <cx:pt idx="4402">0.581209647</cx:pt>
          <cx:pt idx="4403">0.57972701400000004</cx:pt>
          <cx:pt idx="4404">0.57664602499999995</cx:pt>
          <cx:pt idx="4405">0.57486389000000004</cx:pt>
          <cx:pt idx="4406">0.56876230699999997</cx:pt>
          <cx:pt idx="4407">0.56860229799999995</cx:pt>
          <cx:pt idx="4408">0.56588507700000001</cx:pt>
          <cx:pt idx="4409">0.56538890200000003</cx:pt>
          <cx:pt idx="4410">0.56143388100000002</cx:pt>
          <cx:pt idx="4411">0.55706693200000001</cx:pt>
          <cx:pt idx="4412">0.55533682900000003</cx:pt>
          <cx:pt idx="4413">0.55014594299999997</cx:pt>
          <cx:pt idx="4414">0.546275128</cx:pt>
          <cx:pt idx="4415">0.54157782200000004</cx:pt>
          <cx:pt idx="4416">0.54149682899999996</cx:pt>
          <cx:pt idx="4417">0.54025902800000003</cx:pt>
          <cx:pt idx="4418">0.534569454</cx:pt>
          <cx:pt idx="4419">0.53177185900000001</cx:pt>
          <cx:pt idx="4420">0.53135605900000005</cx:pt>
          <cx:pt idx="4421">0.52856105799999997</cx:pt>
          <cx:pt idx="4422">0.52773588500000002</cx:pt>
          <cx:pt idx="4423">0.52724102900000003</cx:pt>
          <cx:pt idx="4424">0.51974357199999999</cx:pt>
          <cx:pt idx="4425">0.51669471700000003</cx:pt>
          <cx:pt idx="4426">0.51175253600000004</cx:pt>
          <cx:pt idx="4427">0.51133929099999997</cx:pt>
          <cx:pt idx="4428">0.50449612300000002</cx:pt>
          <cx:pt idx="4429">0.50277178700000003</cx:pt>
          <cx:pt idx="4430">0.49667473499999998</cx:pt>
          <cx:pt idx="4431">0.49477885599999999</cx:pt>
          <cx:pt idx="4432">0.49041124800000002</cx:pt>
          <cx:pt idx="4433">0.48340737099999997</cx:pt>
          <cx:pt idx="4434">0.48323834100000002</cx:pt>
          <cx:pt idx="4435">0.48307895000000001</cx:pt>
          <cx:pt idx="4436">0.47269655999999999</cx:pt>
          <cx:pt idx="4437">0.47228071900000002</cx:pt>
          <cx:pt idx="4438">0.47112712499999998</cx:pt>
          <cx:pt idx="4439">0.47087969699999999</cx:pt>
          <cx:pt idx="4440">0.46791377000000001</cx:pt>
          <cx:pt idx="4441">0.46783150000000001</cx:pt>
          <cx:pt idx="4442">0.46330001100000001</cx:pt>
          <cx:pt idx="4443">0.46214637600000003</cx:pt>
          <cx:pt idx="4444">0.45967917899999999</cx:pt>
          <cx:pt idx="4445">0.45950948899999999</cx:pt>
          <cx:pt idx="4446">0.45531284799999999</cx:pt>
          <cx:pt idx="4447">0.45300046900000002</cx:pt>
          <cx:pt idx="4448">0.448963218</cx:pt>
          <cx:pt idx="4449">0.44863352000000001</cx:pt>
          <cx:pt idx="4450">0.44855125000000001</cx:pt>
          <cx:pt idx="4451">0.43397279599999999</cx:pt>
          <cx:pt idx="4452">0.433803147</cx:pt>
          <cx:pt idx="4453">0.43034298199999999</cx:pt>
          <cx:pt idx="4454">0.42432815899999998</cx:pt>
          <cx:pt idx="4455">0.42276646899999998</cx:pt>
          <cx:pt idx="4456">0.42252031800000001</cx:pt>
          <cx:pt idx="4457">0.42235066900000001</cx:pt>
          <cx:pt idx="4458">0.41856080600000001</cx:pt>
          <cx:pt idx="4459">0.41650104599999999</cx:pt>
          <cx:pt idx="4460">0.416418116</cx:pt>
          <cx:pt idx="4461">0.41592391899999998</cx:pt>
          <cx:pt idx="4462">0.41567715</cx:pt>
          <cx:pt idx="4463">0.41229859600000002</cx:pt>
          <cx:pt idx="4464">0.405134669</cx:pt>
          <cx:pt idx="4465">0.40076384799999998</cx:pt>
          <cx:pt idx="4466">0.38815777600000001</cx:pt>
          <cx:pt idx="4467">0.386101888</cx:pt>
          <cx:pt idx="4468">0.37579913199999998</cx:pt>
          <cx:pt idx="4469">0.36879978600000002</cx:pt>
          <cx:pt idx="4470">0.36187496600000002</cx:pt>
          <cx:pt idx="4471">0.34869176699999999</cx:pt>
          <cx:pt idx="4472">0.34745590300000001</cx:pt>
          <cx:pt idx="4473">0.34729136300000002</cx:pt>
          <cx:pt idx="4474">0.34564352999999998</cx:pt>
          <cx:pt idx="4475">0.34119431099999997</cx:pt>
          <cx:pt idx="4476">0.34053491400000002</cx:pt>
          <cx:pt idx="4477">0.33979328800000003</cx:pt>
          <cx:pt idx="4478">0.33031830099999998</cx:pt>
          <cx:pt idx="4479">0.32413897899999999</cx:pt>
          <cx:pt idx="4480">0.32100789400000002</cx:pt>
          <cx:pt idx="4481">0.32076108399999997</cx:pt>
          <cx:pt idx="4482">0.31927779099999998</cx:pt>
          <cx:pt idx="4483">0.31268654200000001</cx:pt>
          <cx:pt idx="4484">0.308072124</cx:pt>
          <cx:pt idx="4485">0.30560039500000002</cx:pt>
          <cx:pt idx="4486">0.30214023000000001</cx:pt>
          <cx:pt idx="4487">0.29324175099999999</cx:pt>
          <cx:pt idx="4488">0.29044032400000003</cx:pt>
          <cx:pt idx="4489">0.28829829299999998</cx:pt>
          <cx:pt idx="4490">0.28722630999999998</cx:pt>
          <cx:pt idx="4491">0.27775070400000001</cx:pt>
          <cx:pt idx="4492">0.27107846200000002</cx:pt>
          <cx:pt idx="4493">0.26127254</cx:pt>
          <cx:pt idx="4494">0.25896662799999998</cx:pt>
          <cx:pt idx="4495">0.25632908199999999</cx:pt>
          <cx:pt idx="4496">0.25344604399999998</cx:pt>
          <cx:pt idx="4497">0.25270503599999999</cx:pt>
          <cx:pt idx="4498">0.25006814900000002</cx:pt>
          <cx:pt idx="4499">0.24907905399999999</cx:pt>
          <cx:pt idx="4500">0.24685475400000001</cx:pt>
          <cx:pt idx="4501">0.246607985</cx:pt>
          <cx:pt idx="4502">0.24430075500000001</cx:pt>
          <cx:pt idx="4503">0.240098964</cx:pt>
          <cx:pt idx="4504">0.23927375000000001</cx:pt>
          <cx:pt idx="4505">0.232847</cx:pt>
          <cx:pt idx="4506">0.231115661</cx:pt>
          <cx:pt idx="4507">0.23087078699999999</cx:pt>
          <cx:pt idx="4508">0.22567862399999999</cx:pt>
          <cx:pt idx="4509">0.22493761600000001</cx:pt>
          <cx:pt idx="4510">0.224032068</cx:pt>
          <cx:pt idx="4511">0.219582849</cx:pt>
          <cx:pt idx="4512">0.21949930200000001</cx:pt>
          <cx:pt idx="4513">0.21389451100000001</cx:pt>
          <cx:pt idx="4514">0.211422782</cx:pt>
          <cx:pt idx="4515">0.20796583099999999</cx:pt>
          <cx:pt idx="4516">0.207882284</cx:pt>
          <cx:pt idx="4517">0.201485891</cx:pt>
          <cx:pt idx="4518">0.20021777399999999</cx:pt>
          <cx:pt idx="4519">0.19535654499999999</cx:pt>
          <cx:pt idx="4520">0.19395873599999999</cx:pt>
          <cx:pt idx="4521">0.19354615</cx:pt>
          <cx:pt idx="4522">0.19337905499999999</cx:pt>
          <cx:pt idx="4523">0.191237025</cx:pt>
          <cx:pt idx="4524">0.19090860400000001</cx:pt>
          <cx:pt idx="4525">0.18876851</cx:pt>
          <cx:pt idx="4526">0.17575046899999999</cx:pt>
          <cx:pt idx="4527">0.175584034</cx:pt>
          <cx:pt idx="4528">0.170971551</cx:pt>
          <cx:pt idx="4529">0.170886068</cx:pt>
          <cx:pt idx="4530">0.161163693</cx:pt>
          <cx:pt idx="4531">0.15918937499999999</cx:pt>
          <cx:pt idx="4532">0.150373166</cx:pt>
          <cx:pt idx="4533">0.14468676499999999</cx:pt>
          <cx:pt idx="4534">0.140733679</cx:pt>
          <cx:pt idx="4535">0.13636479400000001</cx:pt>
          <cx:pt idx="4536">0.13438792199999999</cx:pt>
          <cx:pt idx="4537">0.132080692</cx:pt>
          <cx:pt idx="4538">0.127878243</cx:pt>
          <cx:pt idx="4539">0.12746821</cx:pt>
          <cx:pt idx="4540">0.123594182</cx:pt>
          <cx:pt idx="4541">0.121533763</cx:pt>
          <cx:pt idx="4542">0.089731645999999998</cx:pt>
          <cx:pt idx="4543">0.082810039000000002</cx:pt>
          <cx:pt idx="4544">0.082644881000000003</cx:pt>
          <cx:pt idx="4545">0.082479064000000005</cx:pt>
          <cx:pt idx="4546">0.082398071000000003</cx:pt>
          <cx:pt idx="4547">0.080585080000000003</cx:pt>
          <cx:pt idx="4548">0.080419262000000005</cx:pt>
          <cx:pt idx="4549">0.080336374000000002</cx:pt>
          <cx:pt idx="4550">0.068802944000000005</cx:pt>
          <cx:pt idx="4551">0.065917970000000006</cx:pt>
          <cx:pt idx="4552">0.065911837000000001</cx:pt>
          <cx:pt idx="4553">0.065811808999999999</cx:pt>
          <cx:pt idx="4554">0.065776454999999998</cx:pt>
          <cx:pt idx="4555">0.06577181</cx:pt>
          <cx:pt idx="4556">0.065730286999999998</cx:pt>
          <cx:pt idx="4557">0.065651705000000005</cx:pt>
          <cx:pt idx="4558">0.065645645000000002</cx:pt>
          <cx:pt idx="4559">0.065604108999999994</cx:pt>
          <cx:pt idx="4560">0.065601038</cx:pt>
          <cx:pt idx="4561">0.065568755000000006</cx:pt>
          <cx:pt idx="4562">0.065473334999999994</cx:pt>
          <cx:pt idx="4563">0.065364090999999999</cx:pt>
          <cx:pt idx="4564">0.065353350000000004</cx:pt>
          <cx:pt idx="4565">0.065313327000000004</cx:pt>
          <cx:pt idx="4566">0.065279472000000005</cx:pt>
          <cx:pt idx="4567">0.065247165999999995</cx:pt>
          <cx:pt idx="4568">0.065241010000000002</cx:pt>
          <cx:pt idx="4569">0.065239474000000006</cx:pt>
          <cx:pt idx="4570">0.065207166999999996</cx:pt>
          <cx:pt idx="4571">0.065197937999999997</cx:pt>
          <cx:pt idx="4572">0.065122572000000004</cx:pt>
          <cx:pt idx="4573">0.065036285999999999</cx:pt>
          <cx:pt idx="4574">0.064957920000000002</cx:pt>
          <cx:pt idx="4575">0.064928685</cx:pt>
          <cx:pt idx="4576">0.064776394000000001</cx:pt>
          <cx:pt idx="4577">0.064607132999999997</cx:pt>
          <cx:pt idx="4578">0.064580971000000001</cx:pt>
          <cx:pt idx="4579">0.064577897999999995</cx:pt>
          <cx:pt idx="4580">0.064550200000000002</cx:pt>
          <cx:pt idx="4581">0.064465581999999994</cx:pt>
          <cx:pt idx="4582">0.064411732999999999</cx:pt>
          <cx:pt idx="4583">0.064337904000000001</cx:pt>
          <cx:pt idx="4584">0.064228550999999995</cx:pt>
          <cx:pt idx="4585">0.064160949999999994</cx:pt>
          <cx:pt idx="4586">0.064154794000000001</cx:pt>
          <cx:pt idx="4587">0.063954786</cx:pt>
          <cx:pt idx="4588">0.063853150999999997</cx:pt>
          <cx:pt idx="4589">0.063766995000000007</cx:pt>
          <cx:pt idx="4590">0.063639293999999999</cx:pt>
          <cx:pt idx="4591">0.063613132000000003</cx:pt>
          <cx:pt idx="4592">0.063477749999999999</cx:pt>
          <cx:pt idx="4593">0.063463995999999995</cx:pt>
          <cx:pt idx="4594">0.063411588000000005</cx:pt>
          <cx:pt idx="4595">0.063368505000000006</cx:pt>
          <cx:pt idx="4596">0.063367065</cx:pt>
          <cx:pt idx="4597">0.063254651999999995</cx:pt>
          <cx:pt idx="4598">0.063253212000000003</cx:pt>
          <cx:pt idx="4599">0.063166960999999994</cx:pt>
          <cx:pt idx="4600">0.062963869000000006</cx:pt>
          <cx:pt idx="4601">0.062886944</cx:pt>
          <cx:pt idx="4602">0.062837799999999999</cx:pt>
          <cx:pt idx="4603">0.062713086000000001</cx:pt>
          <cx:pt idx="4604">0.062608463000000003</cx:pt>
          <cx:pt idx="4605">0.062417684000000001</cx:pt>
          <cx:pt idx="4606">0.062416134999999998</cx:pt>
          <cx:pt idx="4607">0.062371528000000002</cx:pt>
          <cx:pt idx="4608">0.062359227000000003</cx:pt>
          <cx:pt idx="4609">0.062353071000000003</cx:pt>
          <cx:pt idx="4610">0.062240754000000002</cx:pt>
          <cx:pt idx="4611">0.062234598000000002</cx:pt>
          <cx:pt idx="4612">0.062134594000000001</cx:pt>
          <cx:pt idx="4613">0.062020740999999997</cx:pt>
          <cx:pt idx="4614">0.06192843</cx:pt>
          <cx:pt idx="4615">0.061789963000000003</cx:pt>
          <cx:pt idx="4616">0.061471482000000001</cx:pt>
          <cx:pt idx="4617">0.061386863999999999</cx:pt>
          <cx:pt idx="4618">0.061311473999999998</cx:pt>
          <cx:pt idx="4619">0.061308401999999998</cx:pt>
          <cx:pt idx="4620">0.061268390999999998</cx:pt>
          <cx:pt idx="4621">0.061114485000000003</cx:pt>
          <cx:pt idx="4622">0.061105241999999997</cx:pt>
          <cx:pt idx="4623">0.060971432999999998</cx:pt>
          <cx:pt idx="4624">0.060968403999999997</cx:pt>
          <cx:pt idx="4625">0.060965302999999998</cx:pt>
          <cx:pt idx="4626">0.060931433</cx:pt>
          <cx:pt idx="4627">0.060892937000000001</cx:pt>
          <cx:pt idx="4628">0.060889947</cx:pt>
          <cx:pt idx="4629">0.060888313999999999</cx:pt>
          <cx:pt idx="4630">0.060734510999999998</cx:pt>
          <cx:pt idx="4631">0.060645261999999998</cx:pt>
          <cx:pt idx="4632">0.060636031</cx:pt>
          <cx:pt idx="4633">0.060634494999999997</cx:pt>
          <cx:pt idx="4634">0.060582171999999997</cx:pt>
          <cx:pt idx="4635">0.060580624</cx:pt>
          <cx:pt idx="4636">0.060417600000000002</cx:pt>
          <cx:pt idx="4637">0.060276074999999998</cx:pt>
          <cx:pt idx="4638">0.059900639999999998</cx:pt>
          <cx:pt idx="4639">0.059872941999999998</cx:pt>
          <cx:pt idx="4640">0.059849864000000003</cx:pt>
          <cx:pt idx="4641">0.059848327999999999</cx:pt>
          <cx:pt idx="4642">0.059811401</cx:pt>
          <cx:pt idx="4643">0.059808328000000001</cx:pt>
          <cx:pt idx="4644">0.059622157000000002</cx:pt>
          <cx:pt idx="4645">0.059612928000000003</cx:pt>
          <cx:pt idx="4646">0.05955908</cx:pt>
          <cx:pt idx="4647">0.059556007000000001</cx:pt>
          <cx:pt idx="4648">0.059552923000000001</cx:pt>
          <cx:pt idx="4649">0.059514483999999999</cx:pt>
          <cx:pt idx="4650">0.059499099</cx:pt>
          <cx:pt idx="4651">0.059423684999999997</cx:pt>
          <cx:pt idx="4652">0.059366752000000002</cx:pt>
          <cx:pt idx="4653">0.059349830999999999</cx:pt>
          <cx:pt idx="4654">0.059346458999999997</cx:pt>
          <cx:pt idx="4655">0.059329741999999998</cx:pt>
          <cx:pt idx="4656">0.059328206000000001</cx:pt>
          <cx:pt idx="4657">0.059303688</cx:pt>
          <cx:pt idx="4658">0.059238966999999997</cx:pt>
          <cx:pt idx="4659">0.059237526999999998</cx:pt>
          <cx:pt idx="4660">0.059222045000000001</cx:pt>
          <cx:pt idx="4661">0.059077518000000002</cx:pt>
          <cx:pt idx="4662">0.058905196999999999</cx:pt>
          <cx:pt idx="4663">0.058857505999999997</cx:pt>
          <cx:pt idx="4664">0.058835963999999998</cx:pt>
          <cx:pt idx="4665">0.058832891999999998</cx:pt>
          <cx:pt idx="4666">0.058775850999999997</cx:pt>
          <cx:pt idx="4667">0.058768158000000001</cx:pt>
          <cx:pt idx="4668">0.058675955000000002</cx:pt>
          <cx:pt idx="4669">0.058672883000000002</cx:pt>
          <cx:pt idx="4670">0.058635859999999998</cx:pt>
          <cx:pt idx="4671">0.058597397000000002</cx:pt>
          <cx:pt idx="4672">0.058458929999999999</cx:pt>
          <cx:pt idx="4673">0.058395853999999997</cx:pt>
          <cx:pt idx="4674">0.058280453000000003</cx:pt>
          <cx:pt idx="4675">0.058252766999999997</cx:pt>
          <cx:pt idx="4676">0.058014283999999999</cx:pt>
          <cx:pt idx="4677">0.057983609999999998</cx:pt>
          <cx:pt idx="4678">0.057980442</cx:pt>
          <cx:pt idx="4679">0.057940442000000002</cx:pt>
          <cx:pt idx="4680">0.057925140999999999</cx:pt>
          <cx:pt idx="4681">0.057874281</cx:pt>
          <cx:pt idx="4682">0.057871292999999997</cx:pt>
          <cx:pt idx="4683">0.057786578999999998</cx:pt>
          <cx:pt idx="4684">0.057726586000000003</cx:pt>
          <cx:pt idx="4685">0.057692731999999997</cx:pt>
          <cx:pt idx="4686">0.057674273999999998</cx:pt>
          <cx:pt idx="4687">0.057580414000000003</cx:pt>
          <cx:pt idx="4688">0.057565028999999997</cx:pt>
          <cx:pt idx="4689">0.057563493</cx:pt>
          <cx:pt idx="4690">0.057534259999999997</cx:pt>
          <cx:pt idx="4691">0.057412713999999997</cx:pt>
          <cx:pt idx="4692">0.057378870999999998</cx:pt>
          <cx:pt idx="4693">0.057371179000000001</cx:pt>
          <cx:pt idx="4694">0.057335787999999999</cx:pt>
          <cx:pt idx="4695">0.057268174999999998</cx:pt>
          <cx:pt idx="4696">0.057226555999999998</cx:pt>
          <cx:pt idx="4697">0.057192700999999999</cx:pt>
          <cx:pt idx="4698">0.057166623</cx:pt>
          <cx:pt idx="4699">0.057057318000000003</cx:pt>
          <cx:pt idx="4700">0.057038849000000003</cx:pt>
          <cx:pt idx="4701">0.057009615</cx:pt>
          <cx:pt idx="4702">0.056966543000000001</cx:pt>
          <cx:pt idx="4703">0.056955765999999998</cx:pt>
          <cx:pt idx="4704">0.056937308999999998</cx:pt>
          <cx:pt idx="4705">0.056932689000000002</cx:pt>
          <cx:pt idx="4706">0.056723453</cx:pt>
          <cx:pt idx="4707">0.056612672000000003</cx:pt>
          <cx:pt idx="4708">0.056606515000000003</cx:pt>
          <cx:pt idx="4709">0.056580366</cx:pt>
          <cx:pt idx="4710">0.056523444999999999</cx:pt>
          <cx:pt idx="4711">0.056404971999999998</cx:pt>
          <cx:pt idx="4712">0.056380357999999998</cx:pt>
          <cx:pt idx="4713">0.056275734000000001</cx:pt>
          <cx:pt idx="4714">0.056014186000000001</cx:pt>
          <cx:pt idx="4715">0.055984950999999998</cx:pt>
          <cx:pt idx="4716">0.055966481999999998</cx:pt>
          <cx:pt idx="4717">0.055960336999999999</cx:pt>
          <cx:pt idx="4718">0.055761866</cx:pt>
          <cx:pt idx="4719">0.055738775999999997</cx:pt>
          <cx:pt idx="4720">0.055671078999999998</cx:pt>
          <cx:pt idx="4721">0.055517228000000002</cx:pt>
          <cx:pt idx="4722">0.055494149999999999</cx:pt>
          <cx:pt idx="4723">0.055297190000000003</cx:pt>
          <cx:pt idx="4724">0.055229529999999999</cx:pt>
          <cx:pt idx="4725">0.055169524999999997</cx:pt>
          <cx:pt idx="4726">0.055160283999999997</cx:pt>
          <cx:pt idx="4727">0.055155676000000001</cx:pt>
          <cx:pt idx="4728">0.055034130000000001</cx:pt>
          <cx:pt idx="4729">0.054964896999999999</cx:pt>
          <cx:pt idx="4730">0.054844888000000001</cx:pt>
          <cx:pt idx="4731">0.054811045000000003</cx:pt>
          <cx:pt idx="4732">0.054761804999999997</cx:pt>
          <cx:pt idx="4733">0.05461411</cx:pt>
          <cx:pt idx="4734">0.054520250999999999</cx:pt>
          <cx:pt idx="4735">0.054506414000000003</cx:pt>
          <cx:pt idx="4736">0.054438680000000003</cx:pt>
          <cx:pt idx="4737">0.054355634</cx:pt>
          <cx:pt idx="4738">0.054220240000000003</cx:pt>
          <cx:pt idx="4739">0.054174083999999997</cx:pt>
          <cx:pt idx="4740">0.054151006000000002</cx:pt>
          <cx:pt idx="4741">0.054078688999999999</cx:pt>
          <cx:pt idx="4742">0.053989388999999999</cx:pt>
          <cx:pt idx="4743">0.053981744999999998</cx:pt>
          <cx:pt idx="4744">0.053874012999999998</cx:pt>
          <cx:pt idx="4745">0.053850935000000003</cx:pt>
          <cx:pt idx="4746">0.053717111999999997</cx:pt>
          <cx:pt idx="4747">0.053715600000000002</cx:pt>
          <cx:pt idx="4748">0.053627837999999997</cx:pt>
          <cx:pt idx="4749">0.053530438999999999</cx:pt>
          <cx:pt idx="4750">0.053392500000000002</cx:pt>
          <cx:pt idx="4751">0.053383211</cx:pt>
          <cx:pt idx="4752">0.053278646999999998</cx:pt>
          <cx:pt idx="4753">0.053250899999999997</cx:pt>
          <cx:pt idx="4754">0.053244743999999997</cx:pt>
          <cx:pt idx="4755">0.053240124</cx:pt>
          <cx:pt idx="4756">0.053217045999999997</cx:pt>
          <cx:pt idx="4757">0.053198588999999998</cx:pt>
          <cx:pt idx="4758">0.053055501999999997</cx:pt>
          <cx:pt idx="4759">0.053044795999999998</cx:pt>
          <cx:pt idx="4760">0.052946304999999999</cx:pt>
          <cx:pt idx="4761">0.052910915000000003</cx:pt>
          <cx:pt idx="4762">0.052818603999999998</cx:pt>
          <cx:pt idx="4763">0.052815494999999997</cx:pt>
          <cx:pt idx="4764">0.052692388999999999</cx:pt>
          <cx:pt idx="4765">0.052640102000000001</cx:pt>
          <cx:pt idx="4766">0.052538573999999998</cx:pt>
          <cx:pt idx="4767">0.052512400000000001</cx:pt>
          <cx:pt idx="4768">0.052432412999999997</cx:pt>
          <cx:pt idx="4769">0.052417039999999998</cx:pt>
          <cx:pt idx="4770">0.052386233999999997</cx:pt>
          <cx:pt idx="4771">0.052344711000000002</cx:pt>
          <cx:pt idx="4772">0.052321620999999999</cx:pt>
          <cx:pt idx="4773">0.052126209999999999</cx:pt>
          <cx:pt idx="4774">0.051921630000000003</cx:pt>
          <cx:pt idx="4775">0.051895443999999999</cx:pt>
          <cx:pt idx="4776">0.051752332999999998</cx:pt>
          <cx:pt idx="4777">0.051704664999999997</cx:pt>
          <cx:pt idx="4778">0.051701484999999998</cx:pt>
          <cx:pt idx="4779">0.051498489000000001</cx:pt>
          <cx:pt idx="4780">0.051392329</cx:pt>
          <cx:pt idx="4781">0.051352354000000003</cx:pt>
          <cx:pt idx="4782">0.051349234000000001</cx:pt>
          <cx:pt idx="4783">0.051316951</cx:pt>
          <cx:pt idx="4784">0.051315415000000003</cx:pt>
          <cx:pt idx="4785">0.051306078999999997</cx:pt>
          <cx:pt idx="4786">0.051121576000000002</cx:pt>
          <cx:pt idx="4787">0.051118468</cx:pt>
          <cx:pt idx="4788">0.051106071000000003</cx:pt>
          <cx:pt idx="4789">0.051101546999999997</cx:pt>
          <cx:pt idx="4790">0.051078469000000001</cx:pt>
          <cx:pt idx="4791">0.050962984000000003</cx:pt>
          <cx:pt idx="4792">0.050926068999999997</cx:pt>
          <cx:pt idx="4793">0.050910768000000002</cx:pt>
          <cx:pt idx="4794">0.050852300000000003</cx:pt>
          <cx:pt idx="4795">0.050832306000000001</cx:pt>
          <cx:pt idx="4796">0.050806143999999998</cx:pt>
          <cx:pt idx="4797">0.050783066000000002</cx:pt>
          <cx:pt idx="4798">0.050753831999999999</cx:pt>
          <cx:pt idx="4799">0.050738446</cx:pt>
          <cx:pt idx="4800">0.050673738000000003</cx:pt>
          <cx:pt idx="4801">0.050666045</cx:pt>
          <cx:pt idx="4802">0.050607589000000001</cx:pt>
          <cx:pt idx="4803">0.050564576999999999</cx:pt>
          <cx:pt idx="4804">0.050452188000000002</cx:pt>
          <cx:pt idx="4805">0.050430659000000003</cx:pt>
          <cx:pt idx="4806">0.050275259000000003</cx:pt>
          <cx:pt idx="4807">0.050163038</cx:pt>
          <cx:pt idx="4808">0.050161501999999997</cx:pt>
          <cx:pt idx="4809">0.050144581000000001</cx:pt>
          <cx:pt idx="4810">0.049982939999999997</cx:pt>
          <cx:pt idx="4811">0.049858395</cx:pt>
          <cx:pt idx="4812">0.049769083999999998</cx:pt>
          <cx:pt idx="4813">0.049749174</cx:pt>
          <cx:pt idx="4814">0.049745994000000002</cx:pt>
          <cx:pt idx="4815">0.049721380000000003</cx:pt>
          <cx:pt idx="4816">0.049507295</cx:pt>
          <cx:pt idx="4817">0.049481061999999999</cx:pt>
          <cx:pt idx="4818">0.049239507000000002</cx:pt>
          <cx:pt idx="4819">0.049013326000000003</cx:pt>
          <cx:pt idx="4820">0.048787179999999999</cx:pt>
          <cx:pt idx="4821">0.048759482</cx:pt>
          <cx:pt idx="4822">0.048687175999999999</cx:pt>
          <cx:pt idx="4823">0.048641021</cx:pt>
          <cx:pt idx="4824">0.048570251000000002</cx:pt>
          <cx:pt idx="4825">0.048362539000000003</cx:pt>
          <cx:pt idx="4826">0.048322516000000003</cx:pt>
          <cx:pt idx="4827">0.048316382999999997</cx:pt>
          <cx:pt idx="4828">0.048188681999999997</cx:pt>
          <cx:pt idx="4829">0.048162532000000001</cx:pt>
          <cx:pt idx="4830">0.048145586999999997</cx:pt>
          <cx:pt idx="4831">0.048071757</cx:pt>
          <cx:pt idx="4832">0.048019445000000001</cx:pt>
          <cx:pt idx="4833">0.048008679999999998</cx:pt>
          <cx:pt idx="4834">0.047999426999999997</cx:pt>
          <cx:pt idx="4835">0.047939447000000003</cx:pt>
          <cx:pt idx="4836">0.047830141999999999</cx:pt>
          <cx:pt idx="4837">0.047694819999999999</cx:pt>
          <cx:pt idx="4838">0.047550173000000001</cx:pt>
          <cx:pt idx="4839">0.047524034</cx:pt>
          <cx:pt idx="4840">0.04731631</cx:pt>
          <cx:pt idx="4841">0.047285564000000002</cx:pt>
          <cx:pt idx="4842">0.047219403</cx:pt>
          <cx:pt idx="4843">0.047139405000000002</cx:pt>
          <cx:pt idx="4844">0.047112125999999997</cx:pt>
          <cx:pt idx="4845">0.047019370999999997</cx:pt>
          <cx:pt idx="4846">0.046985516999999997</cx:pt>
          <cx:pt idx="4847">0.046847062000000002</cx:pt>
          <cx:pt idx="4848">0.046831689000000003</cx:pt>
          <cx:pt idx="4849">0.046825964999999997</cx:pt>
          <cx:pt idx="4850">0.046654687</cx:pt>
          <cx:pt idx="4851">0.046634753000000001</cx:pt>
          <cx:pt idx="4852">0.046548539</cx:pt>
          <cx:pt idx="4853">0.046543978999999999</cx:pt>
          <cx:pt idx="4854">0.046437783000000003</cx:pt>
          <cx:pt idx="4855">0.046414729000000002</cx:pt>
          <cx:pt idx="4856">0.046413191999999999</cx:pt>
          <cx:pt idx="4857">0.04640238</cx:pt>
          <cx:pt idx="4858">0.046399308</cx:pt>
          <cx:pt idx="4859">0.046388591</cx:pt>
          <cx:pt idx="4860">0.046385493999999999</cx:pt>
          <cx:pt idx="4861">0.046219353999999997</cx:pt>
          <cx:pt idx="4862">0.046170101999999998</cx:pt>
          <cx:pt idx="4863">0.046073171000000003</cx:pt>
          <cx:pt idx="4864">0.046046972999999998</cx:pt>
          <cx:pt idx="4865">0.046003937000000002</cx:pt>
          <cx:pt idx="4866">0.046002400999999998</cx:pt>
          <cx:pt idx="4867">0.045913125999999999</cx:pt>
          <cx:pt idx="4868">0.045788532999999999</cx:pt>
          <cx:pt idx="4869">0.045665474999999997</cx:pt>
          <cx:pt idx="4870">0.045662378000000003</cx:pt>
          <cx:pt idx="4871">0.045660806999999998</cx:pt>
          <cx:pt idx="4872">0.045365403999999998</cx:pt>
          <cx:pt idx="4873">0.045357746999999997</cx:pt>
          <cx:pt idx="4874">0.045356150999999997</cx:pt>
          <cx:pt idx="4875">0.045200811</cx:pt>
          <cx:pt idx="4876">0.044985371000000003</cx:pt>
          <cx:pt idx="4877">0.044976189999999999</cx:pt>
          <cx:pt idx="4878">0.044886914999999999</cx:pt>
          <cx:pt idx="4879">0.044883879000000002</cx:pt>
          <cx:pt idx="4880">0.04482535</cx:pt>
          <cx:pt idx="4881">0.044797676000000002</cx:pt>
          <cx:pt idx="4882">0.044780754999999998</cx:pt>
          <cx:pt idx="4883">0.044568469999999999</cx:pt>
          <cx:pt idx="4884">0.044560777000000003</cx:pt>
          <cx:pt idx="4885">0.044557693000000002</cx:pt>
          <cx:pt idx="4886">0.044525350999999998</cx:pt>
          <cx:pt idx="4887">0.044497689</cx:pt>
          <cx:pt idx="4888">0.044494579999999999</cx:pt>
          <cx:pt idx="4889">0.044485256000000001</cx:pt>
          <cx:pt idx="4890">0.044383836000000003</cx:pt>
          <cx:pt idx="4891">0.044242260999999998</cx:pt>
          <cx:pt idx="4892">0.044234568000000002</cx:pt>
          <cx:pt idx="4893">0.044231496000000002</cx:pt>
          <cx:pt idx="4894">0.044168456000000002</cx:pt>
          <cx:pt idx="4895">0.044153070000000003</cx:pt>
          <cx:pt idx="4896">0.044011482999999997</cx:pt>
          <cx:pt idx="4897">0.043971483999999998</cx:pt>
          <cx:pt idx="4898">0.043969948000000002</cx:pt>
          <cx:pt idx="4899">0.043945310000000001</cx:pt>
          <cx:pt idx="4900">0.044061402999999999</cx:pt>
          <cx:pt idx="4901">0.04418681</cx:pt>
          <cx:pt idx="4902">0.044302941999999998</cx:pt>
          <cx:pt idx="4903">0.044609556000000002</cx:pt>
          <cx:pt idx="4904">0.044851093000000002</cx:pt>
          <cx:pt idx="4905">0.045111255000000003</cx:pt>
          <cx:pt idx="4906">0.045376053999999999</cx:pt>
          <cx:pt idx="4907">0.045394606999999997</cx:pt>
          <cx:pt idx="4908">0.045547877000000001</cx:pt>
          <cx:pt idx="4909">0.045733722999999997</cx:pt>
          <cx:pt idx="4910">0.046202883</cx:pt>
          <cx:pt idx="4911">0.046244696000000002</cx:pt>
          <cx:pt idx="4912">0.046421194999999998</cx:pt>
          <cx:pt idx="4913">0.046593087999999998</cx:pt>
          <cx:pt idx="4914">0.046737083999999998</cx:pt>
          <cx:pt idx="4915">0.046797487999999998</cx:pt>
          <cx:pt idx="4916">0.047052974999999997</cx:pt>
          <cx:pt idx="4917">0.047870527000000003</cx:pt>
          <cx:pt idx="4918">0.047907704000000002</cx:pt>
          <cx:pt idx="4919">0.047954155999999998</cx:pt>
          <cx:pt idx="4920">0.047968106000000003</cx:pt>
          <cx:pt idx="4921">0.048218992000000002</cx:pt>
          <cx:pt idx="4922">0.048311859999999998</cx:pt>
          <cx:pt idx="4923">0.048748772000000003</cx:pt>
          <cx:pt idx="4924">0.049185468000000003</cx:pt>
          <cx:pt idx="4925">0.049617199000000001</cx:pt>
          <cx:pt idx="4926">0.049626472999999997</cx:pt>
          <cx:pt idx="4927">0.049840147000000001</cx:pt>
          <cx:pt idx="4928">0.050030883999999998</cx:pt>
          <cx:pt idx="4929">0.050541607000000002</cx:pt>
          <cx:pt idx="4930">0.050592732000000001</cx:pt>
          <cx:pt idx="4931">0.050824956999999997</cx:pt>
          <cx:pt idx="4932">0.050936451000000001</cx:pt>
          <cx:pt idx="4933">0.051238680000000002</cx:pt>
          <cx:pt idx="4934">0.051322017999999997</cx:pt>
          <cx:pt idx="4935">0.051470941999999999</cx:pt>
          <cx:pt idx="4936">0.051517393000000002</cx:pt>
          <cx:pt idx="4937">0.051522032000000002</cx:pt>
          <cx:pt idx="4938">0.051782157000000002</cx:pt>
          <cx:pt idx="4939">0.051907673000000001</cx:pt>
          <cx:pt idx="4940">0.052084132999999998</cx:pt>
          <cx:pt idx="4941">0.052093480999999997</cx:pt>
          <cx:pt idx="4942">0.052218816000000001</cx:pt>
          <cx:pt idx="4943">0.052850595</cx:pt>
          <cx:pt idx="4944">0.053282615999999998</cx:pt>
          <cx:pt idx="4945">0.053356933000000002</cx:pt>
          <cx:pt idx="4946">0.053700471</cx:pt>
          <cx:pt idx="4947">0.053747140999999998</cx:pt>
          <cx:pt idx="4948">0.054169847</cx:pt>
          <cx:pt idx="4949">0.054174523000000002</cx:pt>
          <cx:pt idx="4950">0.054230251</cx:pt>
          <cx:pt idx="4951">0.054434648000000002</cx:pt>
          <cx:pt idx="4952">0.054880656</cx:pt>
          <cx:pt idx="4953">0.054894532000000003</cx:pt>
          <cx:pt idx="4954">0.055136251999999997</cx:pt>
          <cx:pt idx="4955">0.055177884000000003</cx:pt>
          <cx:pt idx="4956">0.055182522999999997</cx:pt>
          <cx:pt idx="4957">0.055451960000000002</cx:pt>
          <cx:pt idx="4958">0.05545667</cx:pt>
          <cx:pt idx="4959">0.056055912999999999</cx:pt>
          <cx:pt idx="4960">0.056473945999999997</cx:pt>
          <cx:pt idx="4961">0.056562251000000001</cx:pt>
          <cx:pt idx="4962">0.056655118999999997</cx:pt>
          <cx:pt idx="4963">0.057161635000000002</cx:pt>
          <cx:pt idx="4964">0.057370670999999998</cx:pt>
          <cx:pt idx="4965">0.057533109999999998</cx:pt>
          <cx:pt idx="4966">0.058239133999999998</cx:pt>
          <cx:pt idx="4967">0.058290258999999997</cx:pt>
          <cx:pt idx="4968">0.058294897999999998</cx:pt>
          <cx:pt idx="4969">0.058545748000000002</cx:pt>
          <cx:pt idx="4970">0.058582888</cx:pt>
          <cx:pt idx="4971">0.058764239000000003</cx:pt>
          <cx:pt idx="4972">0.058903958999999999</cx:pt>
          <cx:pt idx="4973">0.058922004</cx:pt>
          <cx:pt idx="4974">0.058931351999999999</cx:pt>
          <cx:pt idx="4975">0.059043353</cx:pt>
          <cx:pt idx="4976">0.059196078999999999</cx:pt>
          <cx:pt idx="4977">0.059740136999999999</cx:pt>
          <cx:pt idx="4978">0.059832571000000001</cx:pt>
          <cx:pt idx="4979">0.060269155999999997</cx:pt>
          <cx:pt idx="4980">0.060334233000000001</cx:pt>
          <cx:pt idx="4981">0.060682588000000003</cx:pt>
          <cx:pt idx="4982">0.060691937000000001</cx:pt>
          <cx:pt idx="4983">0.060747627999999998</cx:pt>
          <cx:pt idx="4984">0.060756905</cx:pt>
          <cx:pt idx="4985">0.061058917999999997</cx:pt>
          <cx:pt idx="4986">0.061416549000000001</cx:pt>
          <cx:pt idx="4987">0.061583768999999997</cx:pt>
          <cx:pt idx="4988">0.061862483000000003</cx:pt>
          <cx:pt idx="4989">0.062131994000000003</cx:pt>
          <cx:pt idx="4990">0.062150617999999998</cx:pt>
          <cx:pt idx="4991">0.062554703000000003</cx:pt>
          <cx:pt idx="4992">0.063595241999999996</cx:pt>
          <cx:pt idx="4993">0.063743837999999997</cx:pt>
          <cx:pt idx="4994">0.064217853000000005</cx:pt>
          <cx:pt idx="4995">0.064227020999999995</cx:pt>
          <cx:pt idx="4996">0.064231587000000007</cx:pt>
          <cx:pt idx="4997">0.064496567000000005</cx:pt>
          <cx:pt idx="4998">0.064552294999999996</cx:pt>
          <cx:pt idx="4999">0.064868076999999996</cx:pt>
          <cx:pt idx="5000">0.065146790999999996</cx:pt>
          <cx:pt idx="5001">0.065188531999999993</cx:pt>
          <cx:pt idx="5002">0.065193350999999997</cx:pt>
          <cx:pt idx="5003">0.065393003000000005</cx:pt>
          <cx:pt idx="5004">0.065564861000000002</cx:pt>
          <cx:pt idx="5005">0.065829625000000003</cx:pt>
          <cx:pt idx="5006">0.066433649999999997</cx:pt>
          <cx:pt idx="5007">0.066475354</cx:pt>
          <cx:pt idx="5008">0.066494305000000004</cx:pt>
          <cx:pt idx="5009">0.067093220999999995</cx:pt>
          <cx:pt idx="5010">0.067121085999999996</cx:pt>
          <cx:pt idx="5011">0.067265079000000005</cx:pt>
          <cx:pt idx="5012">0.067460310999999995</cx:pt>
          <cx:pt idx="5013">0.067743626000000001</cx:pt>
          <cx:pt idx="5014">0.068013062999999999</cx:pt>
          <cx:pt idx="5015">0.068212739999999994</cx:pt>
          <cx:pt idx="5016">0.068217492000000005</cx:pt>
          <cx:pt idx="5017">0.068500770000000002</cx:pt>
          <cx:pt idx="5018">0.068630974999999997</cx:pt>
          <cx:pt idx="5019">0.068951419</cx:pt>
          <cx:pt idx="5020">0.069495735000000003</cx:pt>
          <cx:pt idx="5021">0.069518067000000003</cx:pt>
          <cx:pt idx="5022">0.071413477000000003</cx:pt>
          <cx:pt idx="5023">0.071436704000000004</cx:pt>
          <cx:pt idx="5024">0.071655127999999998</cx:pt>
          <cx:pt idx="5025">0.072049976000000002</cx:pt>
          <cx:pt idx="5026">0.072398298</cx:pt>
          <cx:pt idx="5027">0.072723466</cx:pt>
          <cx:pt idx="5028">0.072732815000000006</cx:pt>
          <cx:pt idx="5029">0.072793144000000004</cx:pt>
          <cx:pt idx="5030">0.074005653000000005</cx:pt>
          <cx:pt idx="5031">0.074052103999999994</cx:pt>
          <cx:pt idx="5032">0.074066054000000006</cx:pt>
          <cx:pt idx="5033">0.074172872000000001</cx:pt>
          <cx:pt idx="5034">0.075143732000000005</cx:pt>
          <cx:pt idx="5035">0.075329577999999994</cx:pt>
          <cx:pt idx="5036">0.075724422</cx:pt>
          <cx:pt idx="5037">0.075803305000000001</cx:pt>
          <cx:pt idx="5038">0.075910231999999994</cx:pt>
          <cx:pt idx="5039">0.076523422999999993</cx:pt>
          <cx:pt idx="5040">0.076574440999999993</cx:pt>
          <cx:pt idx="5041">0.076811884999999996</cx:pt>
          <cx:pt idx="5042">0.076815980000000006</cx:pt>
          <cx:pt idx="5043">0.076825292000000003</cx:pt>
          <cx:pt idx="5044">0.076992511999999999</cx:pt>
          <cx:pt idx="5045">0.077052915</cx:pt>
          <cx:pt idx="5046">0.077062190000000003</cx:pt>
          <cx:pt idx="5047">0.077368985000000001</cx:pt>
          <cx:pt idx="5048">0.077494210999999993</cx:pt>
          <cx:pt idx="5049">0.077531459999999996</cx:pt>
          <cx:pt idx="5050">0.077629004000000001</cx:pt>
          <cx:pt idx="5051">0.077958733000000002</cx:pt>
          <cx:pt idx="5052">0.078739219999999999</cx:pt>
          <cx:pt idx="5053">0.079106308</cx:pt>
          <cx:pt idx="5054">0.079552169000000006</cx:pt>
          <cx:pt idx="5055">0.080169892000000006</cx:pt>
          <cx:pt idx="5056">0.080207140999999996</cx:pt>
          <cx:pt idx="5057">0.080337221</cx:pt>
          <cx:pt idx="5058">0.080866784999999997</cx:pt>
          <cx:pt idx="5059">0.081837645000000001</cx:pt>
          <cx:pt idx="5060">0.082947970999999995</cx:pt>
          <cx:pt idx="5061">0.083203348999999996</cx:pt>
          <cx:pt idx="5062">0.083496011999999994</cx:pt>
          <cx:pt idx="5063">0.083519349000000007</cx:pt>
          <cx:pt idx="5064">0.083607612999999997</cx:pt>
          <cx:pt idx="5065">0.083654139000000002</cx:pt>
          <cx:pt idx="5066">0.083802626000000005</cx:pt>
          <cx:pt idx="5067">0.083830492000000006</cx:pt>
          <cx:pt idx="5068">0.084313602000000001</cx:pt>
          <cx:pt idx="5069">0.084332191000000001</cx:pt>
          <cx:pt idx="5070">0.084346104000000005</cx:pt>
          <cx:pt idx="5071">0.084643406000000004</cx:pt>
          <cx:pt idx="5072">0.084657356000000003</cx:pt>
          <cx:pt idx="5073">0.084661995000000004</cx:pt>
          <cx:pt idx="5074">0.084959297000000003</cx:pt>
          <cx:pt idx="5075">0.085080100000000006</cx:pt>
          <cx:pt idx="5076">0.085354140999999994</cx:pt>
          <cx:pt idx="5077">0.085386788000000005</cx:pt>
          <cx:pt idx="5078">0.085855983999999996</cx:pt>
          <cx:pt idx="5079">0.085967330999999994</cx:pt>
          <cx:pt idx="5080">0.086023241</cx:pt>
          <cx:pt idx="5081">0.086483127000000007</cx:pt>
          <cx:pt idx="5082">0.086487728</cx:pt>
          <cx:pt idx="5083">0.086599256999999999</cx:pt>
          <cx:pt idx="5084">0.086896486999999994</cx:pt>
          <cx:pt idx="5085">0.086919711999999996</cx:pt>
          <cx:pt idx="5086">0.086929313999999994</cx:pt>
          <cx:pt idx="5087">0.087142697000000005</cx:pt>
          <cx:pt idx="5088">0.087899775999999999</cx:pt>
          <cx:pt idx="5089">0.088100441000000002</cx:pt>
          <cx:pt idx="5090">0.088183310000000001</cx:pt>
          <cx:pt idx="5091">0.088828966999999995</cx:pt>
          <cx:pt idx="5092">0.088894260000000003</cx:pt>
          <cx:pt idx="5093">0.088903209999999996</cx:pt>
          <cx:pt idx="5094">0.089065864999999994</cx:pt>
          <cx:pt idx="5095">0.089404982999999993</cx:pt>
          <cx:pt idx="5096">0.089409909999999995</cx:pt>
          <cx:pt idx="5097">0.089660760000000006</cx:pt>
          <cx:pt idx="5098">0.090269277999999994</cx:pt>
          <cx:pt idx="5099">0.091542112999999994</cx:pt>
          <cx:pt idx="5100">0.091834524000000001</cx:pt>
          <cx:pt idx="5101">0.091918114999999995</cx:pt>
          <cx:pt idx="5102">0.092281218999999998</cx:pt>
          <cx:pt idx="5103">0.092350101000000004</cx:pt>
          <cx:pt idx="5104">0.092438368000000007</cx:pt>
          <cx:pt idx="5105">0.092926117000000003</cx:pt>
          <cx:pt idx="5106">0.093395312999999994</cx:pt>
          <cx:pt idx="5107">0.093413900999999994</cx:pt>
          <cx:pt idx="5108">0.093559201999999994</cx:pt>
          <cx:pt idx="5109">0.093864764000000003</cx:pt>
          <cx:pt idx="5110">0.094138839000000002</cx:pt>
          <cx:pt idx="5111">0.094185293000000003</cx:pt>
          <cx:pt idx="5112">0.094709962999999994</cx:pt>
          <cx:pt idx="5113">0.094719203000000002</cx:pt>
          <cx:pt idx="5114">0.095030709000000005</cx:pt>
          <cx:pt idx="5115">0.095467115000000005</cx:pt>
          <cx:pt idx="5116">0.095676184999999997</cx:pt>
          <cx:pt idx="5117">0.096020194000000003</cx:pt>
          <cx:pt idx="5118">0.096284738999999994</cx:pt>
          <cx:pt idx="5119">0.096312821000000007</cx:pt>
          <cx:pt idx="5120">0.096554395000000001</cx:pt>
          <cx:pt idx="5121">0.097051202000000003</cx:pt>
          <cx:pt idx="5122">0.097171970999999996</cx:pt>
          <cx:pt idx="5123">0.097255816999999994</cx:pt>
          <cx:pt idx="5124">0.097525364000000003</cx:pt>
          <cx:pt idx="5125">0.097966658999999998</cx:pt>
          <cx:pt idx="5126">0.098240626999999997</cx:pt>
          <cx:pt idx="5127">0.098310087000000004</cx:pt>
          <cx:pt idx="5128">0.098389296000000001</cx:pt>
          <cx:pt idx="5129">0.098403246</cx:pt>
          <cx:pt idx="5130">0.098602969999999998</cx:pt>
          <cx:pt idx="5131">0.098714536000000006</cx:pt>
          <cx:pt idx="5132">0.098746746999999996</cx:pt>
          <cx:pt idx="5133">0.09885824</cx:pt>
          <cx:pt idx="5134">0.099123257000000006</cx:pt>
          <cx:pt idx="5135">0.099197356</cx:pt>
          <cx:pt idx="5136">0.099202209999999999</cx:pt>
          <cx:pt idx="5137">0.099374106000000004</cx:pt>
          <cx:pt idx="5138">0.099662312000000003</cx:pt>
          <cx:pt idx="5139">0.099941026000000002</cx:pt>
          <cx:pt idx="5140">0.10000584999999999</cx:pt>
          <cx:pt idx="5141">0.10003838900000001</cx:pt>
          <cx:pt idx="5142">0.10080956200000001</cx:pt>
          <cx:pt idx="5143">0.10095815900000001</cx:pt>
          <cx:pt idx="5144">0.10100460999999999</cx:pt>
          <cx:pt idx="5145">0.101213683</cx:pt>
          <cx:pt idx="5146">0.10122302900000001</cx:pt>
          <cx:pt idx="5147">0.10182680099999999</cx:pt>
          <cx:pt idx="5148">0.102077759</cx:pt>
          <cx:pt idx="5149">0.102375024</cx:pt>
          <cx:pt idx="5150">0.102602576</cx:pt>
          <cx:pt idx="5151">0.10305318500000001</cx:pt>
          <cx:pt idx="5152">0.103150801</cx:pt>
          <cx:pt idx="5153">0.103332008</cx:pt>
          <cx:pt idx="5154">0.103582822</cx:pt>
          <cx:pt idx="5155">0.103722104</cx:pt>
          <cx:pt idx="5156">0.103754715</cx:pt>
          <cx:pt idx="5157">0.104335478</cx:pt>
          <cx:pt idx="5158">0.104530383</cx:pt>
          <cx:pt idx="5159">0.104999578</cx:pt>
          <cx:pt idx="5160">0.105612843</cx:pt>
          <cx:pt idx="5161">0.105798726</cx:pt>
          <cx:pt idx="5162">0.105942575</cx:pt>
          <cx:pt idx="5163">0.106081932</cx:pt>
          <cx:pt idx="5164">0.10639314699999999</cx:pt>
          <cx:pt idx="5165">0.106500002</cx:pt>
          <cx:pt idx="5166">0.10676943899999999</cx:pt>
          <cx:pt idx="5167">0.106820638</cx:pt>
          <cx:pt idx="5168">0.106932023</cx:pt>
          <cx:pt idx="5169">0.106936771</cx:pt>
          <cx:pt idx="5170">0.10694137200000001</cx:pt>
          <cx:pt idx="5171">0.10694593600000001</cx:pt>
          <cx:pt idx="5172">0.10695525</cx:pt>
          <cx:pt idx="5173">0.106983656</cx:pt>
          <cx:pt idx="5174">0.107001701</cx:pt>
          <cx:pt idx="5175">0.107150407</cx:pt>
          <cx:pt idx="5176">0.107159647</cx:pt>
          <cx:pt idx="5177">0.107299004</cx:pt>
          <cx:pt idx="5178">0.107847154</cx:pt>
          <cx:pt idx="5179">0.108116557</cx:pt>
          <cx:pt idx="5180">0.108451033</cx:pt>
          <cx:pt idx="5181">0.108831964</cx:pt>
          <cx:pt idx="5182">0.109068865</cx:pt>
          <cx:pt idx="5183">0.109171117</cx:pt>
          <cx:pt idx="5184">0.109403379</cx:pt>
          <cx:pt idx="5185">0.10950552400000001</cx:pt>
          <cx:pt idx="5186">0.1098633</cx:pt>
          <cx:pt idx="5187">0.11137648</cx:pt>
          <cx:pt idx="5188">0.11374509100000001</cx:pt>
          <cx:pt idx="5189">0.114380378</cx:pt>
          <cx:pt idx="5190">0.11445369399999999</cx:pt>
          <cx:pt idx="5191">0.116869535</cx:pt>
          <cx:pt idx="5192">0.117235934</cx:pt>
          <cx:pt idx="5193">0.11735799399999999</cx:pt>
          <cx:pt idx="5194">0.118628385</cx:pt>
          <cx:pt idx="5195">0.12041007400000001</cx:pt>
          <cx:pt idx="5196">0.122143972</cx:pt>
          <cx:pt idx="5197">0.122899805</cx:pt>
          <cx:pt idx="5198">0.12370552899999999</cx:pt>
          <cx:pt idx="5199">0.128271362</cx:pt>
          <cx:pt idx="5200">0.12854006700000001</cx:pt>
          <cx:pt idx="5201">0.128979965</cx:pt>
          <cx:pt idx="5202">0.129003391</cx:pt>
          <cx:pt idx="5203">0.12902833</cx:pt>
          <cx:pt idx="5204">0.129052525</cx:pt>
          <cx:pt idx="5205">0.129077843</cx:pt>
          <cx:pt idx="5206">0.129102037</cx:pt>
          <cx:pt idx="5207">0.12912584099999999</cx:pt>
          <cx:pt idx="5208">0.12917515800000001</cx:pt>
          <cx:pt idx="5209">0.12919915800000001</cx:pt>
          <cx:pt idx="5210">0.12924867000000001</cx:pt>
          <cx:pt idx="5211">0.129272474</cx:pt>
          <cx:pt idx="5212">0.12929665700000001</cx:pt>
          <cx:pt idx="5213">0.129321987</cx:pt>
          <cx:pt idx="5214">0.129369973</cx:pt>
          <cx:pt idx="5215">0.12941872900000001</cx:pt>
          <cx:pt idx="5216">0.12944404600000001</cx:pt>
          <cx:pt idx="5217">0.129541557</cx:pt>
          <cx:pt idx="5218">0.12958934899999999</cx:pt>
          <cx:pt idx="5219">0.12961487399999999</cx:pt>
          <cx:pt idx="5220">0.12963867800000001</cx:pt>
          <cx:pt idx="5221">0.12981024999999999</cx:pt>
          <cx:pt idx="5222">0.12983444499999999</cx:pt>
          <cx:pt idx="5223">0.12985824900000001</cx:pt>
          <cx:pt idx="5224">0.12988318800000001</cx:pt>
          <cx:pt idx="5225">0.12988757000000001</cx:pt>
          <cx:pt idx="5226">0.12990776100000001</cx:pt>
          <cx:pt idx="5227">0.129931565</cx:pt>
          <cx:pt idx="5228">0.129955552</cx:pt>
          <cx:pt idx="5229">0.129981078</cx:pt>
          <cx:pt idx="5230">0.13000488199999999</cx:pt>
          <cx:pt idx="5231">0.130029064</cx:pt>
          <cx:pt idx="5232">0.13005439399999999</cx:pt>
          <cx:pt idx="5233">0.130078576</cx:pt>
          <cx:pt idx="5234">0.130102576</cx:pt>
          <cx:pt idx="5235">0.130176454</cx:pt>
          <cx:pt idx="5236">0.130200648</cx:pt>
          <cx:pt idx="5237">0.13022445199999999</cx:pt>
          <cx:pt idx="5238">0.13025377399999999</cx:pt>
          <cx:pt idx="5239">0.13029776900000001</cx:pt>
          <cx:pt idx="5240">0.13032175600000001</cx:pt>
          <cx:pt idx="5241">0.130517523</cx:pt>
          <cx:pt idx="5242">0.13056685200000001</cx:pt>
          <cx:pt idx="5243">0.13059083899999999</cx:pt>
          <cx:pt idx="5244">0.130619978</cx:pt>
          <cx:pt idx="5245">0.13078680100000001</cx:pt>
          <cx:pt idx="5246">0.13098618100000001</cx:pt>
          <cx:pt idx="5247">0.131054542</cx:pt>
          <cx:pt idx="5248">0.13110349299999999</cx:pt>
          <cx:pt idx="5249">0.13115185800000001</cx:pt>
          <cx:pt idx="5250">0.131323247</cx:pt>
          <cx:pt idx="5251">0.13135238499999999</cx:pt>
          <cx:pt idx="5252">0.13149406199999999</cx:pt>
          <cx:pt idx="5253">0.13151806099999999</cx:pt>
          <cx:pt idx="5254">0.13154339100000001</cx:pt>
          <cx:pt idx="5255">0.13156739100000001</cx:pt>
          <cx:pt idx="5256">0.131591756</cx:pt>
          <cx:pt idx="5257">0.131616134</cx:pt>
          <cx:pt idx="5258">0.13164013299999999</cx:pt>
          <cx:pt idx="5259">0.131718589</cx:pt>
          <cx:pt idx="5260">0.13183590000000001</cx:pt>
          <cx:pt idx="5261">1.6222150609999999</cx:pt>
          <cx:pt idx="5262">1.91987354</cx:pt>
          <cx:pt idx="5263">2.2431690940000002</cx:pt>
          <cx:pt idx="5264">3.1197487370000001</cx:pt>
          <cx:pt idx="5265">3.170873845</cx:pt>
          <cx:pt idx="5266">3.417407216</cx:pt>
          <cx:pt idx="5267">4.0171957540000003</cx:pt>
          <cx:pt idx="5268">4.6055072399999997</cx:pt>
          <cx:pt idx="5269">5.7959921139999997</cx:pt>
          <cx:pt idx="5270">7.5911843049999996</cx:pt>
          <cx:pt idx="5271">7.6423094120000004</cx:pt>
          <cx:pt idx="5272">7.8888427840000004</cx:pt>
          <cx:pt idx="5273">8.1817315629999996</cx:pt>
          <cx:pt idx="5274">8.784054029</cx:pt>
          <cx:pt idx="5275">9.0747070000000001</cx:pt>
          <cx:pt idx="5276">40.012210000000003</cx:pt>
          <cx:pt idx="5277">27.927250000000001</cx:pt>
          <cx:pt idx="5278">6.9213870000000002</cx:pt>
          <cx:pt idx="5279">47.263179999999998</cx:pt>
          <cx:pt idx="5280">76.772459999999995</cx:pt>
          <cx:pt idx="5281">90.043949999999995</cx:pt>
          <cx:pt idx="5282">98.569339999999997</cx:pt>
          <cx:pt idx="5283">98.629229769999995</cx:pt>
          <cx:pt idx="5284">98.639279779999995</cx:pt>
          <cx:pt idx="5285">98.92085548</cx:pt>
          <cx:pt idx="5286">98.979338850000005</cx:pt>
          <cx:pt idx="5287">99.448787969999998</cx:pt>
          <cx:pt idx="5288">99.508208940000003</cx:pt>
          <cx:pt idx="5289">99.566721599999994</cx:pt>
          <cx:pt idx="5290">99.62385716</cx:pt>
          <cx:pt idx="5291">99.858318019999999</cx:pt>
          <cx:pt idx="5292">99.976720450000002</cx:pt>
          <cx:pt idx="5293">100.0342955</cx:pt>
          <cx:pt idx="5294">100.4457008</cx:pt>
          <cx:pt idx="5295">100.5028363</cx:pt>
          <cx:pt idx="5296">100.6216783</cx:pt>
          <cx:pt idx="5297">100.6788138</cx:pt>
          <cx:pt idx="5298">100.7372972</cx:pt>
          <cx:pt idx="5299">100.7980953</cx:pt>
          <cx:pt idx="5300">100.9132747</cx:pt>
          <cx:pt idx="5301">101.0303</cx:pt>
          <cx:pt idx="5302">98.833010000000002</cx:pt>
          <cx:pt idx="5303">98.781605659999997</cx:pt>
          <cx:pt idx="5304">98.731025020000004</cx:pt>
          <cx:pt idx="5305">98.680032530000005</cx:pt>
          <cx:pt idx="5306">98.576811980000002</cx:pt>
          <cx:pt idx="5307">98.216621200000006</cx:pt>
          <cx:pt idx="5308">98.16362092</cx:pt>
          <cx:pt idx="5309">98.009407890000006</cx:pt>
          <cx:pt idx="5310">97.907834750000006</cx:pt>
          <cx:pt idx="5311">97.854808739999996</cx:pt>
          <cx:pt idx="5312">97.804228100000003</cx:pt>
          <cx:pt idx="5313">97.753235599999996</cx:pt>
          <cx:pt idx="5314">97.701831260000006</cx:pt>
          <cx:pt idx="5315">97.648830989999993</cx:pt>
          <cx:pt idx="5316">97.598224610000003</cx:pt>
          <cx:pt idx="5317">97.237210110000007</cx:pt>
          <cx:pt idx="5318">97.187015590000001</cx:pt>
          <cx:pt idx="5319">97.032030329999998</cx:pt>
          <cx:pt idx="5320">96.929633490000001</cx:pt>
          <cx:pt idx="5321">96.876633220000002</cx:pt>
          <cx:pt idx="5322">96.826026839999997</cx:pt>
          <cx:pt idx="5323">96.774622489999999</cx:pt>
          <cx:pt idx="5324">96.72363</cx:pt>
          <cx:pt idx="5325">98.701170000000005</cx:pt>
          <cx:pt idx="5326">98.65254856</cx:pt>
          <cx:pt idx="5327">98.605045129999993</cx:pt>
          <cx:pt idx="5328">98.462178030000004</cx:pt>
          <cx:pt idx="5329">98.368312959999997</cx:pt>
          <cx:pt idx="5330">98.27218809</cx:pt>
          <cx:pt idx="5331">98.130438999999996</cx:pt>
          <cx:pt idx="5332">97.987571900000006</cx:pt>
          <cx:pt idx="5333">97.938950460000001</cx:pt>
          <cx:pt idx="5334">97.930791380000002</cx:pt>
          <cx:pt idx="5335">97.748579930000005</cx:pt>
          <cx:pt idx="5336">97.701837699999999</cx:pt>
          <cx:pt idx="5337">97.654714870000006</cx:pt>
          <cx:pt idx="5338">97.605356020000002</cx:pt>
          <cx:pt idx="5339">97.558589999999995</cx:pt>
          <cx:pt idx="5340">94.877930000000006</cx:pt>
          <cx:pt idx="5341">95.459121670000002</cx:pt>
          <cx:pt idx="5342">98.261719999999997</cx:pt>
          <cx:pt idx="5343">95.141599999999997</cx:pt>
          <cx:pt idx="5344">97.932130000000001</cx:pt>
          <cx:pt idx="5345">94.855959999999996</cx:pt>
          <cx:pt idx="5346">99.733890000000002</cx:pt>
          <cx:pt idx="5347">98.504966969999998</cx:pt>
          <cx:pt idx="5348">94.680179999999993</cx:pt>
          <cx:pt idx="5349">98.876949999999994</cx:pt>
          <cx:pt idx="5350">94.833979999999997</cx:pt>
          <cx:pt idx="5351">100.6567</cx:pt>
          <cx:pt idx="5352">99.868904499999999</cx:pt>
          <cx:pt idx="5353">96.262209999999996</cx:pt>
          <cx:pt idx="5354">96.009568669999993</cx:pt>
          <cx:pt idx="5355">95.752910999999997</cx:pt>
          <cx:pt idx="5356">95.484074710000002</cx:pt>
          <cx:pt idx="5357">95.229489999999998</cx:pt>
          <cx:pt idx="5358">99.821780000000004</cx:pt>
          <cx:pt idx="5359">94.680179999999993</cx:pt>
          <cx:pt idx="5360">101.0303</cx:pt>
          <cx:pt idx="5361">91.647949999999994</cx:pt>
          <cx:pt idx="5362">100.5908</cx:pt>
          <cx:pt idx="5363">93.823239999999998</cx:pt>
          <cx:pt idx="5364">101.0962</cx:pt>
          <cx:pt idx="5365">95.053709999999995</cx:pt>
          <cx:pt idx="5366">96.319797170000001</cx:pt>
          <cx:pt idx="5367">97.646916149999996</cx:pt>
          <cx:pt idx="5368">97.869617750000003</cx:pt>
          <cx:pt idx="5369">98.942869999999999</cx:pt>
          <cx:pt idx="5370">95.646969999999996</cx:pt>
          <cx:pt idx="5371">97.410483200000002</cx:pt>
          <cx:pt idx="5372">99.095768989999996</cx:pt>
          <cx:pt idx="5373">100.7666</cx:pt>
          <cx:pt idx="5374">94.021000000000001</cx:pt>
          <cx:pt idx="5375">100.5908</cx:pt>
          <cx:pt idx="5376">94.350589999999997</cx:pt>
          <cx:pt idx="5377">100.21729999999999</cx:pt>
          <cx:pt idx="5378">95.910640000000001</cx:pt>
          <cx:pt idx="5379">100.1074</cx:pt>
          <cx:pt idx="5380">96.262209999999996</cx:pt>
          <cx:pt idx="5381">100.61279999999999</cx:pt>
          <cx:pt idx="5382">95.31738</cx:pt>
          <cx:pt idx="5383">102.7441</cx:pt>
          <cx:pt idx="5384">101.76674199999999</cx:pt>
          <cx:pt idx="5385">97.294920000000005</cx:pt>
          <cx:pt idx="5386">96.350099999999998</cx:pt>
          <cx:pt idx="5387">99.33248347</cx:pt>
          <cx:pt idx="5388">102.4365</cx:pt>
          <cx:pt idx="5389">96.350099999999998</cx:pt>
          <cx:pt idx="5390">105.5566</cx:pt>
          <cx:pt idx="5391">90.769040000000004</cx:pt>
          <cx:pt idx="5392">105.09520000000001</cx:pt>
          <cx:pt idx="5393">92.087400000000002</cx:pt>
          <cx:pt idx="5394">105.1392</cx:pt>
          <cx:pt idx="5395">90.263670000000005</cx:pt>
          <cx:pt idx="5396">106.4795</cx:pt>
          <cx:pt idx="5397">89.69238</cx:pt>
          <cx:pt idx="5398">107.70999999999999</cx:pt>
          <cx:pt idx="5399">104.6202589</cx:pt>
          <cx:pt idx="5400">90.483400000000003</cx:pt>
          <cx:pt idx="5401">104.9194</cx:pt>
          <cx:pt idx="5402">87.780760000000001</cx:pt>
          <cx:pt idx="5403">108.43510000000001</cx:pt>
          <cx:pt idx="5404">91.494140000000002</cx:pt>
          <cx:pt idx="5405">106.17189999999999</cx:pt>
          <cx:pt idx="5406">91.71387</cx:pt>
          <cx:pt idx="5407">106.56740000000001</cx:pt>
          <cx:pt idx="5408">89.362790000000004</cx:pt>
          <cx:pt idx="5409">107.8198</cx:pt>
          <cx:pt idx="5410">84.638670000000005</cx:pt>
          <cx:pt idx="5411">109.1382</cx:pt>
          <cx:pt idx="5412">93.647459999999995</cx:pt>
          <cx:pt idx="5413">-7.4989497930000004</cx:pt>
          <cx:pt idx="5414">-6.8346324940000001</cx:pt>
          <cx:pt idx="5415">-6.1488526480000001</cx:pt>
          <cx:pt idx="5416">-5.4739744420000003</cx:pt>
          <cx:pt idx="5417">-4.767072701</cx:pt>
          <cx:pt idx="5418">-4.0976453140000002</cx:pt>
          <cx:pt idx="5419">-4.0921944940000001</cx:pt>
          <cx:pt idx="5420">-3.4278771940000001</cx:pt>
          <cx:pt idx="5421">-2.726426273</cx:pt>
          <cx:pt idx="5422">-2.6783910120000001</cx:pt>
          <cx:pt idx="5423">-2.0460972470000001</cx:pt>
          <cx:pt idx="5424">-1.3763291280000001</cx:pt>
          <cx:pt idx="5425">0</cx:pt>
          <cx:pt idx="5426">0.024189691999999999</cx:pt>
          <cx:pt idx="5427">0.123268185</cx:pt>
          <cx:pt idx="5428">0.19855394700000001</cx:pt>
          <cx:pt idx="5429">0.223128191</cx:pt>
          <cx:pt idx="5430">0.24731788299999999</cx:pt>
          <cx:pt idx="5431">0.32182212900000001</cx:pt>
          <cx:pt idx="5432">0.34756244200000003</cx:pt>
          <cx:pt idx="5433">0.37213668599999999</cx:pt>
          <cx:pt idx="5434">0.420900626</cx:pt>
          <cx:pt idx="5435">0.44664093500000002</cx:pt>
          <cx:pt idx="5436">0.54495032300000001</cx:pt>
          <cx:pt idx="5437">0.59506640099999997</cx:pt>
          <cx:pt idx="5438">0.59526488099999997</cx:pt>
          <cx:pt idx="5439">0.61945456899999995</cx:pt>
          <cx:pt idx="5440">0.64499640199999997</cx:pt>
          <cx:pt idx="5441">0.72085279300000005</cx:pt>
          <cx:pt idx="5442">0.76846306799999997</cx:pt>
          <cx:pt idx="5443">0.96740156700000002</cx:pt>
          <cx:pt idx="5444">1.1405997569999999</cx:pt>
          <cx:pt idx="5445">1.1911127939999999</cx:pt>
          <cx:pt idx="5446">1.612013417</cx:pt>
          <cx:pt idx="5447">2.6796595459999999</cx:pt>
          <cx:pt idx="5448">3.0761720000000001</cx:pt>
          <cx:pt idx="5449">-8.9868159999999992</cx:pt>
          <cx:pt idx="5450">3.3618160000000001</cx:pt>
          <cx:pt idx="5451">61.149900000000002</cx:pt>
          <cx:pt idx="5452">58.886719999999997</cx:pt>
          <cx:pt idx="5453">49.965820000000001</cx:pt>
          <cx:pt idx="5454">55.590820000000001</cx:pt>
          <cx:pt idx="5455">50.207520000000002</cx:pt>
          <cx:pt idx="5456">35.969239999999999</cx:pt>
          <cx:pt idx="5457">21.88477</cx:pt>
          <cx:pt idx="5458">14.23828</cx:pt>
          <cx:pt idx="5459">20.874020000000002</cx:pt>
          <cx:pt idx="5460">4.0649410000000001</cx:pt>
          <cx:pt idx="5461">-7.1411129999999998</cx:pt>
          <cx:pt idx="5462">2.8125</cx:pt>
          <cx:pt idx="5463">-5.2514649999999996</cx:pt>
          <cx:pt idx="5464">3.7573240000000001</cx:pt>
          <cx:pt idx="5465">-3.186035</cx:pt>
          <cx:pt idx="5466">1.604004</cx:pt>
          <cx:pt idx="5467">-7.1411129999999998</cx:pt>
          <cx:pt idx="5468">-5.625</cx:pt>
          <cx:pt idx="5469">-3.7449828090000001</cx:pt>
          <cx:pt idx="5470">1.625977</cx:pt>
          <cx:pt idx="5471">-3.6914060000000002</cx:pt>
          <cx:pt idx="5472">-2.7759585960000002</cx:pt>
          <cx:pt idx="5473">-1.908599844</cx:pt>
          <cx:pt idx="5474">-1.0412409869999999</cx:pt>
          <cx:pt idx="5475">-0.13991135499999999</cx:pt>
          <cx:pt idx="5476">0.73406513500000004</cx:pt>
          <cx:pt idx="5477">1.601423992</cx:pt>
          <cx:pt idx="5478">3.3837890000000002</cx:pt>
          <cx:pt idx="5479">2.4818399320000002</cx:pt>
          <cx:pt idx="5480">1.5623662650000001</cx:pt>
          <cx:pt idx="5481">0.206142621</cx:pt>
          <cx:pt idx="5482">-0.26611181499999997</cx:pt>
          <cx:pt idx="5483">-0.71355867699999997</cx:pt>
          <cx:pt idx="5484">-1.1610055379999999</cx:pt>
          <cx:pt idx="5485">-1.625977</cx:pt>
          <cx:pt idx="5486">-6.1083980000000002</cx:pt>
          <cx:pt idx="5487">-4.3246547030000002</cx:pt>
          <cx:pt idx="5488">-0.65917970000000004</cx:pt>
          <cx:pt idx="5489">-0.59460617900000001</cx:pt>
          <cx:pt idx="5490">-0.528476265</cx:pt>
          <cx:pt idx="5491">-0.45976340799999998</cx:pt>
          <cx:pt idx="5492">-0.32958979999999999</cx:pt>
          <cx:pt idx="5493">0.21437851099999999</cx:pt>
          <cx:pt idx="5494">0.76488589799999995</cx:pt>
          <cx:pt idx="5495">1.032715</cx:pt>
          <cx:pt idx="5496">0.68853419900000001</cx:pt>
          <cx:pt idx="5497">0.35210294199999997</cx:pt>
          <cx:pt idx="5498">0.020894185999999999</cx:pt>
          <cx:pt idx="5499">-0.32850915600000002</cx:pt>
          <cx:pt idx="5500">-0.65971787199999998</cx:pt>
          <cx:pt idx="5501">-0.98823112800000001</cx:pt>
          <cx:pt idx="5502">-1.3246623850000001</cx:pt>
          <cx:pt idx="5503">-2.6806640000000002</cx:pt>
          <cx:pt idx="5504">1.1645509999999999</cx:pt>
          <cx:pt idx="5505">-1.0049169360000001</cx:pt>
          <cx:pt idx="5506">-1.010742</cx:pt>
          <cx:pt idx="5507">2.3071290000000002</cx:pt>
          <cx:pt idx="5508">1.8346421470000001</cx:pt>
          <cx:pt idx="5509">1.371160602</cx:pt>
          <cx:pt idx="5510">0.89867375000000005</cx:pt>
          <cx:pt idx="5511">0.201455623</cx:pt>
          <cx:pt idx="5512">-0.040920154</cx:pt>
          <cx:pt idx="5513">-0.270848174</cx:pt>
          <cx:pt idx="5514">-0.50065922200000001</cx:pt>
          <cx:pt idx="5515">-0.97326304600000002</cx:pt>
          <cx:pt idx="5516">-1.4457498980000001</cx:pt>
          <cx:pt idx="5517">-1.903734671</cx:pt>
          <cx:pt idx="5518">-2.1372882240000002</cx:pt>
          <cx:pt idx="5519">-2.6097750770000001</cx:pt>
          <cx:pt idx="5520">-3.306693176</cx:pt>
          <cx:pt idx="5521">-3.5493689800000001</cx:pt>
          <cx:pt idx="5522">-3.7792970000000001</cx:pt>
          <cx:pt idx="5523">-3.4788386490000001</cx:pt>
          <cx:pt idx="5524">-0.48339840000000001</cx:pt>
          <cx:pt idx="5525">5.9985350000000004</cx:pt>
          <cx:pt idx="5526">-0.87890630000000003</cx:pt>
          <cx:pt idx="5527">-1.0558812989999999</cx:pt>
          <cx:pt idx="5528">-1.348246593</cx:pt>
          <cx:pt idx="5529">-1.407090926</cx:pt>
          <cx:pt idx="5530">-1.5261350460000001</cx:pt>
          <cx:pt idx="5531">-1.6479490000000001</cx:pt>
          <cx:pt idx="5532">-1.3129461060000001</cx:pt>
          <cx:pt idx="5533">-1.131828072</cx:pt>
          <cx:pt idx="5534">-0.96031148899999996</cx:pt>
          <cx:pt idx="5535">-0.78600175400000005</cx:pt>
          <cx:pt idx="5536">2.7026370000000002</cx:pt>
          <cx:pt idx="5537">-0.065917970000000006</cx:pt>
          <cx:pt idx="5538">-1.9335939849999999</cx:pt>
          <cx:pt idx="5539">-3.8012700000000001</cx:pt>
          <cx:pt idx="5540">0.63720699999999997</cx:pt>
          <cx:pt idx="5541">-0.23305825699999999</cx:pt>
          <cx:pt idx="5542">-0.29869204399999999</cx:pt>
          <cx:pt idx="5543">-0.36429244100000002</cx:pt>
          <cx:pt idx="5544">-0.43356513000000002</cx:pt>
          <cx:pt idx="5545">-0.49919890900000002</cx:pt>
          <cx:pt idx="5546">-0.56483269599999997</cx:pt>
          <cx:pt idx="5547">-0.63096724500000001</cx:pt>
          <cx:pt idx="5548">-0.76584033799999995</cx:pt>
          <cx:pt idx="5549">-0.90074680600000001</cx:pt>
          <cx:pt idx="5550">-1.0319809900000001</cx:pt>
          <cx:pt idx="5551">-1.5663321370000001</cx:pt>
          <cx:pt idx="5552">-1.6324666859999999</cx:pt>
          <cx:pt idx="5553">-1.832973559</cx:pt>
          <cx:pt idx="5554">-1.9668117300000001</cx:pt>
          <cx:pt idx="5555">-2.036084411</cx:pt>
          <cx:pt idx="5556">-2.1016848160000001</cx:pt>
          <cx:pt idx="5557">-2.1673185949999998</cx:pt>
          <cx:pt idx="5558">-2.2350222180000001</cx:pt>
          <cx:pt idx="5559">-2.3016909189999999</cx:pt>
          <cx:pt idx="5560">-2.4365640040000001</cx:pt>
          <cx:pt idx="5561">-2.5677981879999998</cx:pt>
          <cx:pt idx="5562">-2.6339661269999999</cx:pt>
          <cx:pt idx="5563">-2.7688392130000001</cx:pt>
          <cx:pt idx="5564">-2.834473</cx:pt>
          <cx:pt idx="5565">-7.756348</cx:pt>
          <cx:pt idx="5566">-4.979448981</cx:pt>
          <cx:pt idx="5567">0.68115230000000004</cx:pt>
          <cx:pt idx="5568">2.4609380000000001</cx:pt>
          <cx:pt idx="5569">3.845215</cx:pt>
          <cx:pt idx="5570">3.7136877940000002</cx:pt>
          <cx:pt idx="5571">3.577023316</cx:pt>
          <cx:pt idx="5572">3.4476037100000001</cx:pt>
          <cx:pt idx="5573">3.1845492979999999</cx:pt>
          <cx:pt idx="5574">2.9236024700000001</cx:pt>
          <cx:pt idx="5575">2.786937993</cx:pt>
          <cx:pt idx="5576">1.73584</cx:pt>
          <cx:pt idx="5577">2.1202171079999999</cx:pt>
          <cx:pt idx="5578">2.6586910000000001</cx:pt>
          <cx:pt idx="5579">6.8115230000000002</cx:pt>
          <cx:pt idx="5580">-1.779785</cx:pt>
          <cx:pt idx="5581">0.1098633</cx:pt>
          <cx:pt idx="5582">6.5039059999999997</cx:pt>
          <cx:pt idx="5583">8.6132810000000006</cx:pt>
          <cx:pt idx="5584">2.9223629999999998</cx:pt>
          <cx:pt idx="5585">-0.8129883</cx:pt>
          <cx:pt idx="5586">-7.009277</cx:pt>
          <cx:pt idx="5587">5.7348629999999998</cx:pt>
          <cx:pt idx="5588">0.065917970000000006</cx:pt>
          <cx:pt idx="5589">0.750121488</cx:pt>
          <cx:pt idx="5590">1.418346074</cx:pt>
          <cx:pt idx="5591">1.7578130000000001</cx:pt>
          <cx:pt idx="5592">-1.2524409999999999</cx:pt>
          <cx:pt idx="5593">-1.2752253389999999</cx:pt>
          <cx:pt idx="5594">-1.2983807220000001</cx:pt>
          <cx:pt idx="5595">-1.321536104</cx:pt>
          <cx:pt idx="5596">-1.3455959040000001</cx:pt>
          <cx:pt idx="5597">-1.3683802439999999</cx:pt>
          <cx:pt idx="5598">-1.39117618</cx:pt>
          <cx:pt idx="5599">-1.414691012</cx:pt>
          <cx:pt idx="5600">-1.4606307329999999</cx:pt>
          <cx:pt idx="5601">-1.484690533</cx:pt>
          <cx:pt idx="5602">-1.5074864670000001</cx:pt>
          <cx:pt idx="5603">-1.5302708089999999</cx:pt>
          <cx:pt idx="5604">-1.553426191</cx:pt>
          <cx:pt idx="5605">-1.6699219999999999</cx:pt>
          <cx:pt idx="5606">-2.4509632520000002</cx:pt>
          <cx:pt idx="5607">-2.7085794129999998</cx:pt>
          <cx:pt idx="5608">-2.968276275</cx:pt>
          <cx:pt idx="5609">-3.493652</cx:pt>
          <cx:pt idx="5610">-2.9973468699999999</cx:pt>
          <cx:pt idx="5611">-2.501294165</cx:pt>
          <cx:pt idx="5612">-0.97703669299999996</cx:pt>
          <cx:pt idx="5613">-0.48098404900000002</cx:pt>
          <cx:pt idx="5614">0.023146884</cx:pt>
          <cx:pt idx="5615">0.52727775600000004</cx:pt>
          <cx:pt idx="5616">1.051099225</cx:pt>
          <cx:pt idx="5617">2.0434570000000001</cx:pt>
          <cx:pt idx="5618">1.9861040190000001</cx:pt>
          <cx:pt idx="5619">1.8774512189999999</cx:pt>
          <cx:pt idx="5620">1.820098239</cx:pt>
          <cx:pt idx="5621">1.6566906189999999</cx:pt>
          <cx:pt idx="5622">1.599337639</cx:pt>
          <cx:pt idx="5623">1.490684838</cx:pt>
          <cx:pt idx="5624">1.4333318580000001</cx:pt>
          <cx:pt idx="5625">1.0482791579999999</cx:pt>
          <cx:pt idx="5626">0.43945309999999999</cx:pt>
          <cx:pt idx="5627">10.32715</cx:pt>
          <cx:pt idx="5628">-1.010742</cx:pt>
          <cx:pt idx="5629">1.801758</cx:pt>
          <cx:pt idx="5630">7.6464840000000001</cx:pt>
          <cx:pt idx="5631">0.57128909999999999</cx:pt>
          <cx:pt idx="5632">-0.69713526199999998</cx:pt>
          <cx:pt idx="5633">-0.703125</cx:pt>
          <cx:pt idx="5634">-0.68115230000000004</cx:pt>
          <cx:pt idx="5635">4.5483399999999996</cx:pt>
          <cx:pt idx="5636">-5.2954100000000004</cx:pt>
          <cx:pt idx="5637">-3.4045314759999998</cx:pt>
          <cx:pt idx="5638">-1.5420731679999999</cx:pt>
          <cx:pt idx="5639">0.423644731</cx:pt>
          <cx:pt idx="5640">2.2851560000000002</cx:pt>
          <cx:pt idx="5641">1.479905569</cx:pt>
          <cx:pt idx="5642">0.65524646600000003</cx:pt>
          <cx:pt idx="5643">-1.824925122</cx:pt>
          <cx:pt idx="5644">-2.681794273</cx:pt>
          <cx:pt idx="5645">-3.493652</cx:pt>
          <cx:pt idx="5646">-2.9663384439999998</cx:pt>
          <cx:pt idx="5647">-2.7532297149999998</cx:pt>
          <cx:pt idx="5648">-0.43735333599999998</cx:pt>
          <cx:pt idx="5649">-0.116503685</cx:pt>
          <cx:pt idx="5650">-0.012823466</cx:pt>
          <cx:pt idx="5651">0.092438851000000002</cx:pt>
          <cx:pt idx="5652">0.19775390000000001</cx:pt>
          <cx:pt idx="5653">0.19369962800000001</cx:pt>
          <cx:pt idx="5654">0.18134709299999999</cx:pt>
          <cx:pt idx="5655">0.17700411399999999</cx:pt>
          <cx:pt idx="5656">0.17294984199999999</cx:pt>
          <cx:pt idx="5657">0.160725162</cx:pt>
          <cx:pt idx="5658">0.144190498</cx:pt>
          <cx:pt idx="5659">0.14000837099999999</cx:pt>
          <cx:pt idx="5660">0.13183590000000001</cx:pt>
          <cx:pt idx="5661">0.15653431100000001</cx:pt>
          <cx:pt idx="5662">0.17992340800000001</cx:pt>
          <cx:pt idx="5663">0.203133963</cx:pt>
          <cx:pt idx="5664">0.25160236200000002</cx:pt>
          <cx:pt idx="5665">0.275003363</cx:pt>
          <cx:pt idx="5666">0.322531438</cx:pt>
          <cx:pt idx="5667">0.34649187199999998</cx:pt>
          <cx:pt idx="5668">0.369880969</cx:pt>
          <cx:pt idx="5669">0.39457937999999998</cx:pt>
          <cx:pt idx="5670">0.39550780000000002</cx:pt>
          <cx:pt idx="5671">18.478999999999999</cx:pt>
          <cx:pt idx="5672">16.191743450000001</cx:pt>
          <cx:pt idx="5673">13.903341060000001</cx:pt>
          <cx:pt idx="5674">4.7680660000000001</cx:pt>
          <cx:pt idx="5675">-1.0546880000000001</cx:pt>
          <cx:pt idx="5676">6.5039059999999997</cx:pt>
          <cx:pt idx="5677">1.911621</cx:pt>
          <cx:pt idx="5678">0.59765014500000002</cx:pt>
          <cx:pt idx="5679">-0.325401993</cx:pt>
          <cx:pt idx="5680">-1.6496201660000001</cx:pt>
          <cx:pt idx="5681">-1.911621</cx:pt>
          <cx:pt idx="5682">-1.788307877</cx:pt>
          <cx:pt idx="5683">-1.671531815</cx:pt>
          <cx:pt idx="5684">-1.5546963300000001</cx:pt>
          <cx:pt idx="5685">-1.436018582</cx:pt>
          <cx:pt idx="5686">-1.079093925</cx:pt>
          <cx:pt idx="5687">-0.84179785299999998</cx:pt>
          <cx:pt idx="5688">-0.71848471599999997</cx:pt>
          <cx:pt idx="5689">-0.60164923000000003</cx:pt>
          <cx:pt idx="5690">-0.48487318299999999</cx:pt>
          <cx:pt idx="5691">-0.24472456000000001</cx:pt>
          <cx:pt idx="5692">-0.12794851300000001</cx:pt>
          <cx:pt idx="5693">0</cx:pt>
          <cx:pt idx="5694">-2.7238305610000002</cx:pt>
          <cx:pt idx="5695">-5.5371090000000001</cx:pt>
          <cx:pt idx="5696">-4.3749726999999998</cx:pt>
          <cx:pt idx="5697">-2.18859973</cx:pt>
          <cx:pt idx="5698">0.023351358999999999</cx:pt>
          <cx:pt idx="5699">1.151012785</cx:pt>
          <cx:pt idx="5700">2.243643198</cx:pt>
          <cx:pt idx="5701">3.397438749</cx:pt>
          <cx:pt idx="5702">3.4497070000000001</cx:pt>
          <cx:pt idx="5703">1.626394635</cx:pt>
          <cx:pt idx="5704">-0.2416992</cx:pt>
          <cx:pt idx="5705">-0.15415662499999999</cx:pt>
          <cx:pt idx="5706">0.18280844800000001</cx:pt>
          <cx:pt idx="5707">0.265752402</cx:pt>
          <cx:pt idx="5708">0.51779063199999997</cx:pt>
          <cx:pt idx="5709">0.60533319699999999</cx:pt>
          <cx:pt idx="5710">0.77117891900000002</cx:pt>
          <cx:pt idx="5711">0.85872148299999995</cx:pt>
          <cx:pt idx="5712">1.1950537240000001</cx:pt>
          <cx:pt idx="5713">1.2773226499999999</cx:pt>
          <cx:pt idx="5714">1.3654980569999999</cx:pt>
          <cx:pt idx="5715">1.448442011</cx:pt>
          <cx:pt idx="5716">1.531385955</cx:pt>
          <cx:pt idx="5717">1.6188863440000001</cx:pt>
          <cx:pt idx="5718">1.8676759999999999</cx:pt>
          <cx:pt idx="5719">1.610897416</cx:pt>
          <cx:pt idx="5720">1.1206050000000001</cx:pt>
          <cx:pt idx="5721">2.1946151199999999</cx:pt>
          <cx:pt idx="5722">3.2519529999999999</cx:pt>
          <cx:pt idx="5723">0.48339840000000001</cx:pt>
          <cx:pt idx="5724">0.34182776999999998</cx:pt>
          <cx:pt idx="5725">-0.8129883</cx:pt>
          <cx:pt idx="5726">8.5693359999999998</cx:pt>
          <cx:pt idx="5727">-0.87890630000000003</cx:pt>
          <cx:pt idx="5728">-0.67410864599999998</cx:pt>
          <cx:pt idx="5729">2.7026370000000002</cx:pt>
          <cx:pt idx="5730">2.0443981170000001</cx:pt>
          <cx:pt idx="5731">-2.790527</cx:pt>
          <cx:pt idx="5732">1.40625</cx:pt>
          <cx:pt idx="5733">-5.1416019999999998</cx:pt>
          <cx:pt idx="5734">-4.0820888640000002</cx:pt>
          <cx:pt idx="5735">-3.5827540369999999</cx:pt>
          <cx:pt idx="5736">-3.0508994189999998</cx:pt>
          <cx:pt idx="5737">-2.5069811</cx:pt>
          <cx:pt idx="5738">-1.9913863460000001</cx:pt>
          <cx:pt idx="5739">-1.475791592</cx:pt>
          <cx:pt idx="5740">-0.95232923700000005</cx:pt>
          <cx:pt idx="5741">0.13183590000000001</cx:pt>
          <cx:pt idx="5742">0.258341455</cx:pt>
          <cx:pt idx="5743">0.29463351199999999</cx:pt>
          <cx:pt idx="5744">0.30061874100000002</cx:pt>
          <cx:pt idx="5745">0.30665230999999998</cx:pt>
          <cx:pt idx="5746">0.31886145100000002</cx:pt>
          <cx:pt idx="5747">0.33073824699999999</cx:pt>
          <cx:pt idx="5748">0.33710114099999999</cx:pt>
          <cx:pt idx="5749">0.33724314300000002</cx:pt>
          <cx:pt idx="5750">0.34897793700000002</cx:pt>
          <cx:pt idx="5751">0.36094839400000001</cx:pt>
          <cx:pt idx="5752">0.37329953700000001</cx:pt>
          <cx:pt idx="5753">0.37353520000000001</cx:pt>
          <cx:pt idx="5754">0.72883760099999995</cx:pt>
          <cx:pt idx="5755">1.853867844</cx:pt>
          <cx:pt idx="5756">2.2445686789999999</cx:pt>
          <cx:pt idx="5757">2.6147459999999998</cx:pt>
          <cx:pt idx="5758">1.714096361</cx:pt>
          <cx:pt idx="5759">0.8129883</cx:pt>
          <cx:pt idx="5760">1.2336201170000001</cx:pt>
          <cx:pt idx="5761">1.2433325550000001</cx:pt>
          <cx:pt idx="5762">1.4367549900000001</cx:pt>
          <cx:pt idx="5763">2.48291</cx:pt>
          <cx:pt idx="5764">-4.5922850000000004</cx:pt>
          <cx:pt idx="5765">1.296387</cx:pt>
          <cx:pt idx="5766">-0.209922199</cx:pt>
          <cx:pt idx="5767">-0.83399128300000003</cx:pt>
          <cx:pt idx="5768">-0.92285159999999999</cx:pt>
          <cx:pt idx="5769">-0.98860925600000005</cx:pt>
          <cx:pt idx="5770">-1.0580480059999999</cx:pt>
          <cx:pt idx="5771">-1.1895967869999999</cx:pt>
          <cx:pt idx="5772">-1.3248266559999999</cx:pt>
          <cx:pt idx="5773">-1.390584319</cx:pt>
          <cx:pt idx="5774">-1.4600230620000001</cx:pt>
          <cx:pt idx="5775">-1.5910698809999999</cx:pt>
          <cx:pt idx="5776">-1.7262662870000001</cx:pt>
          <cx:pt idx="5777">-1.792057413</cx:pt>
          <cx:pt idx="5778">-1.993044944</cx:pt>
          <cx:pt idx="5779">-2.0624836869999998</cx:pt>
          <cx:pt idx="5780">-2.1282413500000001</cx:pt>
          <cx:pt idx="5781">-2.2634712189999999</cx:pt>
          <cx:pt idx="5782">-2.3950200000000001</cx:pt>
          <cx:pt idx="5783">4.5922850000000004</cx:pt>
          <cx:pt idx="5784">4.4474982030000003</cx:pt>
          <cx:pt idx="5785">4.3015420000000004</cx:pt>
          <cx:pt idx="5786">4.1498849480000004</cx:pt>
          <cx:pt idx="5787">4.0061944570000003</cx:pt>
          <cx:pt idx="5788">3.717790269</cx:pt>
          <cx:pt idx="5789">-1.257949575</cx:pt>
          <cx:pt idx="5790">-1.4004706600000001</cx:pt>
          <cx:pt idx="5791">-1.544161151</cx:pt>
          <cx:pt idx="5792">-1.695818185</cx:pt>
          <cx:pt idx="5793">-1.7015190330000001</cx:pt>
          <cx:pt idx="5794">-2.131348</cx:pt>
          <cx:pt idx="5795">-1.1064551469999999</cx:pt>
          <cx:pt idx="5796">-0.10499436099999999</cx:pt>
          <cx:pt idx="5797">0.95199004799999998</cx:pt>
          <cx:pt idx="5798">1.9529414810000001</cx:pt>
          <cx:pt idx="5799">2.9544023890000002</cx:pt>
          <cx:pt idx="5800">4.0113867980000002</cx:pt>
          <cx:pt idx="5801">4.0429690000000003</cx:pt>
          <cx:pt idx="5802">3.7879586750000001</cx:pt>
          <cx:pt idx="5803">3.2464469459999998</cx:pt>
          <cx:pt idx="5804">2.9831283449999999</cx:pt>
          <cx:pt idx="5805">2.7196757169999999</cx:pt>
          <cx:pt idx="5806">2.4562231209999998</cx:pt>
          <cx:pt idx="5807">2.1782980140000001</cx:pt>
          <cx:pt idx="5808">1.647238636</cx:pt>
          <cx:pt idx="5809">1.1163132840000001</cx:pt>
          <cx:pt idx="5810">0.57480155499999996</cx:pt>
          <cx:pt idx="5811">0.31148295399999998</cx:pt>
          <cx:pt idx="5812">0.033423851999999997</cx:pt>
          <cx:pt idx="5813">-0.23002874400000001</cx:pt>
          <cx:pt idx="5814">-0.49334737699999998</cx:pt>
          <cx:pt idx="5815">-0.77140647799999995</cx:pt>
          <cx:pt idx="5816">-1.032715</cx:pt>
          <cx:pt idx="5817">-0.96447311899999999</cx:pt>
          <cx:pt idx="5818">-0.828494116</cx:pt>
          <cx:pt idx="5819">-0.696216591</cx:pt>
          <cx:pt idx="5820">-0.62901786000000004</cx:pt>
          <cx:pt idx="5821">-0.56289591699999997</cx:pt>
          <cx:pt idx="5822">0.043945310000000001</cx:pt>
          <cx:pt idx="5823">-0.058010784000000003</cx:pt>
          <cx:pt idx="5824">-0.34057619500000003</cx:pt>
          <cx:pt idx="5825">-0.43652639300000001</cx:pt>
          <cx:pt idx="5826">-0.53617623000000003</cx:pt>
          <cx:pt idx="5827">-0.72509769999999996</cx:pt>
          <cx:pt idx="5828">-0.65410440800000003</cx:pt>
          <cx:pt idx="5829">-0.57913693200000005</cx:pt>
          <cx:pt idx="5830">0.79101560000000004</cx:pt>
          <cx:pt idx="5831">0.68766501899999999</cx:pt>
          <cx:pt idx="5832">0.65917970000000004</cx:pt>
          <cx:pt idx="5833">2.2631839999999999</cx:pt>
          <cx:pt idx="5834">-3.6474609999999998</cx:pt>
          <cx:pt idx="5835">-3.4519639469999999</cx:pt>
          <cx:pt idx="5836">-3.3502225910000001</cx:pt>
          <cx:pt idx="5837">-3.249289911</cx:pt>
          <cx:pt idx="5838">-3.1444654779999999</cx:pt>
          <cx:pt idx="5839">-3.14209</cx:pt>
          <cx:pt idx="5840">-2.7594850809999998</cx:pt>
          <cx:pt idx="5841">-2.5659667709999998</cx:pt>
          <cx:pt idx="5842">-2.3616153610000001</cx:pt>
          <cx:pt idx="5843">-0.5932617</cx:pt>
          <cx:pt idx="5844">-0.63578757500000005</cx:pt>
          <cx:pt idx="5845">-1.3623050000000001</cx:pt>
          <cx:pt idx="5846">-0.66643804600000001</cx:pt>
          <cx:pt idx="5847">-0.65917970000000004</cx:pt>
          <cx:pt idx="5848">-0.46644287200000001</cx:pt>
          <cx:pt idx="5849">1.479018803</cx:pt>
          <cx:pt idx="5850">1.6737660089999999</cx:pt>
          <cx:pt idx="5851">1.737482</cx:pt>
          <cx:pt idx="5852">1.8012304219999999</cx:pt>
          <cx:pt idx="5853">1.865984029</cx:pt>
          <cx:pt idx="5854">1.9307376359999999</cx:pt>
          <cx:pt idx="5855">1.997987999</cx:pt>
          <cx:pt idx="5856">1.999512</cx:pt>
          <cx:pt idx="5857">-0.35217890699999999</cx:pt>
          <cx:pt idx="5858">-2.7614674570000002</cx:pt>
          <cx:pt idx="5859">-5.1891380040000001</cx:pt>
          <cx:pt idx="5860">-5.2075199999999997</cx:pt>
          <cx:pt idx="5861">-4.8961658110000004</cx:pt>
          <cx:pt idx="5862">-4.5991702270000001</cx:pt>
          <cx:pt idx="5863">-4.3020234759999996</cx:pt>
          <cx:pt idx="5864">-3.988402201</cx:pt>
          <cx:pt idx="5865">-3.6936737399999999</cx:pt>
          <cx:pt idx="5866">-3.0830568450000002</cx:pt>
          <cx:pt idx="5867">0.234527557</cx:pt>
          <cx:pt idx="5868">0.85693359999999996</cx:pt>
          <cx:pt idx="5869">0.126624024</cx:pt>
          <cx:pt idx="5870">-0.63347038499999997</cx:pt>
          <cx:pt idx="5871">-2.9628794369999998</cx:pt>
          <cx:pt idx="5872">-3.7353519999999998</cx:pt>
          <cx:pt idx="5873">-1.199011032</cx:pt>
          <cx:pt idx="5874">-0.30761719999999998</cx:pt>
          <cx:pt idx="5875">-1.6479490000000001</cx:pt>
          <cx:pt idx="5876">-0.74707029999999996</cx:pt>
          <cx:pt idx="5877">-4.1308590000000001</cx:pt>
          <cx:pt idx="5878">-1.7805653290000001</cx:pt>
          <cx:pt idx="5879">-0.85693359999999996</cx:pt>
          <cx:pt idx="5880">-2.0654300000000001</cx:pt>
          <cx:pt idx="5881">1.9555659999999999</cx:pt>
          <cx:pt idx="5882">-2.648075011</cx:pt>
          <cx:pt idx="5883">-3.823242</cx:pt>
          <cx:pt idx="5884">1.0546880000000001</cx:pt>
          <cx:pt idx="5885">0.93204737900000001</cx:pt>
          <cx:pt idx="5886">0.88957044799999996</cx:pt>
          <cx:pt idx="5887">0.84934530799999997</cx:pt>
          <cx:pt idx="5888">0.76821948699999998</cx:pt>
          <cx:pt idx="5889">0.72733928000000003</cx:pt>
          <cx:pt idx="5890">0.68488281799999995</cx:pt>
          <cx:pt idx="5891">0.64463720899999999</cx:pt>
          <cx:pt idx="5892">0.60439159499999995</cx:pt>
          <cx:pt idx="5893">0.56383892199999996</cx:pt>
          <cx:pt idx="5894">0.52136199000000005</cx:pt>
          <cx:pt idx="5895">0.48113685099999998</cx:pt>
          <cx:pt idx="5896">0.39841430500000002</cx:pt>
          <cx:pt idx="5897">0.35818916499999998</cx:pt>
          <cx:pt idx="5898">0.15380859999999999</cx:pt>
          <cx:pt idx="5899">-2.438965</cx:pt>
          <cx:pt idx="5900">0.5932617</cx:pt>
          <cx:pt idx="5901">1.07666</cx:pt>
          <cx:pt idx="5902">12.700200000000001</cx:pt>
          <cx:pt idx="5903">4.21875</cx:pt>
          <cx:pt idx="5904">1.8021803620000001</cx:pt>
          <cx:pt idx="5905">-0.39550780000000002</cx:pt>
          <cx:pt idx="5906">-7.5585940000000003</cx:pt>
          <cx:pt idx="5907">-0.86698600100000001</cx:pt>
          <cx:pt idx="5908">-0.85693359999999996</cx:pt>
          <cx:pt idx="5909">-0.64382722199999998</cx:pt>
          <cx:pt idx="5910">-0.44034633200000001</cx:pt>
          <cx:pt idx="5911">-0.23686544100000001</cx:pt>
          <cx:pt idx="5912">-0.031832065999999999</cx:pt>
          <cx:pt idx="5913">0.18293031500000001</cx:pt>
          <cx:pt idx="5914">3.2958980000000002</cx:pt>
          <cx:pt idx="5915">-0.72509769999999996</cx:pt>
          <cx:pt idx="5916">-0.73167063099999996</cx:pt>
          <cx:pt idx="5917">-0.738607982</cx:pt>
          <cx:pt idx="5918">-0.74517757100000004</cx:pt>
          <cx:pt idx="5919">-0.75175050200000004</cx:pt>
          <cx:pt idx="5920">-0.75868785299999997</cx:pt>
          <cx:pt idx="5921">-0.778557096</cx:pt>
          <cx:pt idx="5922">-0.78523366999999999</cx:pt>
          <cx:pt idx="5923">-0.79874395200000003</cx:pt>
          <cx:pt idx="5924">-0.80531354099999997</cx:pt>
          <cx:pt idx="5925">-0.81225089100000003</cx:pt>
          <cx:pt idx="5926">-0.81882382300000001</cx:pt>
          <cx:pt idx="5927">-0.82539341099999997</cx:pt>
          <cx:pt idx="5928">-0.83196634300000005</cx:pt>
          <cx:pt idx="5929">-0.83890369399999998</cx:pt>
          <cx:pt idx="5930">-0.84547328200000005</cx:pt>
          <cx:pt idx="5931">-0.87212608400000002</cx:pt>
          <cx:pt idx="5932">-0.87890630000000003</cx:pt>
          <cx:pt idx="5933">-1.9150544460000001</cx:pt>
          <cx:pt idx="5934">-2.9275133179999999</cx:pt>
          <cx:pt idx="5935">-3.9961053240000002</cx:pt>
          <cx:pt idx="5936">-5.00804925</cx:pt>
          <cx:pt idx="5937">-6.0205080000000004</cx:pt>
          <cx:pt idx="5938">-1.6699219999999999</cx:pt>
          <cx:pt idx="5939">-5.4711910000000001</cx:pt>
          <cx:pt idx="5940">-1.933594</cx:pt>
          <cx:pt idx="5941">0.26367190000000001</cx:pt>
          <cx:pt idx="5942">-8.2397460000000002</cx:pt>
          <cx:pt idx="5943">-3.0319310499999998</cx:pt>
          <cx:pt idx="5944">-0.3515625</cx:pt>
          <cx:pt idx="5945">-0.25666228600000002</cx:pt>
          <cx:pt idx="5946">-0.249461722</cx:pt>
          <cx:pt idx="5947">-0.24186194</cx:pt>
          <cx:pt idx="5948">-0.23466503799999999</cx:pt>
          <cx:pt idx="5949">-0.227464474</cx:pt>
          <cx:pt idx="5950">-0.19826666100000001</cx:pt>
          <cx:pt idx="5951">-0.18346997800000001</cx:pt>
          <cx:pt idx="5952">-0.17621447600000001</cx:pt>
          <cx:pt idx="5953">-0.16890037299999999</cx:pt>
          <cx:pt idx="5954">-0.066341775000000006</cx:pt>
          <cx:pt idx="5955">-0.058914134</cx:pt>
          <cx:pt idx="5956">-0.051713569000000001</cx:pt>
          <cx:pt idx="5957">-0.044113787000000002</cx:pt>
          <cx:pt idx="5958">-0.043945310000000001</cx:pt>
          <cx:pt idx="5959">0.120504704</cx:pt>
          <cx:pt idx="5960">0.80367072500000003</cx:pt>
          <cx:pt idx="5961">0.98148925799999998</cx:pt>
          <cx:pt idx="5962">1.1498812940000001</cx:pt>
          <cx:pt idx="5963">1.3183590000000001</cx:pt>
          <cx:pt idx="5964">7.6857930190000001</cx:pt>
          <cx:pt idx="5965">7.734375</cx:pt>
          <cx:pt idx="5966">6.1883376549999998</cx:pt>
          <cx:pt idx="5967">4.7121311690000001</cx:pt>
          <cx:pt idx="5968">3.224661405</cx:pt>
          <cx:pt idx="5969">0.13183590000000001</cx:pt>
          <cx:pt idx="5970">4.3725589999999999</cx:pt>
          <cx:pt idx="5971">0.76169983600000002</cx:pt>
          <cx:pt idx="5972">-0.070026613000000001</cx:pt>
          <cx:pt idx="5973">-1.73584</cx:pt>
          <cx:pt idx="5974">2.5708009999999999</cx:pt>
          <cx:pt idx="5975">2.7465820000000001</cx:pt>
          <cx:pt idx="5976">1.999512</cx:pt>
          <cx:pt idx="5977">-1.911621</cx:pt>
          <cx:pt idx="5978">0.2416992</cx:pt>
          <cx:pt idx="5979">-3.7353519999999998</cx:pt>
          <cx:pt idx="5980">0.87890630000000003</cx:pt>
          <cx:pt idx="5981">-0.629840646</cx:pt>
          <cx:pt idx="5982">-1.384277</cx:pt>
          <cx:pt idx="5983">-2.1608874259999999</cx:pt>
          <cx:pt idx="5984">-3.3837890000000002</cx:pt>
          <cx:pt idx="5985">0.63720699999999997</cx:pt>
          <cx:pt idx="5986">0.122588237</cx:pt>
          <cx:pt idx="5987">-0.043945310000000001</cx:pt>
          <cx:pt idx="5988">6.1617616320000002</cx:pt>
          <cx:pt idx="5989">6.306152</cx:pt>
          <cx:pt idx="5990">-1.2354751960000001</cx:pt>
          <cx:pt idx="5991">-1.296387</cx:pt>
          <cx:pt idx="5992">-1.2034091899999999</cx:pt>
          <cx:pt idx="5993">-1.014424821</cx:pt>
          <cx:pt idx="5994">-0.914668378</cx:pt>
          <cx:pt idx="5995">-0.72568401000000005</cx:pt>
          <cx:pt idx="5996">-0.43694319799999998</cx:pt>
          <cx:pt idx="5997">-0.34093664000000001</cx:pt>
          <cx:pt idx="5998">-0.24493008199999999</cx:pt>
          <cx:pt idx="5999">-0.14517363899999999</cx:pt>
          <cx:pt idx="6000">-0.050705497000000002</cx:pt>
          <cx:pt idx="6001">0.043810729999999999</cx:pt>
          <cx:pt idx="6002">0.14356717199999999</cx:pt>
          <cx:pt idx="6003">0.43230797199999998</cx:pt>
          <cx:pt idx="6004">0.530525998</cx:pt>
          <cx:pt idx="6005">0.62129234</cx:pt>
          <cx:pt idx="6006">0.72104878299999997</cx:pt>
          <cx:pt idx="6007">0.81556500899999995</cx:pt>
          <cx:pt idx="6008">1.0045493780000001</cx:pt>
          <cx:pt idx="6009">1.101277072</cx:pt>
          <cx:pt idx="6010">1.582031</cx:pt>
          <cx:pt idx="6011">0.54931640000000004</cx:pt>
          <cx:pt idx="6012">5.0317379999999998</cx:pt>
          <cx:pt idx="6013">-1.032715</cx:pt>
          <cx:pt idx="6014">1.384277</cx:pt>
          <cx:pt idx="6015">-8.9868159999999992</cx:pt>
          <cx:pt idx="6016">-6.3554366399999997</cx:pt>
          <cx:pt idx="6017">-5.4385358799999999</cx:pt>
          <cx:pt idx="6018">-4.5570731670000004</cx:pt>
          <cx:pt idx="6019">-3.6612558160000002</cx:pt>
          <cx:pt idx="6020">-2.7026370000000002</cx:pt>
          <cx:pt idx="6021">-0.63720699999999997</cx:pt>
          <cx:pt idx="6022">-1.8457030000000001</cx:pt>
          <cx:pt idx="6023">0.63554368400000005</cx:pt>
          <cx:pt idx="6024">0.63720699999999997</cx:pt>
          <cx:pt idx="6025">-0.011706474</cx:pt>
          <cx:pt idx="6026">-0.169811237</cx:pt>
          <cx:pt idx="6027">-0.32799647300000001</cx:pt>
          <cx:pt idx="6028">-0.494951896</cx:pt>
          <cx:pt idx="6029">-0.65305665800000001</cx:pt>
          <cx:pt idx="6030">-0.812529265</cx:pt>
          <cx:pt idx="6031">-1.1425780000000001</cx:pt>
          <cx:pt idx="6032">-1.214539166</cx:pt>
          <cx:pt idx="6033">-1.2519798049999999</cx:pt>
          <cx:pt idx="6034">-1.2896994319999999</cx:pt>
          <cx:pt idx="6035">-1.326247301</cx:pt>
          <cx:pt idx="6036">-1.3648411039999999</cx:pt>
          <cx:pt idx="6037">-1.4379554349999999</cx:pt>
          <cx:pt idx="6038">-1.4765492339999999</cx:pt>
          <cx:pt idx="6039">-1.513115701</cx:pt>
          <cx:pt idx="6040">-1.5496635649999999</cx:pt>
          <cx:pt idx="6041">-1.625977</cx:pt>
          <cx:pt idx="6042">-0.81007412599999995</cx:pt>
          <cx:pt idx="6043">0.032839808999999998</cx:pt>
          <cx:pt idx="6044">0.92248700299999997</cx:pt>
          <cx:pt idx="6045">1.765400836</cx:pt>
          <cx:pt idx="6046">2.6078860559999999</cx:pt>
          <cx:pt idx="6047">2.6147459999999998</cx:pt>
          <cx:pt idx="6048">2.3143220229999999</cx:pt>
          <cx:pt idx="6049">1.4034959410000001</cx:pt>
          <cx:pt idx="6050">1.1006455159999999</cx:pt>
          <cx:pt idx="6051">-0.13183590000000001</cx:pt>
          <cx:pt idx="6052">2.936152275</cx:pt>
          <cx:pt idx="6053">9.3966728130000003</cx:pt>
          <cx:pt idx="6054">9.4702149999999996</cx:pt>
          <cx:pt idx="6055">0.52734380000000003</cx:pt>
          <cx:pt idx="6056">2.5708009999999999</cx:pt>
          <cx:pt idx="6057">7.8662109999999998</cx:pt>
          <cx:pt idx="6058">-1.6970959800000001</cx:pt>
          <cx:pt idx="6059">-4.1528320000000001</cx:pt>
          <cx:pt idx="6060">-3.2035162590000001</cx:pt>
          <cx:pt idx="6061">-2.7155410940000002</cx:pt>
          <cx:pt idx="6062">-2.1972659999999999</cx:pt>
          <cx:pt idx="6063">1.1130266360000001</cx:pt>
          <cx:pt idx="6064">4.5043949999999997</cx:pt>
          <cx:pt idx="6065">4.2399193510000002</cx:pt>
          <cx:pt idx="6066">0.15380859999999999</cx:pt>
          <cx:pt idx="6067">-3.7792970000000001</cx:pt>
          <cx:pt idx="6068">3.2986775590000001</cx:pt>
          <cx:pt idx="6069">3.3398439999999998</cx:pt>
          <cx:pt idx="6070">-1.235093529</cx:pt>
          <cx:pt idx="6071">-1.5528613419999999</cx:pt>
          <cx:pt idx="6072">-1.5600590000000001</cx:pt>
          <cx:pt idx="6073">-2.762449851</cx:pt>
          <cx:pt idx="6074">-3.0613372619999999</cx:pt>
          <cx:pt idx="6075">-3.376795703</cx:pt>
          <cx:pt idx="6076">-3.3837890000000002</cx:pt>
          <cx:pt idx="6077">-2.7862946179999999</cx:pt>
          <cx:pt idx="6078">-2.174166547</cx:pt>
          <cx:pt idx="6079">-0.93091751199999995</cx:pt>
          <cx:pt idx="6080">-0.28485144899999998</cx:pt>
          <cx:pt idx="6081">0.32727669700000001</cx:pt>
          <cx:pt idx="6082">0.3515625</cx:pt>
          <cx:pt idx="6083">0.31266603500000001</cx:pt>
          <cx:pt idx="6084">0.22943419500000001</cx:pt>
          <cx:pt idx="6085">0.18893077799999999</cx:pt>
          <cx:pt idx="6086">0.14620235000000001</cx:pt>
          <cx:pt idx="6087">-0.018036320000000002</cx:pt>
          <cx:pt idx="6088">-0.099022549000000001</cx:pt>
          <cx:pt idx="6089">-0.14049425600000001</cx:pt>
          <cx:pt idx="6090">-0.222757807</cx:pt>
          <cx:pt idx="6091">-0.265506835</cx:pt>
          <cx:pt idx="6092">-0.30601024700000001</cx:pt>
          <cx:pt idx="6093">-0.30761719999999998</cx:pt>
          <cx:pt idx="6094">-4.1127871200000001</cx:pt>
          <cx:pt idx="6095">-7.8881839999999999</cx:pt>
          <cx:pt idx="6096">-4.2022030150000003</cx:pt>
          <cx:pt idx="6097">-0.57128909999999999</cx:pt>
          <cx:pt idx="6098">-0.58211787699999995</cx:pt>
          <cx:pt idx="6099">-0.5932617</cx:pt>
          <cx:pt idx="6100">5.5371090000000001</cx:pt>
          <cx:pt idx="6101">5.8859534910000004</cx:pt>
          <cx:pt idx="6102">5.8886719999999997</cx:pt>
          <cx:pt idx="6103">4.1421226149999999</cx:pt>
          <cx:pt idx="6104">0.59122706800000002</cx:pt>
          <cx:pt idx="6105">-1.281752864</cx:pt>
          <cx:pt idx="6106">-1.338646848</cx:pt>
          <cx:pt idx="6107">-3.0572007459999999</cx:pt>
          <cx:pt idx="6108">-3.14209</cx:pt>
          <cx:pt idx="6109">-2.9942044640000001</cx:pt>
          <cx:pt idx="6110">-2.8303612010000001</cx:pt>
          <cx:pt idx="6111">-2.6750497800000002</cx:pt>
          <cx:pt idx="6112">-2.5197383599999998</cx:pt>
          <cx:pt idx="6113">-2.3620570000000001</cx:pt>
          <cx:pt idx="6114">-2.0428233040000001</cx:pt>
          <cx:pt idx="6115">-1.7236686210000001</cx:pt>
          <cx:pt idx="6116">-1.719955688</cx:pt>
          <cx:pt idx="6117">-1.5683571999999999</cx:pt>
          <cx:pt idx="6118">-1.413045798</cx:pt>
          <cx:pt idx="6119">-1.2492025170000001</cx:pt>
          <cx:pt idx="6120">-1.0938911149999999</cx:pt>
          <cx:pt idx="6121">-0.78208330400000003</cx:pt>
          <cx:pt idx="6122">-0.46292862099999998</cx:pt>
          <cx:pt idx="6123">-0.30761719999999998</cx:pt>
          <cx:pt idx="6124">-4.5058885960000001</cx:pt>
          <cx:pt idx="6125">-8.8008653020000001</cx:pt>
          <cx:pt idx="6126">-8.9648439999999994</cx:pt>
          <cx:pt idx="6127">-7.8633283189999998</cx:pt>
          <cx:pt idx="6128">-6.6527112229999998</cx:pt>
          <cx:pt idx="6129">-5.5062714960000001</cx:pt>
          <cx:pt idx="6130">0.37353520000000001</cx:pt>
          <cx:pt idx="6131">12.612299999999999</cx:pt>
          <cx:pt idx="6132">9.9568688339999998</cx:pt>
          <cx:pt idx="6133">7.2364008159999997</cx:pt>
          <cx:pt idx="6134">1.6460192060000001</cx:pt>
          <cx:pt idx="6135">1.5380860000000001</cx:pt>
          <cx:pt idx="6136">0.72748206199999998</cx:pt>
          <cx:pt idx="6137">-4.4165039999999998</cx:pt>
          <cx:pt idx="6138">-3.7692096730000002</cx:pt>
          <cx:pt idx="6139">-3.1562297840000002</cx:pt>
          <cx:pt idx="6140">-2.5429378950000001</cx:pt>
          <cx:pt idx="6141">-1.895643642</cx:pt>
          <cx:pt idx="6142">-1.2826636789999999</cx:pt>
          <cx:pt idx="6143">-0.046409511000000001</cx:pt>
          <cx:pt idx="6144">0.59090242599999998</cx:pt>
          <cx:pt idx="6145">0.61523439999999996</cx:pt>
          <cx:pt idx="6146">0.204539004</cx:pt>
          <cx:pt idx="6147">-0.24683438699999999</cx:pt>
          <cx:pt idx="6148">-1.5600590000000001</cx:pt>
          <cx:pt idx="6149">3.3618160000000001</cx:pt>
          <cx:pt idx="6150">0.28242188400000001</cx:pt>
          <cx:pt idx="6151">-0.320214895</cx:pt>
          <cx:pt idx="6152">-0.92285159999999999</cx:pt>
          <cx:pt idx="6153">-0.213664666</cx:pt>
          <cx:pt idx="6154">2.6575475210000001</cx:pt>
          <cx:pt idx="6155">3.3560752580000002</cx:pt>
          <cx:pt idx="6156">3.3837890000000002</cx:pt>
          <cx:pt idx="6157">3.0243152040000001</cx:pt>
          <cx:pt idx="6158">2.6290273860000002</cx:pt>
          <cx:pt idx="6159">2.2545041239999999</cx:pt>
          <cx:pt idx="6160">-0.021972660000000001</cx:pt>
          <cx:pt idx="6161">2.0434570000000001</cx:pt>
          <cx:pt idx="6162">2.4782676979999998</cx:pt>
          <cx:pt idx="6163">2.504883</cx:pt>
          <cx:pt idx="6164">-8.9648439999999994</cx:pt>
          <cx:pt idx="6165">9.3815781410000003</cx:pt>
          <cx:pt idx="6166">15.43595811</cx:pt>
          <cx:pt idx="6167">21.533104179999999</cx:pt>
          <cx:pt idx="6168">27.871570139999999</cx:pt>
          <cx:pt idx="6169">28.015139999999999</cx:pt>
          <cx:pt idx="6170">9.140625</cx:pt>
          <cx:pt idx="6171">-1.0546880000000001</cx:pt>
          <cx:pt idx="6172">0.37353520000000001</cx:pt>
          <cx:pt idx="6173">96.613770000000002</cx:pt>
          <cx:pt idx="6174">-8.9648439999999994</cx:pt>
          <cx:pt idx="6175">1.801758</cx:pt>
          <cx:pt idx="6176">-8.7670899999999996</cx:pt>
          <cx:pt idx="6177">59.392090000000003</cx:pt>
          <cx:pt idx="6178">23.181149999999999</cx:pt>
          <cx:pt idx="6179">-8.9648439999999994</cx:pt>
          <cx:pt idx="6180">-6.5258789999999998</cx:pt>
          <cx:pt idx="6181">13.535159999999999</cx:pt>
          <cx:pt idx="6182">-8.9428710000000002</cx:pt>
          <cx:pt idx="6183">79.782709999999994</cx:pt>
          <cx:pt idx="6184">-8.9868159999999992</cx:pt>
          <cx:pt idx="6185">-2.9613391509999998</cx:pt>
          <cx:pt idx="6186">0.1098633</cx:pt>
          <cx:pt idx="6187">-1.713867</cx:pt>
          <cx:pt idx="6188">-8.9868159999999992</cx:pt>
          <cx:pt idx="6189">-1.4501949999999999</cx:pt>
          <cx:pt idx="6190">-8.8729308469999992</cx:pt>
          <cx:pt idx="6191">-8.9868159999999992</cx:pt>
          <cx:pt idx="6192">13.11768</cx:pt>
          <cx:pt idx="6193">60.979279439999999</cx:pt>
          <cx:pt idx="6194">61.765140000000002</cx:pt>
          <cx:pt idx="6195">43.681640000000002</cx:pt>
          <cx:pt idx="6196">97.404790000000006</cx:pt>
          <cx:pt idx="6197">27.399899999999999</cx:pt>
          <cx:pt idx="6198">14.61182</cx:pt>
          <cx:pt idx="6199">-8.9868159999999992</cx:pt>
          <cx:pt idx="6200">54.316409999999998</cx:pt>
          <cx:pt idx="6201">30.234380000000002</cx:pt>
          <cx:pt idx="6202">79.804689999999994</cx:pt>
          <cx:pt idx="6203">23.44482</cx:pt>
          <cx:pt idx="6204">4.8339840000000001</cx:pt>
          <cx:pt idx="6205">25.817869999999999</cx:pt>
          <cx:pt idx="6206">17.292480000000001</cx:pt>
          <cx:pt idx="6207">50.141599999999997</cx:pt>
          <cx:pt idx="6208">-8.9868159999999992</cx:pt>
          <cx:pt idx="6209">-2.7465820000000001</cx:pt>
          <cx:pt idx="6210">-8.9868159999999992</cx:pt>
          <cx:pt idx="6211">-7.9321289999999998</cx:pt>
          <cx:pt idx="6212">84.199219999999997</cx:pt>
          <cx:pt idx="6213">74.641109999999998</cx:pt>
          <cx:pt idx="6214">5.8666989999999997</cx:pt>
          <cx:pt idx="6215">-8.9868159999999992</cx:pt>
          <cx:pt idx="6216">5.7128909999999999</cx:pt>
          <cx:pt idx="6217">62.622070000000001</cx:pt>
          <cx:pt idx="6218">11.755369999999999</cx:pt>
          <cx:pt idx="6219">-8.9648439999999994</cx:pt>
          <cx:pt idx="6220">-6.8115230000000002</cx:pt>
          <cx:pt idx="6221">-8.9868159999999992</cx:pt>
          <cx:pt idx="6222">76.113280000000003</cx:pt>
          <cx:pt idx="6223">47.922359999999998</cx:pt>
          <cx:pt idx="6224">46.032710000000002</cx:pt>
          <cx:pt idx="6225">33.75</cx:pt>
          <cx:pt idx="6226">-8.9868159999999992</cx:pt>
          <cx:pt idx="6227">-4.943848</cx:pt>
          <cx:pt idx="6228">7.2290039999999998</cx:pt>
          <cx:pt idx="6229">5.2954100000000004</cx:pt>
          <cx:pt idx="6230">23.708500000000001</cx:pt>
          <cx:pt idx="6231">-8.9648439999999994</cx:pt>
          <cx:pt idx="6232">15.271000000000001</cx:pt>
          <cx:pt idx="6233">22.587890000000002</cx:pt>
          <cx:pt idx="6234">74.377440000000007</cx:pt>
          <cx:pt idx="6235">37.221679999999999</cx:pt>
          <cx:pt idx="6236">25.817869999999999</cx:pt>
          <cx:pt idx="6237">-7.5146480000000002</cx:pt>
          <cx:pt idx="6238">-8.9648439999999994</cx:pt>
          <cx:pt idx="6239">14.04053</cx:pt>
          <cx:pt idx="6240">139.61429999999999</cx:pt>
          <cx:pt idx="6241">36.10107</cx:pt>
          <cx:pt idx="6242">26.652830000000002</cx:pt>
          <cx:pt idx="6243">-8.9868159999999992</cx:pt>
          <cx:pt idx="6244">10.678710000000001</cx:pt>
          <cx:pt idx="6245">-8.9868159999999992</cx:pt>
          <cx:pt idx="6246">8.1958009999999994</cx:pt>
          <cx:pt idx="6247">45.966799999999999</cx:pt>
          <cx:pt idx="6248">23.840330000000002</cx:pt>
          <cx:pt idx="6249">40.385739999999998</cx:pt>
          <cx:pt idx="6250">31.750489999999999</cx:pt>
          <cx:pt idx="6251">3.0102540000000002</cx:pt>
          <cx:pt idx="6252">-8.9868159999999992</cx:pt>
          <cx:pt idx="6253">17.248539999999998</cx:pt>
          <cx:pt idx="6254">5.5810550000000001</cx:pt>
          <cx:pt idx="6255">67.016599999999997</cx:pt>
          <cx:pt idx="6256">27.04834</cx:pt>
          <cx:pt idx="6257">59.809570000000001</cx:pt>
          <cx:pt idx="6258">-8.9648439999999994</cx:pt>
          <cx:pt idx="6259">4.3945309999999997</cx:pt>
          <cx:pt idx="6260">-8.9648439999999994</cx:pt>
          <cx:pt idx="6261">-3.9990230000000002</cx:pt>
          <cx:pt idx="6262">14.743650000000001</cx:pt>
          <cx:pt idx="6263">170.1123</cx:pt>
          <cx:pt idx="6264">172.6611</cx:pt>
          <cx:pt idx="6265">122.2998</cx:pt>
          <cx:pt idx="6266">111.20359999999999</cx:pt>
          <cx:pt idx="6267">118.7842</cx:pt>
          <cx:pt idx="6268">94.372559999999993</cx:pt>
          <cx:pt idx="6269">28.630369999999999</cx:pt>
          <cx:pt idx="6270">25.883790000000001</cx:pt>
          <cx:pt idx="6271">33.728029999999997</cx:pt>
          <cx:pt idx="6272">29.22363</cx:pt>
          <cx:pt idx="6273">39.660640000000001</cx:pt>
          <cx:pt idx="6274">57.590330000000002</cx:pt>
          <cx:pt idx="6275">-7.3168949999999997</cx:pt>
          <cx:pt idx="6276">14.326169999999999</cx:pt>
          <cx:pt idx="6277">19.951170000000001</cx:pt>
          <cx:pt idx="6278">-8.3276369999999993</cx:pt>
          <cx:pt idx="6279">4.5263669999999996</cx:pt>
          <cx:pt idx="6280">6.328125</cx:pt>
          <cx:pt idx="6281">-8.9868159999999992</cx:pt>
          <cx:pt idx="6282">1.428223</cx:pt>
          <cx:pt idx="6283">33.75</cx:pt>
          <cx:pt idx="6284">43.43994</cx:pt>
          <cx:pt idx="6285">21.203610000000001</cx:pt>
          <cx:pt idx="6286">12.41455</cx:pt>
          <cx:pt idx="6287">17.95166</cx:pt>
          <cx:pt idx="6288">-8.1958009999999994</cx:pt>
          <cx:pt idx="6289">13.623049999999999</cx:pt>
          <cx:pt idx="6290">11.79932</cx:pt>
          <cx:pt idx="6291">0.065917970000000006</cx:pt>
          <cx:pt idx="6292">1.2524409999999999</cx:pt>
          <cx:pt idx="6293">-8.9868159999999992</cx:pt>
          <cx:pt idx="6294">-0.98876949999999997</cx:pt>
          <cx:pt idx="6295">129.59469999999999</cx:pt>
          <cx:pt idx="6296">115.3125</cx:pt>
          <cx:pt idx="6297">74.641109999999998</cx:pt>
          <cx:pt idx="6298">45.483400000000003</cx:pt>
          <cx:pt idx="6299">7.053223</cx:pt>
          <cx:pt idx="6300">21.818850000000001</cx:pt>
          <cx:pt idx="6301">20.698239999999998</cx:pt>
          <cx:pt idx="6302">11.535640000000001</cx:pt>
          <cx:pt idx="6303">14.08447</cx:pt>
          <cx:pt idx="6304">2.7465820000000001</cx:pt>
          <cx:pt idx="6305">1.713867</cx:pt>
          <cx:pt idx="6306">27.883299999999998</cx:pt>
          <cx:pt idx="6307">9.0747070000000001</cx:pt>
          <cx:pt idx="6308">6.7575103429999999</cx:pt>
          <cx:pt idx="6309">4.1308590000000001</cx:pt>
          <cx:pt idx="6310">49.52637</cx:pt>
          <cx:pt idx="6311">11.25</cx:pt>
          <cx:pt idx="6312">16.127929999999999</cx:pt>
          <cx:pt idx="6313">-9.0087890000000002</cx:pt>
          <cx:pt idx="6314">-0.5932617</cx:pt>
          <cx:pt idx="6315">32.673340000000003</cx:pt>
          <cx:pt idx="6316">7.6245120000000002</cx:pt>
          <cx:pt idx="6317">-8.9868159999999992</cx:pt>
          <cx:pt idx="6318">2.9882810000000002</cx:pt>
          <cx:pt idx="6319">65.039060000000006</cx:pt>
          <cx:pt idx="6320">26.58691</cx:pt>
          <cx:pt idx="6321">9.1625979999999991</cx:pt>
          <cx:pt idx="6322">-0.116820851</cx:pt>
          <cx:pt idx="6323">-5.2514649999999996</cx:pt>
          <cx:pt idx="6324">2.131348</cx:pt>
          <cx:pt idx="6325">-0.50537109999999996</cx:pt>
          <cx:pt idx="6326">1.032715</cx:pt>
          <cx:pt idx="6327">-8.9868159999999992</cx:pt>
          <cx:pt idx="6328">-1.8676759999999999</cx:pt>
          <cx:pt idx="6329">-8.9208979999999993</cx:pt>
          <cx:pt idx="6330">0.96472839499999996</cx:pt>
          <cx:pt idx="6331">1.1206050000000001</cx:pt>
          <cx:pt idx="6332">1.6692075479999999</cx:pt>
          <cx:pt idx="6333">3.4277340000000001</cx:pt>
          <cx:pt idx="6334">0.69050651100000005</cx:pt>
          <cx:pt idx="6335">-2.0654300000000001</cx:pt>
          <cx:pt idx="6336">-8.9428710000000002</cx:pt>
          <cx:pt idx="6337">11.22027791</cx:pt>
          <cx:pt idx="6338">11.62354</cx:pt>
          <cx:pt idx="6339">11.8511311</cx:pt>
          <cx:pt idx="6340">12.10126434</cx:pt>
          <cx:pt idx="6341">12.10693</cx:pt>
          <cx:pt idx="6342">0.76904300000000003</cx:pt>
          <cx:pt idx="6343">42.319339999999997</cx:pt>
          <cx:pt idx="6344">-8.9868159999999992</cx:pt>
          <cx:pt idx="6345">42.1875</cx:pt>
          <cx:pt idx="6346">45.615229999999997</cx:pt>
          <cx:pt idx="6347">19.643550000000001</cx:pt>
          <cx:pt idx="6348">7.9541019999999998</cx:pt>
          <cx:pt idx="6349">3.186035</cx:pt>
          <cx:pt idx="6350">-7.9541019999999998</cx:pt>
          <cx:pt idx="6351">-3.0624211909999999</cx:pt>
          <cx:pt idx="6352">2.3510740000000001</cx:pt>
          <cx:pt idx="6353">-0.3515625</cx:pt>
          <cx:pt idx="6354">-9.0087890000000002</cx:pt>
          <cx:pt idx="6355">-0.703125</cx:pt>
          <cx:pt idx="6356">3.845215</cx:pt>
          <cx:pt idx="6357">-0.96679689999999996</cx:pt>
          <cx:pt idx="6358">-0.26092616699999999</cx:pt>
          <cx:pt idx="6359">0.015935785000000001</cx:pt>
          <cx:pt idx="6360">0.15931578599999999</cx:pt>
          <cx:pt idx="6361">0.29937286600000002</cx:pt>
          <cx:pt idx="6362">0.44607577199999998</cx:pt>
          <cx:pt idx="6363">0.58719334599999995</cx:pt>
          <cx:pt idx="6364">0.72286702800000002</cx:pt>
          <cx:pt idx="6365">0.86518651899999999</cx:pt>
          <cx:pt idx="6366">1.296387</cx:pt>
          <cx:pt idx="6367">1.489284343</cx:pt>
          <cx:pt idx="6368">1.5864874689999999</cx:pt>
          <cx:pt idx="6369">1.6806240969999999</cx:pt>
          <cx:pt idx="6370">1.7877081530000001</cx:pt>
          <cx:pt idx="6371">1.878048173</cx:pt>
          <cx:pt idx="6372">1.97374238</cx:pt>
          <cx:pt idx="6373">1.9775389999999999</cx:pt>
          <cx:pt idx="6374">-2.5354894140000002</cx:pt>
          <cx:pt idx="6375">-2.5708009999999999</cx:pt>
          <cx:pt idx="6376">-2.4354247529999999</cx:pt>
          <cx:pt idx="6377">-2.2979496350000002</cx:pt>
          <cx:pt idx="6378">-2.1527787329999999</cx:pt>
          <cx:pt idx="6379">-2.0130648459999998</cx:pt>
          <cx:pt idx="6380">-1.8723015240000001</cx:pt>
          <cx:pt idx="6381">-1.8711821319999999</cx:pt>
          <cx:pt idx="6382">-1.5961619549999999</cx:pt>
          <cx:pt idx="6383">-1.3134459780000001</cx:pt>
          <cx:pt idx="6384">-1.1726826560000001</cx:pt>
          <cx:pt idx="6385">-0.75906798499999995</cx:pt>
          <cx:pt idx="6386">-0.61389706600000005</cx:pt>
          <cx:pt idx="6387">-0.47635199099999997</cx:pt>
          <cx:pt idx="6388">-0.33887688999999999</cx:pt>
          <cx:pt idx="6389">-0.193705971</cx:pt>
          <cx:pt idx="6390">0.086771238000000001</cx:pt>
          <cx:pt idx="6391">0.087890629999999997</cx:pt>
          <cx:pt idx="6392">-3.472462991</cx:pt>
          <cx:pt idx="6393">-6.9213870000000002</cx:pt>
          <cx:pt idx="6394">-4.5285646990000004</cx:pt>
          <cx:pt idx="6395">0.32958979999999999</cx:pt>
          <cx:pt idx="6396">-1.1645509999999999</cx:pt>
          <cx:pt idx="6397">15.93018</cx:pt>
          <cx:pt idx="6398">-9.0087890000000002</cx:pt>
          <cx:pt idx="6399">0.30761719999999998</cx:pt>
          <cx:pt idx="6400">1.5358953479999999</cx:pt>
          <cx:pt idx="6401">2.3818284759999999</cx:pt>
          <cx:pt idx="6402">2.3950200000000001</cx:pt>
          <cx:pt idx="6403">94.504390000000001</cx:pt>
          <cx:pt idx="6404">125.2002</cx:pt>
          <cx:pt idx="6405">97.976070000000007</cx:pt>
          <cx:pt idx="6406">59.809570000000001</cx:pt>
          <cx:pt idx="6407">74.267579999999995</cx:pt>
          <cx:pt idx="6408">64.841309999999993</cx:pt>
          <cx:pt idx="6409">73.43262</cx:pt>
          <cx:pt idx="6410">-8.9648439999999994</cx:pt>
          <cx:pt idx="6411">69.016109999999998</cx:pt>
          <cx:pt idx="6412">19.66553</cx:pt>
          <cx:pt idx="6413">-0.43945309999999999</cx:pt>
          <cx:pt idx="6414">-7.8662109999999998</cx:pt>
          <cx:pt idx="6415">-3.4716800000000001</cx:pt>
          <cx:pt idx="6416">-3.7997299660000001</cx:pt>
          <cx:pt idx="6417">-5.5371090000000001</cx:pt>
          <cx:pt idx="6418">-2.8701866429999998</cx:pt>
          <cx:pt idx="6419">-0.26367190000000001</cx:pt>
          <cx:pt idx="6420">0.44840371600000001</cx:pt>
          <cx:pt idx="6421">0.58876167599999996</cx:pt>
          <cx:pt idx="6422">0.5932617</cx:pt>
          <cx:pt idx="6423">7.1015971379999998</cx:pt>
          <cx:pt idx="6424">13.982715949999999</cx:pt>
          <cx:pt idx="6425">14.3042</cx:pt>
          <cx:pt idx="6426">6.1799730549999996</cx:pt>
          <cx:pt idx="6427">2.0214840000000001</cx:pt>
          <cx:pt idx="6428">0.93292419100000001</cx:pt>
          <cx:pt idx="6429">0.75416605000000003</cx:pt>
          <cx:pt idx="6430">0.74707029999999996</cx:pt>
          <cx:pt idx="6431">-8.7144160090000007</cx:pt>
          <cx:pt idx="6432">-8.7890630000000005</cx:pt>
          <cx:pt idx="6433">46.918079980000002</cx:pt>
          <cx:pt idx="6434">105.4224864</cx:pt>
          <cx:pt idx="6435">167.14076059999999</cx:pt>
          <cx:pt idx="6436">227.96629999999999</cx:pt>
          <cx:pt idx="6437">183.25200000000001</cx:pt>
          <cx:pt idx="6438">119.9927</cx:pt>
          <cx:pt idx="6439">74.487300000000005</cx:pt>
          <cx:pt idx="6440">36.826169999999998</cx:pt>
          <cx:pt idx="6441">18.962399999999999</cx:pt>
          <cx:pt idx="6442">7.2070309999999997</cx:pt>
          <cx:pt idx="6443">2.6586910000000001</cx:pt>
          <cx:pt idx="6444">3.0761720000000001</cx:pt>
          <cx:pt idx="6445">26.85059</cx:pt>
          <cx:pt idx="6446">-9.0087890000000002</cx:pt>
          <cx:pt idx="6447">12.392580000000001</cx:pt>
          <cx:pt idx="6448">65.983890000000002</cx:pt>
          <cx:pt idx="6449">62.270510000000002</cx:pt>
          <cx:pt idx="6450">41.72607</cx:pt>
          <cx:pt idx="6451">2.2192379999999998</cx:pt>
          <cx:pt idx="6452">13.952640000000001</cx:pt>
          <cx:pt idx="6453">-2.6147459999999998</cx:pt>
          <cx:pt idx="6454">16.127929999999999</cx:pt>
          <cx:pt idx="6455">-8.9868159999999992</cx:pt>
          <cx:pt idx="6456">3.4057620000000002</cx:pt>
          <cx:pt idx="6457">7.3608399999999996</cx:pt>
          <cx:pt idx="6458">23.29102</cx:pt>
          <cx:pt idx="6459">-8.9868159999999992</cx:pt>
          <cx:pt idx="6460">22.367555920000001</cx:pt>
          <cx:pt idx="6461">51.789549999999998</cx:pt>
          <cx:pt idx="6462">144.8877</cx:pt>
          <cx:pt idx="6463">101.1621</cx:pt>
          <cx:pt idx="6464">77.321780000000004</cx:pt>
          <cx:pt idx="6465">22.19238</cx:pt>
          <cx:pt idx="6466">-8.9648439999999994</cx:pt>
          <cx:pt idx="6467">11.535640000000001</cx:pt>
          <cx:pt idx="6468">23.203130000000002</cx:pt>
          <cx:pt idx="6469">25.13672</cx:pt>
          <cx:pt idx="6470">19.929200000000002</cx:pt>
          <cx:pt idx="6471">-1.3183590000000001</cx:pt>
          <cx:pt idx="6472">-8.9868159999999992</cx:pt>
          <cx:pt idx="6473">-8.1329712090000008</cx:pt>
          <cx:pt idx="6474">-4.3725589999999999</cx:pt>
          <cx:pt idx="6475">-1.110815219</cx:pt>
          <cx:pt idx="6476">1.713867</cx:pt>
          <cx:pt idx="6477">-8.5693359999999998</cx:pt>
          <cx:pt idx="6478">0.703125</cx:pt>
          <cx:pt idx="6479">-0.69643618600000001</cx:pt>
          <cx:pt idx="6480">-0.91845725600000006</cx:pt>
          <cx:pt idx="6481">-1.1605454120000001</cx:pt>
          <cx:pt idx="6482">-1.393533379</cx:pt>
          <cx:pt idx="6483">-1.617421156</cx:pt>
          <cx:pt idx="6484">-2.1052141949999998</cx:pt>
          <cx:pt idx="6485">-2.3253685850000001</cx:pt>
          <cx:pt idx="6486">-2.3291019999999998</cx:pt>
          <cx:pt idx="6487">-5.5656255760000004</cx:pt>
          <cx:pt idx="6488">-9.0087890000000002</cx:pt>
          <cx:pt idx="6489">-7.6900346229999998</cx:pt>
          <cx:pt idx="6490">-6.3975687360000002</cx:pt>
          <cx:pt idx="6491">-1.73584</cx:pt>
          <cx:pt idx="6492">9.6679689999999994</cx:pt>
          <cx:pt idx="6493">-0.57128909999999999</cx:pt>
          <cx:pt idx="6494">2.5488279999999999</cx:pt>
          <cx:pt idx="6495">-8.9648439999999994</cx:pt>
          <cx:pt idx="6496">-1.6918949999999999</cx:pt>
          <cx:pt idx="6497">-8.9648439999999994</cx:pt>
          <cx:pt idx="6498">-4.2318992089999998</cx:pt>
          <cx:pt idx="6499">-3.0102540000000002</cx:pt>
          <cx:pt idx="6500">-2.087402</cx:pt>
          <cx:pt idx="6501">-8.7890630000000005</cx:pt>
          <cx:pt idx="6502">-1.8676759999999999</cx:pt>
          <cx:pt idx="6503">-3.823242</cx:pt>
          <cx:pt idx="6504">1.098633</cx:pt>
          <cx:pt idx="6505">-1.9775389999999999</cx:pt>
          <cx:pt idx="6506">-8.9868159999999992</cx:pt>
          <cx:pt idx="6507">-7.5366210000000002</cx:pt>
          <cx:pt idx="6508">1.8676759999999999</cx:pt>
          <cx:pt idx="6509">-1.9555659999999999</cx:pt>
          <cx:pt idx="6510">0.95917621500000005</cx:pt>
          <cx:pt idx="6511">1.1645509999999999</cx:pt>
          <cx:pt idx="6512">2.758941804</cx:pt>
          <cx:pt idx="6513">4.3780520190000001</cx:pt>
          <cx:pt idx="6514">7.6690065360000004</cx:pt>
          <cx:pt idx="6515">9.3787538710000007</cx:pt>
          <cx:pt idx="6516">9.4042969999999997</cx:pt>
          <cx:pt idx="6517">8.4202483780000001</cx:pt>
          <cx:pt idx="6518">0.4614258</cx:pt>
          <cx:pt idx="6519">-2.3291019999999998</cx:pt>
          <cx:pt idx="6520">-8.9868159999999992</cx:pt>
          <cx:pt idx="6521">-6.6856012519999997</cx:pt>
          <cx:pt idx="6522">-6.2361988699999999</cx:pt>
          <cx:pt idx="6523">-5.7865677470000003</cx:pt>
          <cx:pt idx="6524">-5.3264162610000003</cx:pt>
          <cx:pt idx="6525">-1.6479490000000001</cx:pt>
          <cx:pt idx="6526">1.3403320000000001</cx:pt>
          <cx:pt idx="6527">-8.9868159999999992</cx:pt>
          <cx:pt idx="6528">-4.4874483420000004</cx:pt>
          <cx:pt idx="6529">-0.72509769999999996</cx:pt>
          <cx:pt idx="6530">-0.39550780000000002</cx:pt>
          <cx:pt idx="6531">-8.9868159999999992</cx:pt>
          <cx:pt idx="6532">-8.5421300989999995</cx:pt>
          <cx:pt idx="6533">-7.2290039999999998</cx:pt>
          <cx:pt idx="6534">75.62988</cx:pt>
          <cx:pt idx="6535">57.414549999999998</cx:pt>
          <cx:pt idx="6536">-6.4875246210000004</cx:pt>
          <cx:pt idx="6537">-8.9648439999999994</cx:pt>
          <cx:pt idx="6538">3.6914060000000002</cx:pt>
          <cx:pt idx="6539">5.7348629999999998</cx:pt>
          <cx:pt idx="6540">-8.9868159999999992</cx:pt>
          <cx:pt idx="6541">1.4941409999999999</cx:pt>
          <cx:pt idx="6542">-0.48339840000000001</cx:pt>
          <cx:pt idx="6543">15.029299999999999</cx:pt>
          <cx:pt idx="6544">3.6474609999999998</cx:pt>
          <cx:pt idx="6545">2.0654300000000001</cx:pt>
          <cx:pt idx="6546">55.568849999999998</cx:pt>
          <cx:pt idx="6547">-4.2846679999999999</cx:pt>
          <cx:pt idx="6548">-8.9868159999999992</cx:pt>
          <cx:pt idx="6549">9.4702149999999996</cx:pt>
          <cx:pt idx="6550">2.2155756059999998</cx:pt>
          <cx:pt idx="6551">-4.8120120000000002</cx:pt>
          <cx:pt idx="6552">-8.9868159999999992</cx:pt>
          <cx:pt idx="6553">-5.2626532680000002</cx:pt>
          <cx:pt idx="6554">-4.649958356</cx:pt>
          <cx:pt idx="6555">-4.0375751409999996</cx:pt>
          <cx:pt idx="6556">-3.4248802290000002</cx:pt>
          <cx:pt idx="6557">-2.7782159759999998</cx:pt>
          <cx:pt idx="6558">-2.7685550000000001</cx:pt>
          <cx:pt idx="6559">-1.308342594</cx:pt>
          <cx:pt idx="6560">0.19775390000000001</cx:pt>
          <cx:pt idx="6561">-0.8129883</cx:pt>
          <cx:pt idx="6562">4.8120120000000002</cx:pt>
          <cx:pt idx="6563">-8.9868159999999992</cx:pt>
          <cx:pt idx="6564">-0.28564450000000002</cx:pt>
          <cx:pt idx="6565">-0.25928391200000001</cx:pt>
          <cx:pt idx="6566">-0.2416992</cx:pt>
          <cx:pt idx="6567">-8.9648439999999994</cx:pt>
          <cx:pt idx="6568">5.0537109999999998</cx:pt>
          <cx:pt idx="6569">0.90087890000000004</cx:pt>
          <cx:pt idx="6570">1.7384154190000001</cx:pt>
          <cx:pt idx="6571">2.011843201</cx:pt>
          <cx:pt idx="6572">2.2702262470000001</cx:pt>
          <cx:pt idx="6573">2.5566284050000001</cx:pt>
          <cx:pt idx="6574">2.834473</cx:pt>
          <cx:pt idx="6575">-3.9883828769999998</cx:pt>
          <cx:pt idx="6576">-4.2480228630000001</cx:pt>
          <cx:pt idx="6577">-4.4933767270000002</cx:pt>
          <cx:pt idx="6578">-4.7653367830000004</cx:pt>
          <cx:pt idx="6579">-5.3173830000000004</cx:pt>
          <cx:pt idx="6580">-4.1748050000000001</cx:pt>
          <cx:pt idx="6581">-8.9868159999999992</cx:pt>
          <cx:pt idx="6582">1.73584</cx:pt>
          <cx:pt idx="6583">-9.0087890000000002</cx:pt>
          <cx:pt idx="6584">21.379390000000001</cx:pt>
          <cx:pt idx="6585">-8.8330079999999995</cx:pt>
          <cx:pt idx="6586">41.132809999999999</cx:pt>
          <cx:pt idx="6587">97.331619970000006</cx:pt>
          <cx:pt idx="6588">98.217770000000002</cx:pt>
          <cx:pt idx="6589">85.55009767</cx:pt>
          <cx:pt idx="6590">85.451660000000004</cx:pt>
          <cx:pt idx="6591">38.408200000000001</cx:pt>
          <cx:pt idx="6592">19.81934</cx:pt>
          <cx:pt idx="6593">3.911133</cx:pt>
          <cx:pt idx="6594">-8.9648439999999994</cx:pt>
          <cx:pt idx="6595">-6.5698239999999997</cx:pt>
          <cx:pt idx="6596">5.5810550000000001</cx:pt>
          <cx:pt idx="6597">1.4716163739999999</cx:pt>
          <cx:pt idx="6598">0.39550780000000002</cx:pt>
          <cx:pt idx="6599">-8.6572270000000007</cx:pt>
          <cx:pt idx="6600">-8.4553816249999993</cx:pt>
          <cx:pt idx="6601">-8.2551534419999992</cx:pt>
          <cx:pt idx="6602">-7.6464840000000001</cx:pt>
          <cx:pt idx="6603">-2.6367189999999998</cx:pt>
          <cx:pt idx="6604">-8.5473630000000007</cx:pt>
          <cx:pt idx="6605">15.029299999999999</cx:pt>
          <cx:pt idx="6606">20.96191</cx:pt>
          <cx:pt idx="6607">4.249267229</cx:pt>
          <cx:pt idx="6608">4.1528320000000001</cx:pt>
          <cx:pt idx="6609">2.618239634</cx:pt>
          <cx:pt idx="6610">1.022263522</cx:pt>
          <cx:pt idx="6611">-0.54931640000000004</cx:pt>
          <cx:pt idx="6612">-0.29191303600000001</cx:pt>
          <cx:pt idx="6613">-0.2416992</cx:pt>
          <cx:pt idx="6614">-2.48291</cx:pt>
          <cx:pt idx="6615">-8.9868159999999992</cx:pt>
          <cx:pt idx="6616">11.25</cx:pt>
          <cx:pt idx="6617">43.330080000000002</cx:pt>
          <cx:pt idx="6618">37.705080000000002</cx:pt>
          <cx:pt idx="6619">15.358890000000001</cx:pt>
          <cx:pt idx="6620">46.032710000000002</cx:pt>
          <cx:pt idx="6621">126.05710000000001</cx:pt>
          <cx:pt idx="6622">100.459</cx:pt>
          <cx:pt idx="6623">67.80762</cx:pt>
          <cx:pt idx="6624">43.264159999999997</cx:pt>
          <cx:pt idx="6625">27.290040000000001</cx:pt>
          <cx:pt idx="6626">13.798830000000001</cx:pt>
          <cx:pt idx="6627">0.54931640000000004</cx:pt>
          <cx:pt idx="6628">0.9448242</cx:pt>
          <cx:pt idx="6629">0.038536002999999999</cx:pt>
          <cx:pt idx="6630">-3.0478263000000001</cx:pt>
          <cx:pt idx="6631">-3.2378485979999998</cx:pt>
          <cx:pt idx="6632">-3.4165968609999999</cx:pt>
          <cx:pt idx="6633">-3.599527411</cx:pt>
          <cx:pt idx="6634">-3.7810941769999999</cx:pt>
          <cx:pt idx="6635">-3.9641156620000002</cx:pt>
          <cx:pt idx="6636">-4.1442277089999999</cx:pt>
          <cx:pt idx="6637">-4.3286129999999998</cx:pt>
          <cx:pt idx="6638">0.065917970000000006</cx:pt>
          <cx:pt idx="6639">1.6699219999999999</cx:pt>
          <cx:pt idx="6640">63.071077150000001</cx:pt>
          <cx:pt idx="6641">63.193359999999998</cx:pt>
          <cx:pt idx="6642">48.867190000000001</cx:pt>
          <cx:pt idx="6643">25.268550000000001</cx:pt>
          <cx:pt idx="6644">44.165039999999998</cx:pt>
          <cx:pt idx="6645">42.143549999999998</cx:pt>
          <cx:pt idx="6646">29.86084</cx:pt>
          <cx:pt idx="6647">39.287109999999998</cx:pt>
          <cx:pt idx="6648">25.00488</cx:pt>
          <cx:pt idx="6649">3.0322269999999998</cx:pt>
          <cx:pt idx="6650">-3.8671880000000001</cx:pt>
          <cx:pt idx="6651">-3.5336200550000001</cx:pt>
          <cx:pt idx="6652">-3.4497070000000001</cx:pt>
          <cx:pt idx="6653">18.566890000000001</cx:pt>
          <cx:pt idx="6654">-8.9868159999999992</cx:pt>
          <cx:pt idx="6655">-8.1100625120000007</cx:pt>
          <cx:pt idx="6656">-6.3678535070000004</cx:pt>
          <cx:pt idx="6657">-5.8007809999999997</cx:pt>
          <cx:pt idx="6658">0.76904300000000003</cx:pt>
          <cx:pt idx="6659">2.48291</cx:pt>
          <cx:pt idx="6660">0.37353520000000001</cx:pt>
          <cx:pt idx="6661">57.96387</cx:pt>
          <cx:pt idx="6662">136.32271560000001</cx:pt>
          <cx:pt idx="6663">136.9556</cx:pt>
          <cx:pt idx="6664">114.47750000000001</cx:pt>
          <cx:pt idx="6665">77.607420000000005</cx:pt>
          <cx:pt idx="6666">49.174799999999998</cx:pt>
          <cx:pt idx="6667">32.980960000000003</cx:pt>
          <cx:pt idx="6668">16.787109999999998</cx:pt>
          <cx:pt idx="6669">1.40625</cx:pt>
          <cx:pt idx="6670">1.230469</cx:pt>
          <cx:pt idx="6671">39.265140000000002</cx:pt>
          <cx:pt idx="6672">49.438479999999998</cx:pt>
          <cx:pt idx="6673">15.84229</cx:pt>
          <cx:pt idx="6674">4.3725589999999999</cx:pt>
          <cx:pt idx="6675">-8.8330079999999995</cx:pt>
          <cx:pt idx="6676">4.1308590000000001</cx:pt>
          <cx:pt idx="6677">0.15380859999999999</cx:pt>
          <cx:pt idx="6678">-8.9868159999999992</cx:pt>
          <cx:pt idx="6679">83.320310000000006</cx:pt>
          <cx:pt idx="6680">154.1602</cx:pt>
          <cx:pt idx="6681">137.98830000000001</cx:pt>
          <cx:pt idx="6682">93.999020000000002</cx:pt>
          <cx:pt idx="6683">38.979489999999998</cx:pt>
          <cx:pt idx="6684">15.79834</cx:pt>
          <cx:pt idx="6685">0.61523439999999996</cx:pt>
          <cx:pt idx="6686">-0.47820703599999997</cx:pt>
          <cx:pt idx="6687">-0.92285159999999999</cx:pt>
          <cx:pt idx="6688">3.3398439999999998</cx:pt>
          <cx:pt idx="6689">-3.3178709999999998</cx:pt>
          <cx:pt idx="6690">-3.1729539400000002</cx:pt>
          <cx:pt idx="6691">-3.124526023</cx:pt>
          <cx:pt idx="6692">-3.0734334720000001</cx:pt>
          <cx:pt idx="6693">-2.8793062100000002</cx:pt>
          <cx:pt idx="6694">-2.831244989</cx:pt>
          <cx:pt idx="6695">-2.6356265109999999</cx:pt>
          <cx:pt idx="6696">-2.5868074550000002</cx:pt>
          <cx:pt idx="6697">-2.4392257599999998</cx:pt>
          <cx:pt idx="6698">-2.391164533</cx:pt>
          <cx:pt idx="6699">-2.2458563329999999</cx:pt>
          <cx:pt idx="6700">-2.1459447250000001</cx:pt>
          <cx:pt idx="6701">-2.145553585</cx:pt>
          <cx:pt idx="6702">-2.0978834979999998</cx:pt>
          <cx:pt idx="6703">-2.0002698300000001</cx:pt>
          <cx:pt idx="6704">-1.999512</cx:pt>
          <cx:pt idx="6705">-2.0330098410000002</cx:pt>
          <cx:pt idx="6706">-2.1250776309999999</cx:pt>
          <cx:pt idx="6707">-2.1335661500000001</cx:pt>
          <cx:pt idx="6708">-2.1752929999999999</cx:pt>
          <cx:pt idx="6709">35.96860599</cx:pt>
          <cx:pt idx="6710">73.240423210000003</cx:pt>
          <cx:pt idx="6711">73.828130000000002</cx:pt>
          <cx:pt idx="6712">33.156739999999999</cx:pt>
          <cx:pt idx="6713">24.075681450000001</cx:pt>
          <cx:pt idx="6714">15.205080000000001</cx:pt>
          <cx:pt idx="6715">1.296387</cx:pt>
          <cx:pt idx="6716">2.8125</cx:pt>
          <cx:pt idx="6717">-0.63720699999999997</cx:pt>
          <cx:pt idx="6718">6.5698239999999997</cx:pt>
          <cx:pt idx="6719">3.0848879409999999</cx:pt>
          <cx:pt idx="6720">-0.5932617</cx:pt>
          <cx:pt idx="6721">0.43945309999999999</cx:pt>
          <cx:pt idx="6722">30.695799999999998</cx:pt>
          <cx:pt idx="6723">10.17334</cx:pt>
          <cx:pt idx="6724">1.1425780000000001</cx:pt>
          <cx:pt idx="6725">-2.48291</cx:pt>
          <cx:pt idx="6726">-0.61523439999999996</cx:pt>
          <cx:pt idx="6727">-8.9868159999999992</cx:pt>
          <cx:pt idx="6728">-6.4469048259999999</cx:pt>
          <cx:pt idx="6729">-4.8894748750000003</cx:pt>
          <cx:pt idx="6730">-4.3864588219999998</cx:pt>
          <cx:pt idx="6731">1.2524409999999999</cx:pt>
          <cx:pt idx="6732">-0.2416992</cx:pt>
          <cx:pt idx="6733">4.3725589999999999</cx:pt>
          <cx:pt idx="6734">-1.186523</cx:pt>
          <cx:pt idx="6735">-8.9868159999999992</cx:pt>
          <cx:pt idx="6736">0.1757813</cx:pt>
          <cx:pt idx="6737">-2.6806640000000002</cx:pt>
          <cx:pt idx="6738">2.7685550000000001</cx:pt>
          <cx:pt idx="6739">2.175693264</cx:pt>
          <cx:pt idx="6740">2.1279315959999998</cx:pt>
          <cx:pt idx="6741">2.0826379899999998</cx:pt>
          <cx:pt idx="6742">2.039858159</cx:pt>
          <cx:pt idx="6743">1.9924621300000001</cx:pt>
          <cx:pt idx="6744">1.9471685240000001</cx:pt>
          <cx:pt idx="6745">1.8534276759999999</cx:pt>
          <cx:pt idx="6746">1.8099165639999999</cx:pt>
          <cx:pt idx="6747">1.625977</cx:pt>
          <cx:pt idx="6748">6.4819339999999999</cx:pt>
          <cx:pt idx="6749">-8.2177729999999993</cx:pt>
          <cx:pt idx="6750">-5.8553735409999996</cx:pt>
          <cx:pt idx="6751">-4.6882391849999996</cx:pt>
          <cx:pt idx="6752">-3.4277340000000001</cx:pt>
          <cx:pt idx="6753">-3.37145115</cx:pt>
          <cx:pt idx="6754">-3.3436492900000001</cx:pt>
          <cx:pt idx="6755">-3.2864750800000002</cx:pt>
          <cx:pt idx="6756">-3.2299799999999999</cx:pt>
          <cx:pt idx="6757">1.7578130000000001</cx:pt>
          <cx:pt idx="6758">-8.9868159999999992</cx:pt>
          <cx:pt idx="6759">15.44678</cx:pt>
          <cx:pt idx="6760">21.796880000000002</cx:pt>
          <cx:pt idx="6761">17.076333730000002</cx:pt>
          <cx:pt idx="6762">12.53461356</cx:pt>
          <cx:pt idx="6763">8.0639649999999996</cx:pt>
          <cx:pt idx="6764">6.9875723199999999</cx:pt>
          <cx:pt idx="6765">5.9357888909999996</cx:pt>
          <cx:pt idx="6766">3.7573240000000001</cx:pt>
          <cx:pt idx="6767">31.84042505</cx:pt>
          <cx:pt idx="6768">60.380859999999998</cx:pt>
          <cx:pt idx="6769">-6.7016600000000004</cx:pt>
          <cx:pt idx="6770">-1.032715</cx:pt>
          <cx:pt idx="6771">-8.9208979999999993</cx:pt>
          <cx:pt idx="6772">1.384277</cx:pt>
          <cx:pt idx="6773">3.515625</cx:pt>
          <cx:pt idx="6774">8.5913090000000008</cx:pt>
          <cx:pt idx="6775">51.56982</cx:pt>
          <cx:pt idx="6776">48.999020000000002</cx:pt>
          <cx:pt idx="6777">15.79834</cx:pt>
          <cx:pt idx="6778">3.1640630000000001</cx:pt>
          <cx:pt idx="6779">-0.070973193000000004</cx:pt>
          <cx:pt idx="6780">-0.087890629999999997</cx:pt>
          <cx:pt idx="6781">13.337400000000001</cx:pt>
          <cx:pt idx="6782">-8.9868159999999992</cx:pt>
          <cx:pt idx="6783">-1.010742</cx:pt>
          <cx:pt idx="6784">-0.91745005199999996</cx:pt>
          <cx:pt idx="6785">-0.63864465299999995</cx:pt>
          <cx:pt idx="6786">-0.61523439999999996</cx:pt>
          <cx:pt idx="6787">-0.64102382099999999</cx:pt>
          <cx:pt idx="6788">-0.66582423300000004</cx:pt>
          <cx:pt idx="6789">-0.79101560000000004</cx:pt>
          <cx:pt idx="6790">-0.87969893300000002</cx:pt>
          <cx:pt idx="6791">-0.90148215700000001</cx:pt>
          <cx:pt idx="6792">-1.010585201</cx:pt>
          <cx:pt idx="6793">-1.0323684230000001</cx:pt>
          <cx:pt idx="6794">-1.0761108029999999</cx:pt>
          <cx:pt idx="6795">-1.1416364080000001</cx:pt>
          <cx:pt idx="6796">-1.1644532620000001</cx:pt>
          <cx:pt idx="6797">-1.186412421</cx:pt>
          <cx:pt idx="6798">-1.2521139610000001</cx:pt>
          <cx:pt idx="6799">-1.2744139999999999</cx:pt>
          <cx:pt idx="6800">-8.6352539999999998</cx:pt>
          <cx:pt idx="6801">1.3623050000000001</cx:pt>
          <cx:pt idx="6802">-4.921875</cx:pt>
          <cx:pt idx="6803">-0.68115230000000004</cx:pt>
          <cx:pt idx="6804">17.781317699999999</cx:pt>
          <cx:pt idx="6805">27.158200000000001</cx:pt>
          <cx:pt idx="6806">-8.8110350000000004</cx:pt>
          <cx:pt idx="6807">-3.6914060000000002</cx:pt>
          <cx:pt idx="6808">-1.555497651</cx:pt>
          <cx:pt idx="6809">-0.48339840000000001</cx:pt>
          <cx:pt idx="6810">-4.3505859999999998</cx:pt>
          <cx:pt idx="6811">1.2744139999999999</cx:pt>
          <cx:pt idx="6812">-0.95425249599999995</cx:pt>
          <cx:pt idx="6813">-3.3826746110000001</cx:pt>
          <cx:pt idx="6814">-5.6647640729999997</cx:pt>
          <cx:pt idx="6815">-8.0200200000000006</cx:pt>
          <cx:pt idx="6816">-6.4842411049999997</cx:pt>
          <cx:pt idx="6817">-4.924621771</cx:pt>
          <cx:pt idx="6818">-0.32958979999999999</cx:pt>
          <cx:pt idx="6819">-0.30906440899999998</cx:pt>
          <cx:pt idx="6820">-0.30761719999999998</cx:pt>
          <cx:pt idx="6821">-5.3436551229999996</cx:pt>
          <cx:pt idx="6822">-7.8222659999999999</cx:pt>
          <cx:pt idx="6823">1.5600590000000001</cx:pt>
          <cx:pt idx="6824">1.2803464870000001</cx:pt>
          <cx:pt idx="6825">0.99514942799999995</cx:pt>
          <cx:pt idx="6826">0.71656197200000005</cx:pt>
          <cx:pt idx="6827">0.57614320399999996</cx:pt>
          <cx:pt idx="6828">0.15931673399999999</cx:pt>
          <cx:pt idx="6829">-0.26299430000000001</cx:pt>
          <cx:pt idx="6830">-0.40453810800000001</cx:pt>
          <cx:pt idx="6831">-0.54383183599999996</cx:pt>
          <cx:pt idx="6832">-0.54931640000000004</cx:pt>
          <cx:pt idx="6833">0.02536128</cx:pt>
          <cx:pt idx="6834">0.32729100900000002</cx:pt>
          <cx:pt idx="6835">0.611307194</cx:pt>
          <cx:pt idx="6836">0.88391069200000005</cx:pt>
          <cx:pt idx="6837">1.4698565720000001</cx:pt>
          <cx:pt idx="6838">1.4721679999999999</cx:pt>
          <cx:pt idx="6839">34.138348440000001</cx:pt>
          <cx:pt idx="6840">65.324709999999996</cx:pt>
          <cx:pt idx="6841">130.166</cx:pt>
          <cx:pt idx="6842">112.87350000000001</cx:pt>
          <cx:pt idx="6843">40.737299999999998</cx:pt>
          <cx:pt idx="6844">78.486329999999995</cx:pt>
          <cx:pt idx="6845">52.822270000000003</cx:pt>
          <cx:pt idx="6846">24.873049999999999</cx:pt>
          <cx:pt idx="6847">8.1958009999999994</cx:pt>
          <cx:pt idx="6848">4.7900390000000002</cx:pt>
          <cx:pt idx="6849">-8.9868159999999992</cx:pt>
          <cx:pt idx="6850">-1.1645509999999999</cx:pt>
          <cx:pt idx="6851">-8.9868159999999992</cx:pt>
          <cx:pt idx="6852">-7.1630980959999997</cx:pt>
          <cx:pt idx="6853">-1.752966483</cx:pt>
          <cx:pt idx="6854">-1.1496925629999999</cx:pt>
          <cx:pt idx="6855">-0.53705388099999996</cx:pt>
          <cx:pt idx="6856">0.065917970000000006</cx:pt>
          <cx:pt idx="6857">-0.1757813</cx:pt>
          <cx:pt idx="6858">2.3264078289999999</cx:pt>
          <cx:pt idx="6859">2.3291019999999998</cx:pt>
          <cx:pt idx="6860">2.443684465</cx:pt>
          <cx:pt idx="6861">2.5628502179999999</cx:pt>
          <cx:pt idx="6862">2.6783728490000001</cx:pt>
          <cx:pt idx="6863">3.0322269999999998</cx:pt>
          <cx:pt idx="6864">-2.6147459999999998</cx:pt>
          <cx:pt idx="6865">42.626950000000001</cx:pt>
          <cx:pt idx="6866">58.293460000000003</cx:pt>
          <cx:pt idx="6867">-8.6791990000000006</cx:pt>
          <cx:pt idx="6868">46.56006</cx:pt>
          <cx:pt idx="6869">88.374020000000002</cx:pt>
          <cx:pt idx="6870">74.157709999999994</cx:pt>
          <cx:pt idx="6871">18.89648</cx:pt>
          <cx:pt idx="6872">21.906739999999999</cx:pt>
          <cx:pt idx="6873">-5.603027</cx:pt>
          <cx:pt idx="6874">-6.6796879999999996</cx:pt>
          <cx:pt idx="6875">15.358890000000001</cx:pt>
          <cx:pt idx="6876">50.712890000000002</cx:pt>
          <cx:pt idx="6877">21.906739999999999</cx:pt>
          <cx:pt idx="6878">13.44727</cx:pt>
          <cx:pt idx="6879">-8.9868159999999992</cx:pt>
          <cx:pt idx="6880">5.4711910000000001</cx:pt>
          <cx:pt idx="6881">-8.9868159999999992</cx:pt>
          <cx:pt idx="6882">-2.4361030129999999</cx:pt>
          <cx:pt idx="6883">11.03027</cx:pt>
          <cx:pt idx="6884">-4.7460940000000003</cx:pt>
          <cx:pt idx="6885">0.85693359999999996</cx:pt>
          <cx:pt idx="6886">0.90608059299999999</cx:pt>
          <cx:pt idx="6887">0.922338879</cx:pt>
          <cx:pt idx="6888">0.92285159999999999</cx:pt>
          <cx:pt idx="6889">23.670820849999998</cx:pt>
          <cx:pt idx="6890">23.840330000000002</cx:pt>
          <cx:pt idx="6891">8.1518549999999994</cx:pt>
          <cx:pt idx="6892">0</cx:pt>
          <cx:pt idx="6893">-1.911621</cx:pt>
          <cx:pt idx="6894">-8.9428710000000002</cx:pt>
          <cx:pt idx="6895">-7.4485271749999997</cx:pt>
          <cx:pt idx="6896">-5.9268492689999999</cx:pt>
          <cx:pt idx="6897">-5.429821295</cx:pt>
          <cx:pt idx="6898">-2.9223629999999998</cx:pt>
          <cx:pt idx="6899">17.556149999999999</cx:pt>
          <cx:pt idx="6900">-8.9868159999999992</cx:pt>
          <cx:pt idx="6901">-3.9732685929999998</cx:pt>
          <cx:pt idx="6902">-2.48291</cx:pt>
          <cx:pt idx="6903">4.196777</cx:pt>
          <cx:pt idx="6904">-1.2744139999999999</cx:pt>
          <cx:pt idx="6905">18.808589999999999</cx:pt>
          <cx:pt idx="6906">0.73399234899999999</cx:pt>
          <cx:pt idx="6907">0.30761719999999998</cx:pt>
          <cx:pt idx="6908">1.1206050000000001</cx:pt>
          <cx:pt idx="6909">-3.7573240000000001</cx:pt>
          <cx:pt idx="6910">-0.79101560000000004</cx:pt>
          <cx:pt idx="6911">-0.112933308</cx:pt>
          <cx:pt idx="6912">-0.1098633</cx:pt>
          <cx:pt idx="6913">-8.8989259999999994</cx:pt>
          <cx:pt idx="6914">-4.175209357</cx:pt>
          <cx:pt idx="6915">-2.513858033</cx:pt>
          <cx:pt idx="6916">2.2346906830000002</cx:pt>
          <cx:pt idx="6917">2.2851560000000002</cx:pt>
          <cx:pt idx="6918">-8.8542867760000004</cx:pt>
          <cx:pt idx="6919">-8.9428710000000002</cx:pt>
          <cx:pt idx="6920">-8.3957003859999997</cx:pt>
          <cx:pt idx="6921">-8.3870017380000004</cx:pt>
          <cx:pt idx="6922">-3.3398439999999998</cx:pt>
          <cx:pt idx="6923">-8.6132810000000006</cx:pt>
          <cx:pt idx="6924">-3.3837890000000002</cx:pt>
          <cx:pt idx="6925">-5.646973</cx:pt>
          <cx:pt idx="6926">-0.68115230000000004</cx:pt>
          <cx:pt idx="6927">-1.582031</cx:pt>
          <cx:pt idx="6928">2.9003909999999999</cx:pt>
          <cx:pt idx="6929">17.468260000000001</cx:pt>
          <cx:pt idx="6930">3.6035159999999999</cx:pt>
          <cx:pt idx="6931">-4.1748050000000001</cx:pt>
          <cx:pt idx="6932">-1.8676759999999999</cx:pt>
        </cx:lvl>
      </cx:numDim>
    </cx:data>
    <cx:data id="2">
      <cx:numDim type="val">
        <cx:f>'Box Plots'!$C$151:$C$7083</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1</cx:pt>
          <cx:pt idx="351">-1</cx:pt>
          <cx:pt idx="352">-1</cx:pt>
          <cx:pt idx="353">-1</cx:pt>
          <cx:pt idx="354">-1</cx:pt>
          <cx:pt idx="355">-1</cx:pt>
          <cx:pt idx="356">-1</cx:pt>
          <cx:pt idx="357">-1</cx:pt>
          <cx:pt idx="358">-1</cx:pt>
          <cx:pt idx="359">-1</cx:pt>
          <cx:pt idx="360">-1</cx:pt>
          <cx:pt idx="361">-1</cx:pt>
          <cx:pt idx="362">-1</cx:pt>
          <cx:pt idx="363">-1</cx:pt>
          <cx:pt idx="364">-1</cx:pt>
          <cx:pt idx="365">-1</cx:pt>
          <cx:pt idx="366">-1</cx:pt>
          <cx:pt idx="367">-1</cx:pt>
          <cx:pt idx="368">-1</cx:pt>
          <cx:pt idx="369">-1</cx:pt>
          <cx:pt idx="370">-1</cx:pt>
          <cx:pt idx="371">-1</cx:pt>
          <cx:pt idx="372">-1</cx:pt>
          <cx:pt idx="373">-1</cx:pt>
          <cx:pt idx="374">-1</cx:pt>
          <cx:pt idx="375">-1</cx:pt>
          <cx:pt idx="376">-1</cx:pt>
          <cx:pt idx="377">-1</cx:pt>
          <cx:pt idx="378">-1</cx:pt>
          <cx:pt idx="379">-1</cx:pt>
          <cx:pt idx="380">-1</cx:pt>
          <cx:pt idx="381">-1</cx:pt>
          <cx:pt idx="382">-1</cx:pt>
          <cx:pt idx="383">-1</cx:pt>
          <cx:pt idx="384">-1</cx:pt>
          <cx:pt idx="385">-1</cx:pt>
          <cx:pt idx="386">-1</cx:pt>
          <cx:pt idx="387">-1</cx:pt>
          <cx:pt idx="388">-1</cx:pt>
          <cx:pt idx="389">-1</cx:pt>
          <cx:pt idx="390">-1</cx:pt>
          <cx:pt idx="391">-1</cx:pt>
          <cx:pt idx="392">-1</cx:pt>
          <cx:pt idx="393">-1</cx:pt>
          <cx:pt idx="394">-1</cx:pt>
          <cx:pt idx="395">-1</cx:pt>
          <cx:pt idx="396">-1</cx:pt>
          <cx:pt idx="397">-1</cx:pt>
          <cx:pt idx="398">-1</cx:pt>
          <cx:pt idx="399">-1</cx:pt>
          <cx:pt idx="400">-1</cx:pt>
          <cx:pt idx="401">-1</cx:pt>
          <cx:pt idx="402">-1</cx:pt>
          <cx:pt idx="403">-1</cx:pt>
          <cx:pt idx="404">-1</cx:pt>
          <cx:pt idx="405">-1</cx:pt>
          <cx:pt idx="406">-1</cx:pt>
          <cx:pt idx="407">-1</cx:pt>
          <cx:pt idx="408">-1</cx:pt>
          <cx:pt idx="409">-1</cx:pt>
          <cx:pt idx="410">-1</cx:pt>
          <cx:pt idx="411">-1</cx:pt>
          <cx:pt idx="412">-1</cx:pt>
          <cx:pt idx="413">-1</cx:pt>
          <cx:pt idx="414">-1</cx:pt>
          <cx:pt idx="415">-1</cx:pt>
          <cx:pt idx="416">-1</cx:pt>
          <cx:pt idx="417">-1</cx:pt>
          <cx:pt idx="418">-1</cx:pt>
          <cx:pt idx="419">-1</cx:pt>
          <cx:pt idx="420">-1</cx:pt>
          <cx:pt idx="421">-1</cx:pt>
          <cx:pt idx="422">-1</cx:pt>
          <cx:pt idx="423">-1</cx:pt>
          <cx:pt idx="424">-1</cx:pt>
          <cx:pt idx="425">-1</cx:pt>
          <cx:pt idx="426">-1</cx:pt>
          <cx:pt idx="427">-1</cx:pt>
          <cx:pt idx="428">-1</cx:pt>
          <cx:pt idx="429">-1</cx:pt>
          <cx:pt idx="430">-1</cx:pt>
          <cx:pt idx="431">-1</cx:pt>
          <cx:pt idx="432">-1</cx:pt>
          <cx:pt idx="433">-1</cx:pt>
          <cx:pt idx="434">-1</cx:pt>
          <cx:pt idx="435">-1</cx:pt>
          <cx:pt idx="436">-1</cx:pt>
          <cx:pt idx="437">-1</cx:pt>
          <cx:pt idx="438">-1</cx:pt>
          <cx:pt idx="439">-1</cx:pt>
          <cx:pt idx="440">-1</cx:pt>
          <cx:pt idx="441">-1</cx:pt>
          <cx:pt idx="442">-1</cx:pt>
          <cx:pt idx="443">-1</cx:pt>
          <cx:pt idx="444">-1</cx:pt>
          <cx:pt idx="445">-1</cx:pt>
          <cx:pt idx="446">-1</cx:pt>
          <cx:pt idx="447">-1</cx:pt>
          <cx:pt idx="448">-1</cx:pt>
          <cx:pt idx="449">-1</cx:pt>
          <cx:pt idx="450">-1</cx:pt>
          <cx:pt idx="451">-1</cx:pt>
          <cx:pt idx="452">-1</cx:pt>
          <cx:pt idx="453">-1</cx:pt>
          <cx:pt idx="454">-1</cx:pt>
          <cx:pt idx="455">-1</cx:pt>
          <cx:pt idx="456">-1</cx:pt>
          <cx:pt idx="457">-1</cx:pt>
          <cx:pt idx="458">-1</cx:pt>
          <cx:pt idx="459">-1</cx:pt>
          <cx:pt idx="460">-1</cx:pt>
          <cx:pt idx="461">-1</cx:pt>
          <cx:pt idx="462">-1</cx:pt>
          <cx:pt idx="463">-1</cx:pt>
          <cx:pt idx="464">-1</cx:pt>
          <cx:pt idx="465">-1</cx:pt>
          <cx:pt idx="466">-1</cx:pt>
          <cx:pt idx="467">-1</cx:pt>
          <cx:pt idx="468">-1</cx:pt>
          <cx:pt idx="469">-1</cx:pt>
          <cx:pt idx="470">-1</cx:pt>
          <cx:pt idx="471">-1</cx:pt>
          <cx:pt idx="472">-1</cx:pt>
          <cx:pt idx="473">-1</cx:pt>
          <cx:pt idx="474">-1</cx:pt>
          <cx:pt idx="475">-1</cx:pt>
          <cx:pt idx="476">-1</cx:pt>
          <cx:pt idx="477">-1</cx:pt>
          <cx:pt idx="478">-1</cx:pt>
          <cx:pt idx="479">-1</cx:pt>
          <cx:pt idx="480">-1</cx:pt>
          <cx:pt idx="481">-1</cx:pt>
          <cx:pt idx="482">-1</cx:pt>
          <cx:pt idx="483">-1</cx:pt>
          <cx:pt idx="484">-1</cx:pt>
          <cx:pt idx="485">-1</cx:pt>
          <cx:pt idx="486">-1</cx:pt>
          <cx:pt idx="487">-1</cx:pt>
          <cx:pt idx="488">-1</cx:pt>
          <cx:pt idx="489">-1</cx:pt>
          <cx:pt idx="490">-1</cx:pt>
          <cx:pt idx="491">-1</cx:pt>
          <cx:pt idx="492">-1</cx:pt>
          <cx:pt idx="493">-1</cx:pt>
          <cx:pt idx="494">-1</cx:pt>
          <cx:pt idx="495">-1</cx:pt>
          <cx:pt idx="496">-1</cx:pt>
          <cx:pt idx="497">-1</cx:pt>
          <cx:pt idx="498">-1</cx:pt>
          <cx:pt idx="499">-1</cx:pt>
          <cx:pt idx="500">-1</cx:pt>
          <cx:pt idx="501">-1</cx:pt>
          <cx:pt idx="502">-1</cx:pt>
          <cx:pt idx="503">-1</cx:pt>
          <cx:pt idx="504">-1</cx:pt>
          <cx:pt idx="505">-1</cx:pt>
          <cx:pt idx="506">-1</cx:pt>
          <cx:pt idx="507">-1</cx:pt>
          <cx:pt idx="508">-1</cx:pt>
          <cx:pt idx="509">-1</cx:pt>
          <cx:pt idx="510">-1</cx:pt>
          <cx:pt idx="511">-1</cx:pt>
          <cx:pt idx="512">-1</cx:pt>
          <cx:pt idx="513">-1</cx:pt>
          <cx:pt idx="514">-1</cx:pt>
          <cx:pt idx="515">-1</cx:pt>
          <cx:pt idx="516">-1</cx:pt>
          <cx:pt idx="517">-1</cx:pt>
          <cx:pt idx="518">-1</cx:pt>
          <cx:pt idx="519">-1</cx:pt>
          <cx:pt idx="520">-1</cx:pt>
          <cx:pt idx="521">-1</cx:pt>
          <cx:pt idx="522">-1</cx:pt>
          <cx:pt idx="523">-1</cx:pt>
          <cx:pt idx="524">-1</cx:pt>
          <cx:pt idx="525">-1</cx:pt>
          <cx:pt idx="526">-1</cx:pt>
          <cx:pt idx="527">-1</cx:pt>
          <cx:pt idx="528">-1</cx:pt>
          <cx:pt idx="529">-1</cx:pt>
          <cx:pt idx="530">-1</cx:pt>
          <cx:pt idx="531">-1</cx:pt>
          <cx:pt idx="532">-1</cx:pt>
          <cx:pt idx="533">-1</cx:pt>
          <cx:pt idx="534">-1</cx:pt>
          <cx:pt idx="535">-1</cx:pt>
          <cx:pt idx="536">-1</cx:pt>
          <cx:pt idx="537">-1</cx:pt>
          <cx:pt idx="538">-1</cx:pt>
          <cx:pt idx="539">-1</cx:pt>
          <cx:pt idx="540">-1</cx:pt>
          <cx:pt idx="541">-1</cx:pt>
          <cx:pt idx="542">-1</cx:pt>
          <cx:pt idx="543">-1</cx:pt>
          <cx:pt idx="544">-1</cx:pt>
          <cx:pt idx="545">-1</cx:pt>
          <cx:pt idx="546">-1</cx:pt>
          <cx:pt idx="547">-1</cx:pt>
          <cx:pt idx="548">-1</cx:pt>
          <cx:pt idx="549">-1</cx:pt>
          <cx:pt idx="550">-1</cx:pt>
          <cx:pt idx="551">-1</cx:pt>
          <cx:pt idx="552">-1</cx:pt>
          <cx:pt idx="553">-1</cx:pt>
          <cx:pt idx="554">-1</cx:pt>
          <cx:pt idx="555">-1</cx:pt>
          <cx:pt idx="556">-1</cx:pt>
          <cx:pt idx="557">-1</cx:pt>
          <cx:pt idx="558">-1</cx:pt>
          <cx:pt idx="559">-1</cx:pt>
          <cx:pt idx="560">-1</cx:pt>
          <cx:pt idx="561">-1</cx:pt>
          <cx:pt idx="562">-1</cx:pt>
          <cx:pt idx="563">-1</cx:pt>
          <cx:pt idx="564">-1</cx:pt>
          <cx:pt idx="565">-1</cx:pt>
          <cx:pt idx="566">-1</cx:pt>
          <cx:pt idx="567">-1</cx:pt>
          <cx:pt idx="568">-1</cx:pt>
          <cx:pt idx="569">-1</cx:pt>
          <cx:pt idx="570">-1</cx:pt>
          <cx:pt idx="571">-1</cx:pt>
          <cx:pt idx="572">-1</cx:pt>
          <cx:pt idx="573">-1</cx:pt>
          <cx:pt idx="574">-1</cx:pt>
          <cx:pt idx="575">-1</cx:pt>
          <cx:pt idx="576">-1</cx:pt>
          <cx:pt idx="577">-1</cx:pt>
          <cx:pt idx="578">-1</cx:pt>
          <cx:pt idx="579">-1</cx:pt>
          <cx:pt idx="580">-1</cx:pt>
          <cx:pt idx="581">-1</cx:pt>
          <cx:pt idx="582">-1</cx:pt>
          <cx:pt idx="583">-1</cx:pt>
          <cx:pt idx="584">-1</cx:pt>
          <cx:pt idx="585">-1</cx:pt>
          <cx:pt idx="586">-1</cx:pt>
          <cx:pt idx="587">-1</cx:pt>
          <cx:pt idx="588">-1</cx:pt>
          <cx:pt idx="589">-1</cx:pt>
          <cx:pt idx="590">-1</cx:pt>
          <cx:pt idx="591">-1</cx:pt>
          <cx:pt idx="592">-1</cx:pt>
          <cx:pt idx="593">-1</cx:pt>
          <cx:pt idx="594">-1</cx:pt>
          <cx:pt idx="595">-1</cx:pt>
          <cx:pt idx="596">-1</cx:pt>
          <cx:pt idx="597">-1</cx:pt>
          <cx:pt idx="598">-1</cx:pt>
          <cx:pt idx="599">-1</cx:pt>
          <cx:pt idx="600">-1</cx:pt>
          <cx:pt idx="601">-1</cx:pt>
          <cx:pt idx="602">-1</cx:pt>
          <cx:pt idx="603">-1</cx:pt>
          <cx:pt idx="604">-1</cx:pt>
          <cx:pt idx="605">-1</cx:pt>
          <cx:pt idx="606">-1</cx:pt>
          <cx:pt idx="607">-1</cx:pt>
          <cx:pt idx="608">-1</cx:pt>
          <cx:pt idx="609">-1</cx:pt>
          <cx:pt idx="610">-1</cx:pt>
          <cx:pt idx="611">-1</cx:pt>
          <cx:pt idx="612">-1</cx:pt>
          <cx:pt idx="613">-1</cx:pt>
          <cx:pt idx="614">-1</cx:pt>
          <cx:pt idx="615">-1</cx:pt>
          <cx:pt idx="616">-1</cx:pt>
          <cx:pt idx="617">-1</cx:pt>
          <cx:pt idx="618">-1</cx:pt>
          <cx:pt idx="619">-1</cx:pt>
          <cx:pt idx="620">-1</cx:pt>
          <cx:pt idx="621">-1</cx:pt>
          <cx:pt idx="622">-1</cx:pt>
          <cx:pt idx="623">-1</cx:pt>
          <cx:pt idx="624">-1</cx:pt>
          <cx:pt idx="625">-1</cx:pt>
          <cx:pt idx="626">-1</cx:pt>
          <cx:pt idx="627">-1</cx:pt>
          <cx:pt idx="628">-1</cx:pt>
          <cx:pt idx="629">-1</cx:pt>
          <cx:pt idx="630">-1</cx:pt>
          <cx:pt idx="631">-1</cx:pt>
          <cx:pt idx="632">-1</cx:pt>
          <cx:pt idx="633">-1</cx:pt>
          <cx:pt idx="634">-1</cx:pt>
          <cx:pt idx="635">-1</cx:pt>
          <cx:pt idx="636">-1</cx:pt>
          <cx:pt idx="637">-1</cx:pt>
          <cx:pt idx="638">-1</cx:pt>
          <cx:pt idx="639">-1</cx:pt>
          <cx:pt idx="640">-1</cx:pt>
          <cx:pt idx="641">-1</cx:pt>
          <cx:pt idx="642">-1</cx:pt>
          <cx:pt idx="643">-1</cx:pt>
          <cx:pt idx="644">-1</cx:pt>
          <cx:pt idx="645">-1</cx:pt>
          <cx:pt idx="646">-1</cx:pt>
          <cx:pt idx="647">-1</cx:pt>
          <cx:pt idx="648">-1</cx:pt>
          <cx:pt idx="649">-1</cx:pt>
          <cx:pt idx="650">-1</cx:pt>
          <cx:pt idx="651">-1</cx:pt>
          <cx:pt idx="652">-1</cx:pt>
          <cx:pt idx="653">-1</cx:pt>
          <cx:pt idx="654">-1</cx:pt>
          <cx:pt idx="655">-1</cx:pt>
          <cx:pt idx="656">-1</cx:pt>
          <cx:pt idx="657">-1</cx:pt>
          <cx:pt idx="658">-1</cx:pt>
          <cx:pt idx="659">-1</cx:pt>
          <cx:pt idx="660">-1</cx:pt>
          <cx:pt idx="661">-1</cx:pt>
          <cx:pt idx="662">-1</cx:pt>
          <cx:pt idx="663">-1</cx:pt>
          <cx:pt idx="664">-1</cx:pt>
          <cx:pt idx="665">-1</cx:pt>
          <cx:pt idx="666">-1</cx:pt>
          <cx:pt idx="667">-1</cx:pt>
          <cx:pt idx="668">-1</cx:pt>
          <cx:pt idx="669">-1</cx:pt>
          <cx:pt idx="670">-1</cx:pt>
          <cx:pt idx="671">-1</cx:pt>
          <cx:pt idx="672">-1</cx:pt>
          <cx:pt idx="673">-1</cx:pt>
          <cx:pt idx="674">-1</cx:pt>
          <cx:pt idx="675">-1</cx:pt>
          <cx:pt idx="676">-1</cx:pt>
          <cx:pt idx="677">-1</cx:pt>
          <cx:pt idx="678">-1</cx:pt>
          <cx:pt idx="679">-1</cx:pt>
          <cx:pt idx="680">-1</cx:pt>
          <cx:pt idx="681">-1</cx:pt>
          <cx:pt idx="682">-1</cx:pt>
          <cx:pt idx="683">-1</cx:pt>
          <cx:pt idx="684">-1</cx:pt>
          <cx:pt idx="685">-1</cx:pt>
          <cx:pt idx="686">-1</cx:pt>
          <cx:pt idx="687">-1</cx:pt>
          <cx:pt idx="688">-1</cx:pt>
          <cx:pt idx="689">-1</cx:pt>
          <cx:pt idx="690">-1</cx:pt>
          <cx:pt idx="691">-1</cx:pt>
          <cx:pt idx="692">-1</cx:pt>
          <cx:pt idx="693">-1</cx:pt>
          <cx:pt idx="694">-1</cx:pt>
          <cx:pt idx="695">-1</cx:pt>
          <cx:pt idx="696">-1</cx:pt>
          <cx:pt idx="697">-1</cx:pt>
          <cx:pt idx="698">-1</cx:pt>
          <cx:pt idx="699">-1</cx:pt>
          <cx:pt idx="700">-1</cx:pt>
          <cx:pt idx="701">-1</cx:pt>
          <cx:pt idx="702">-1</cx:pt>
          <cx:pt idx="703">-1</cx:pt>
          <cx:pt idx="704">-1</cx:pt>
          <cx:pt idx="705">-1</cx:pt>
          <cx:pt idx="706">-1</cx:pt>
          <cx:pt idx="707">-1</cx:pt>
          <cx:pt idx="708">-1</cx:pt>
          <cx:pt idx="709">-1</cx:pt>
          <cx:pt idx="710">-1</cx:pt>
          <cx:pt idx="711">-1</cx:pt>
          <cx:pt idx="712">-1</cx:pt>
          <cx:pt idx="713">-1</cx:pt>
          <cx:pt idx="714">-1</cx:pt>
          <cx:pt idx="715">-1</cx:pt>
          <cx:pt idx="716">-1</cx:pt>
          <cx:pt idx="717">-1</cx:pt>
          <cx:pt idx="718">-1</cx:pt>
          <cx:pt idx="719">-1</cx:pt>
          <cx:pt idx="720">-1</cx:pt>
          <cx:pt idx="721">-1</cx:pt>
          <cx:pt idx="722">-1</cx:pt>
          <cx:pt idx="723">-1</cx:pt>
          <cx:pt idx="724">-1</cx:pt>
          <cx:pt idx="725">-1</cx:pt>
          <cx:pt idx="726">-1</cx:pt>
          <cx:pt idx="727">-1</cx:pt>
          <cx:pt idx="728">-1</cx:pt>
          <cx:pt idx="729">-1</cx:pt>
          <cx:pt idx="730">-1</cx:pt>
          <cx:pt idx="731">-1</cx:pt>
          <cx:pt idx="732">-1</cx:pt>
          <cx:pt idx="733">-1</cx:pt>
          <cx:pt idx="734">-1</cx:pt>
          <cx:pt idx="735">-1</cx:pt>
          <cx:pt idx="736">-1</cx:pt>
          <cx:pt idx="737">-1</cx:pt>
          <cx:pt idx="738">-1</cx:pt>
          <cx:pt idx="739">-1</cx:pt>
          <cx:pt idx="740">-1</cx:pt>
          <cx:pt idx="741">-1</cx:pt>
          <cx:pt idx="742">-1</cx:pt>
          <cx:pt idx="743">-1</cx:pt>
          <cx:pt idx="744">-1</cx:pt>
          <cx:pt idx="745">-1</cx:pt>
          <cx:pt idx="746">-1</cx:pt>
          <cx:pt idx="747">-1</cx:pt>
          <cx:pt idx="748">-1</cx:pt>
          <cx:pt idx="749">-1</cx:pt>
          <cx:pt idx="750">-1</cx:pt>
          <cx:pt idx="751">-1</cx:pt>
          <cx:pt idx="752">-1</cx:pt>
          <cx:pt idx="753">-1</cx:pt>
          <cx:pt idx="754">-1</cx:pt>
          <cx:pt idx="755">-1</cx:pt>
          <cx:pt idx="756">-1</cx:pt>
          <cx:pt idx="757">-1</cx:pt>
          <cx:pt idx="758">-1</cx:pt>
          <cx:pt idx="759">-1</cx:pt>
          <cx:pt idx="760">-1</cx:pt>
          <cx:pt idx="761">-1</cx:pt>
          <cx:pt idx="762">-1</cx:pt>
          <cx:pt idx="763">-1</cx:pt>
          <cx:pt idx="764">-1</cx:pt>
          <cx:pt idx="765">-1</cx:pt>
          <cx:pt idx="766">-1</cx:pt>
          <cx:pt idx="767">-1</cx:pt>
          <cx:pt idx="768">-1</cx:pt>
          <cx:pt idx="769">-1</cx:pt>
          <cx:pt idx="770">-1</cx:pt>
          <cx:pt idx="771">-1</cx:pt>
          <cx:pt idx="772">-1</cx:pt>
          <cx:pt idx="773">-1</cx:pt>
          <cx:pt idx="774">-1</cx:pt>
          <cx:pt idx="775">-1</cx:pt>
          <cx:pt idx="776">-1</cx:pt>
          <cx:pt idx="777">-1</cx:pt>
          <cx:pt idx="778">-1</cx:pt>
          <cx:pt idx="779">-1</cx:pt>
          <cx:pt idx="780">-1</cx:pt>
          <cx:pt idx="781">-1</cx:pt>
          <cx:pt idx="782">-1</cx:pt>
          <cx:pt idx="783">-1</cx:pt>
          <cx:pt idx="784">-1</cx:pt>
          <cx:pt idx="785">-1</cx:pt>
          <cx:pt idx="786">-1</cx:pt>
          <cx:pt idx="787">-1</cx:pt>
          <cx:pt idx="788">-1</cx:pt>
          <cx:pt idx="789">-1</cx:pt>
          <cx:pt idx="790">-1</cx:pt>
          <cx:pt idx="791">-1</cx:pt>
          <cx:pt idx="792">-1</cx:pt>
          <cx:pt idx="793">-1</cx:pt>
          <cx:pt idx="794">-1</cx:pt>
          <cx:pt idx="795">-1</cx:pt>
          <cx:pt idx="796">-1</cx:pt>
          <cx:pt idx="797">-1</cx:pt>
          <cx:pt idx="798">-1</cx:pt>
          <cx:pt idx="799">-1</cx:pt>
          <cx:pt idx="800">-1</cx:pt>
          <cx:pt idx="801">-1</cx:pt>
          <cx:pt idx="802">-1</cx:pt>
          <cx:pt idx="803">-1</cx:pt>
          <cx:pt idx="804">-1</cx:pt>
          <cx:pt idx="805">-1</cx:pt>
          <cx:pt idx="806">-1</cx:pt>
          <cx:pt idx="807">-1</cx:pt>
          <cx:pt idx="808">-1</cx:pt>
          <cx:pt idx="809">-1</cx:pt>
          <cx:pt idx="810">-1</cx:pt>
          <cx:pt idx="811">-1</cx:pt>
          <cx:pt idx="812">-1</cx:pt>
          <cx:pt idx="813">-1</cx:pt>
          <cx:pt idx="814">-1</cx:pt>
          <cx:pt idx="815">-1</cx:pt>
          <cx:pt idx="816">-1</cx:pt>
          <cx:pt idx="817">-1</cx:pt>
          <cx:pt idx="818">-1</cx:pt>
          <cx:pt idx="819">-1</cx:pt>
          <cx:pt idx="820">-1</cx:pt>
          <cx:pt idx="821">-1</cx:pt>
          <cx:pt idx="822">-1</cx:pt>
          <cx:pt idx="823">-1</cx:pt>
          <cx:pt idx="824">-1</cx:pt>
          <cx:pt idx="825">-1</cx:pt>
          <cx:pt idx="826">-1</cx:pt>
          <cx:pt idx="827">-1</cx:pt>
          <cx:pt idx="828">-1</cx:pt>
          <cx:pt idx="829">-1</cx:pt>
          <cx:pt idx="830">-1</cx:pt>
          <cx:pt idx="831">-1</cx:pt>
          <cx:pt idx="832">-1</cx:pt>
          <cx:pt idx="833">-1</cx:pt>
          <cx:pt idx="834">-1</cx:pt>
          <cx:pt idx="835">-1</cx:pt>
          <cx:pt idx="836">-1</cx:pt>
          <cx:pt idx="837">-1</cx:pt>
          <cx:pt idx="838">-1</cx:pt>
          <cx:pt idx="839">-1</cx:pt>
          <cx:pt idx="840">-1</cx:pt>
          <cx:pt idx="841">-1</cx:pt>
          <cx:pt idx="842">-1</cx:pt>
          <cx:pt idx="843">-1</cx:pt>
          <cx:pt idx="844">-1</cx:pt>
          <cx:pt idx="845">-1</cx:pt>
          <cx:pt idx="846">-1</cx:pt>
          <cx:pt idx="847">-1</cx:pt>
          <cx:pt idx="848">-1</cx:pt>
          <cx:pt idx="849">-1</cx:pt>
          <cx:pt idx="850">-1</cx:pt>
          <cx:pt idx="851">-1</cx:pt>
          <cx:pt idx="852">-1</cx:pt>
          <cx:pt idx="853">-1</cx:pt>
          <cx:pt idx="854">-1</cx:pt>
          <cx:pt idx="855">-1</cx:pt>
          <cx:pt idx="856">-1</cx:pt>
          <cx:pt idx="857">-1</cx:pt>
          <cx:pt idx="858">-1</cx:pt>
          <cx:pt idx="859">-1</cx:pt>
          <cx:pt idx="860">-1</cx:pt>
          <cx:pt idx="861">-1</cx:pt>
          <cx:pt idx="862">-1</cx:pt>
          <cx:pt idx="863">-1</cx:pt>
          <cx:pt idx="864">-1</cx:pt>
          <cx:pt idx="865">-1</cx:pt>
          <cx:pt idx="866">-1</cx:pt>
          <cx:pt idx="867">-1</cx:pt>
          <cx:pt idx="868">-1</cx:pt>
          <cx:pt idx="869">-1</cx:pt>
          <cx:pt idx="870">-1</cx:pt>
          <cx:pt idx="871">-1</cx:pt>
          <cx:pt idx="872">-1</cx:pt>
          <cx:pt idx="873">-1</cx:pt>
          <cx:pt idx="874">-1</cx:pt>
          <cx:pt idx="875">-1</cx:pt>
          <cx:pt idx="876">-1</cx:pt>
          <cx:pt idx="877">-1</cx:pt>
          <cx:pt idx="878">-1</cx:pt>
          <cx:pt idx="879">-1</cx:pt>
          <cx:pt idx="880">-1</cx:pt>
          <cx:pt idx="881">-1</cx:pt>
          <cx:pt idx="882">-1</cx:pt>
          <cx:pt idx="883">-1</cx:pt>
          <cx:pt idx="884">-1</cx:pt>
          <cx:pt idx="885">-1</cx:pt>
          <cx:pt idx="886">-1</cx:pt>
          <cx:pt idx="887">-1</cx:pt>
          <cx:pt idx="888">-1</cx:pt>
          <cx:pt idx="889">-1</cx:pt>
          <cx:pt idx="890">-1</cx:pt>
          <cx:pt idx="891">-1</cx:pt>
          <cx:pt idx="892">-1</cx:pt>
          <cx:pt idx="893">-1</cx:pt>
          <cx:pt idx="894">-1</cx:pt>
          <cx:pt idx="895">-1</cx:pt>
          <cx:pt idx="896">-1</cx:pt>
          <cx:pt idx="897">-1</cx:pt>
          <cx:pt idx="898">-1</cx:pt>
          <cx:pt idx="899">-1</cx:pt>
          <cx:pt idx="900">-1</cx:pt>
          <cx:pt idx="901">-1</cx:pt>
          <cx:pt idx="902">-1</cx:pt>
          <cx:pt idx="903">-1</cx:pt>
          <cx:pt idx="904">-1</cx:pt>
          <cx:pt idx="905">-1</cx:pt>
          <cx:pt idx="906">-1</cx:pt>
          <cx:pt idx="907">-1</cx:pt>
          <cx:pt idx="908">-1</cx:pt>
          <cx:pt idx="909">-1</cx:pt>
          <cx:pt idx="910">-1</cx:pt>
          <cx:pt idx="911">-1</cx:pt>
          <cx:pt idx="912">-1</cx:pt>
          <cx:pt idx="913">-1</cx:pt>
          <cx:pt idx="914">-1</cx:pt>
          <cx:pt idx="915">-1</cx:pt>
          <cx:pt idx="916">-1</cx:pt>
          <cx:pt idx="917">-1</cx:pt>
          <cx:pt idx="918">-1</cx:pt>
          <cx:pt idx="919">-1</cx:pt>
          <cx:pt idx="920">-1</cx:pt>
          <cx:pt idx="921">-1</cx:pt>
          <cx:pt idx="922">-1</cx:pt>
          <cx:pt idx="923">-1</cx:pt>
          <cx:pt idx="924">-1</cx:pt>
          <cx:pt idx="925">-1</cx:pt>
          <cx:pt idx="926">-1</cx:pt>
          <cx:pt idx="927">-1</cx:pt>
          <cx:pt idx="928">-1</cx:pt>
          <cx:pt idx="929">-1</cx:pt>
          <cx:pt idx="930">-1</cx:pt>
          <cx:pt idx="931">-1</cx:pt>
          <cx:pt idx="932">-1</cx:pt>
          <cx:pt idx="933">-1</cx:pt>
          <cx:pt idx="934">-1</cx:pt>
          <cx:pt idx="935">-1</cx:pt>
          <cx:pt idx="936">-1</cx:pt>
          <cx:pt idx="937">-1</cx:pt>
          <cx:pt idx="938">-1</cx:pt>
          <cx:pt idx="939">-1</cx:pt>
          <cx:pt idx="940">-1</cx:pt>
          <cx:pt idx="941">-1</cx:pt>
          <cx:pt idx="942">-1</cx:pt>
          <cx:pt idx="943">-1</cx:pt>
          <cx:pt idx="944">-1</cx:pt>
          <cx:pt idx="945">-1</cx:pt>
          <cx:pt idx="946">-1</cx:pt>
          <cx:pt idx="947">-1</cx:pt>
          <cx:pt idx="948">-1</cx:pt>
          <cx:pt idx="949">-1</cx:pt>
          <cx:pt idx="950">-1</cx:pt>
          <cx:pt idx="951">-1</cx:pt>
          <cx:pt idx="952">-1</cx:pt>
          <cx:pt idx="953">-1</cx:pt>
          <cx:pt idx="954">-1</cx:pt>
          <cx:pt idx="955">-1</cx:pt>
          <cx:pt idx="956">-1</cx:pt>
          <cx:pt idx="957">-1</cx:pt>
          <cx:pt idx="958">-1</cx:pt>
          <cx:pt idx="959">-1</cx:pt>
          <cx:pt idx="960">-1</cx:pt>
          <cx:pt idx="961">-1</cx:pt>
          <cx:pt idx="962">-1</cx:pt>
          <cx:pt idx="963">-1</cx:pt>
          <cx:pt idx="964">-1</cx:pt>
          <cx:pt idx="965">-1</cx:pt>
          <cx:pt idx="966">-1</cx:pt>
          <cx:pt idx="967">-1</cx:pt>
          <cx:pt idx="968">-1</cx:pt>
          <cx:pt idx="969">-1</cx:pt>
          <cx:pt idx="970">-1</cx:pt>
          <cx:pt idx="971">-1</cx:pt>
          <cx:pt idx="972">-1</cx:pt>
          <cx:pt idx="973">-1</cx:pt>
          <cx:pt idx="974">-1</cx:pt>
          <cx:pt idx="975">-1</cx:pt>
          <cx:pt idx="976">-1</cx:pt>
          <cx:pt idx="977">-1</cx:pt>
          <cx:pt idx="978">-1</cx:pt>
          <cx:pt idx="979">-1</cx:pt>
          <cx:pt idx="980">-1</cx:pt>
          <cx:pt idx="981">-1</cx:pt>
          <cx:pt idx="982">-1</cx:pt>
          <cx:pt idx="983">-1</cx:pt>
          <cx:pt idx="984">-1</cx:pt>
          <cx:pt idx="985">-1</cx:pt>
          <cx:pt idx="986">-1</cx:pt>
          <cx:pt idx="987">-1</cx:pt>
          <cx:pt idx="988">-1</cx:pt>
          <cx:pt idx="989">-1</cx:pt>
          <cx:pt idx="990">-1</cx:pt>
          <cx:pt idx="991">-1</cx:pt>
          <cx:pt idx="992">-1</cx:pt>
          <cx:pt idx="993">-1</cx:pt>
          <cx:pt idx="994">-1</cx:pt>
          <cx:pt idx="995">-1</cx:pt>
          <cx:pt idx="996">-1</cx:pt>
          <cx:pt idx="997">-1</cx:pt>
          <cx:pt idx="998">-1</cx:pt>
          <cx:pt idx="999">-1</cx:pt>
          <cx:pt idx="1000">-1</cx:pt>
          <cx:pt idx="1001">-1</cx:pt>
          <cx:pt idx="1002">-1</cx:pt>
          <cx:pt idx="1003">-1</cx:pt>
          <cx:pt idx="1004">-1</cx:pt>
          <cx:pt idx="1005">-1</cx:pt>
          <cx:pt idx="1006">-1</cx:pt>
          <cx:pt idx="1007">-1</cx:pt>
          <cx:pt idx="1008">-1</cx:pt>
          <cx:pt idx="1009">-1</cx:pt>
          <cx:pt idx="1010">-1</cx:pt>
          <cx:pt idx="1011">-1</cx:pt>
          <cx:pt idx="1012">-1</cx:pt>
          <cx:pt idx="1013">-1</cx:pt>
          <cx:pt idx="1014">-1</cx:pt>
          <cx:pt idx="1015">-1</cx:pt>
          <cx:pt idx="1016">-1</cx:pt>
          <cx:pt idx="1017">-1</cx:pt>
          <cx:pt idx="1018">-1</cx:pt>
          <cx:pt idx="1019">-1</cx:pt>
          <cx:pt idx="1020">-1</cx:pt>
          <cx:pt idx="1021">-1</cx:pt>
          <cx:pt idx="1022">-1</cx:pt>
          <cx:pt idx="1023">-1</cx:pt>
          <cx:pt idx="1024">-1</cx:pt>
          <cx:pt idx="1025">-1</cx:pt>
          <cx:pt idx="1026">-1</cx:pt>
          <cx:pt idx="1027">-1</cx:pt>
          <cx:pt idx="1028">-1</cx:pt>
          <cx:pt idx="1029">-1</cx:pt>
          <cx:pt idx="1030">-1</cx:pt>
          <cx:pt idx="1031">-1</cx:pt>
          <cx:pt idx="1032">-1</cx:pt>
          <cx:pt idx="1033">-1</cx:pt>
          <cx:pt idx="1034">-1</cx:pt>
          <cx:pt idx="1035">-1</cx:pt>
          <cx:pt idx="1036">-1</cx:pt>
          <cx:pt idx="1037">-1</cx:pt>
          <cx:pt idx="1038">-1</cx:pt>
          <cx:pt idx="1039">-1</cx:pt>
          <cx:pt idx="1040">-1</cx:pt>
          <cx:pt idx="1041">-1</cx:pt>
          <cx:pt idx="1042">-1</cx:pt>
          <cx:pt idx="1043">-1</cx:pt>
          <cx:pt idx="1044">-1</cx:pt>
          <cx:pt idx="1045">-1</cx:pt>
          <cx:pt idx="1046">-1</cx:pt>
          <cx:pt idx="1047">-1</cx:pt>
          <cx:pt idx="1048">-1</cx:pt>
          <cx:pt idx="1049">-1</cx:pt>
          <cx:pt idx="1050">-1</cx:pt>
          <cx:pt idx="1051">-1</cx:pt>
          <cx:pt idx="1052">-1</cx:pt>
          <cx:pt idx="1053">-1</cx:pt>
          <cx:pt idx="1054">-1</cx:pt>
          <cx:pt idx="1055">-1</cx:pt>
          <cx:pt idx="1056">-1</cx:pt>
          <cx:pt idx="1057">-1</cx:pt>
          <cx:pt idx="1058">-1</cx:pt>
          <cx:pt idx="1059">-1</cx:pt>
          <cx:pt idx="1060">-1</cx:pt>
          <cx:pt idx="1061">-1</cx:pt>
          <cx:pt idx="1062">-1</cx:pt>
          <cx:pt idx="1063">-1</cx:pt>
          <cx:pt idx="1064">-1</cx:pt>
          <cx:pt idx="1065">-1</cx:pt>
          <cx:pt idx="1066">-1</cx:pt>
          <cx:pt idx="1067">-1</cx:pt>
          <cx:pt idx="1068">-1</cx:pt>
          <cx:pt idx="1069">-1</cx:pt>
          <cx:pt idx="1070">-1</cx:pt>
          <cx:pt idx="1071">-1</cx:pt>
          <cx:pt idx="1072">-1</cx:pt>
          <cx:pt idx="1073">-1</cx:pt>
          <cx:pt idx="1074">-1</cx:pt>
          <cx:pt idx="1075">-1</cx:pt>
          <cx:pt idx="1076">-1</cx:pt>
          <cx:pt idx="1077">-1</cx:pt>
          <cx:pt idx="1078">-1</cx:pt>
          <cx:pt idx="1079">-1</cx:pt>
          <cx:pt idx="1080">-1</cx:pt>
          <cx:pt idx="1081">-1</cx:pt>
          <cx:pt idx="1082">-1</cx:pt>
          <cx:pt idx="1083">-1</cx:pt>
          <cx:pt idx="1084">-1</cx:pt>
          <cx:pt idx="1085">-1</cx:pt>
          <cx:pt idx="1086">-1</cx:pt>
          <cx:pt idx="1087">-1</cx:pt>
          <cx:pt idx="1088">-1</cx:pt>
          <cx:pt idx="1089">-1</cx:pt>
          <cx:pt idx="1090">-1</cx:pt>
          <cx:pt idx="1091">-1</cx:pt>
          <cx:pt idx="1092">-1</cx:pt>
          <cx:pt idx="1093">-1</cx:pt>
          <cx:pt idx="1094">-1</cx:pt>
          <cx:pt idx="1095">-1</cx:pt>
          <cx:pt idx="1096">-1</cx:pt>
          <cx:pt idx="1097">-1</cx:pt>
          <cx:pt idx="1098">-1</cx:pt>
          <cx:pt idx="1099">-1</cx:pt>
          <cx:pt idx="1100">-1</cx:pt>
          <cx:pt idx="1101">-1</cx:pt>
          <cx:pt idx="1102">-1</cx:pt>
          <cx:pt idx="1103">-1</cx:pt>
          <cx:pt idx="1104">-1</cx:pt>
          <cx:pt idx="1105">-1</cx:pt>
          <cx:pt idx="1106">-1</cx:pt>
          <cx:pt idx="1107">-1</cx:pt>
          <cx:pt idx="1108">-1</cx:pt>
          <cx:pt idx="1109">-1</cx:pt>
          <cx:pt idx="1110">-1</cx:pt>
          <cx:pt idx="1111">-1</cx:pt>
          <cx:pt idx="1112">-1</cx:pt>
          <cx:pt idx="1113">-1</cx:pt>
          <cx:pt idx="1114">-1</cx:pt>
          <cx:pt idx="1115">-1</cx:pt>
          <cx:pt idx="1116">-1</cx:pt>
          <cx:pt idx="1117">-1</cx:pt>
          <cx:pt idx="1118">-1</cx:pt>
          <cx:pt idx="1119">-1</cx:pt>
          <cx:pt idx="1120">-1</cx:pt>
          <cx:pt idx="1121">-1</cx:pt>
          <cx:pt idx="1122">-1</cx:pt>
          <cx:pt idx="1123">-1</cx:pt>
          <cx:pt idx="1124">-1</cx:pt>
          <cx:pt idx="1125">-1</cx:pt>
          <cx:pt idx="1126">-1</cx:pt>
          <cx:pt idx="1127">-1</cx:pt>
          <cx:pt idx="1128">-1</cx:pt>
          <cx:pt idx="1129">-1</cx:pt>
          <cx:pt idx="1130">-1</cx:pt>
          <cx:pt idx="1131">-1</cx:pt>
          <cx:pt idx="1132">-1</cx:pt>
          <cx:pt idx="1133">-1</cx:pt>
          <cx:pt idx="1134">-1</cx:pt>
          <cx:pt idx="1135">-1</cx:pt>
          <cx:pt idx="1136">-1</cx:pt>
          <cx:pt idx="1137">-1</cx:pt>
          <cx:pt idx="1138">-1</cx:pt>
          <cx:pt idx="1139">-1</cx:pt>
          <cx:pt idx="1140">-1</cx:pt>
          <cx:pt idx="1141">-1</cx:pt>
          <cx:pt idx="1142">-1</cx:pt>
          <cx:pt idx="1143">-1</cx:pt>
          <cx:pt idx="1144">-1</cx:pt>
          <cx:pt idx="1145">-1</cx:pt>
          <cx:pt idx="1146">-1</cx:pt>
          <cx:pt idx="1147">-1</cx:pt>
          <cx:pt idx="1148">-1</cx:pt>
          <cx:pt idx="1149">-1</cx:pt>
          <cx:pt idx="1150">-1</cx:pt>
          <cx:pt idx="1151">-1</cx:pt>
          <cx:pt idx="1152">-1</cx:pt>
          <cx:pt idx="1153">-1</cx:pt>
          <cx:pt idx="1154">-1</cx:pt>
          <cx:pt idx="1155">-1</cx:pt>
          <cx:pt idx="1156">-1</cx:pt>
          <cx:pt idx="1157">-1</cx:pt>
          <cx:pt idx="1158">-1</cx:pt>
          <cx:pt idx="1159">-1</cx:pt>
          <cx:pt idx="1160">-1</cx:pt>
          <cx:pt idx="1161">-1</cx:pt>
          <cx:pt idx="1162">-1</cx:pt>
          <cx:pt idx="1163">-1</cx:pt>
          <cx:pt idx="1164">-1</cx:pt>
          <cx:pt idx="1165">-1</cx:pt>
          <cx:pt idx="1166">-1</cx:pt>
          <cx:pt idx="1167">-1</cx:pt>
          <cx:pt idx="1168">-1</cx:pt>
          <cx:pt idx="1169">-1</cx:pt>
          <cx:pt idx="1170">-1</cx:pt>
          <cx:pt idx="1171">-1</cx:pt>
          <cx:pt idx="1172">-1</cx:pt>
          <cx:pt idx="1173">-1</cx:pt>
          <cx:pt idx="1174">-1</cx:pt>
          <cx:pt idx="1175">-1</cx:pt>
          <cx:pt idx="1176">-1</cx:pt>
          <cx:pt idx="1177">-1</cx:pt>
          <cx:pt idx="1178">-1</cx:pt>
          <cx:pt idx="1179">-1</cx:pt>
          <cx:pt idx="1180">-1</cx:pt>
          <cx:pt idx="1181">-1</cx:pt>
          <cx:pt idx="1182">-1</cx:pt>
          <cx:pt idx="1183">-1</cx:pt>
          <cx:pt idx="1184">-1</cx:pt>
          <cx:pt idx="1185">-1</cx:pt>
          <cx:pt idx="1186">-1</cx:pt>
          <cx:pt idx="1187">-1</cx:pt>
          <cx:pt idx="1188">-1</cx:pt>
          <cx:pt idx="1189">-1</cx:pt>
          <cx:pt idx="1190">-1</cx:pt>
          <cx:pt idx="1191">-1</cx:pt>
          <cx:pt idx="1192">-1</cx:pt>
          <cx:pt idx="1193">-1</cx:pt>
          <cx:pt idx="1194">-1</cx:pt>
          <cx:pt idx="1195">-1</cx:pt>
          <cx:pt idx="1196">-1</cx:pt>
          <cx:pt idx="1197">-1</cx:pt>
          <cx:pt idx="1198">-1</cx:pt>
          <cx:pt idx="1199">-1</cx:pt>
          <cx:pt idx="1200">-1</cx:pt>
          <cx:pt idx="1201">-1</cx:pt>
          <cx:pt idx="1202">-1</cx:pt>
          <cx:pt idx="1203">-1</cx:pt>
          <cx:pt idx="1204">-1</cx:pt>
          <cx:pt idx="1205">-1</cx:pt>
          <cx:pt idx="1206">-1</cx:pt>
          <cx:pt idx="1207">-1</cx:pt>
          <cx:pt idx="1208">-1</cx:pt>
          <cx:pt idx="1209">-1</cx:pt>
          <cx:pt idx="1210">-1</cx:pt>
          <cx:pt idx="1211">-1</cx:pt>
          <cx:pt idx="1212">-1</cx:pt>
          <cx:pt idx="1213">-1</cx:pt>
          <cx:pt idx="1214">-1</cx:pt>
          <cx:pt idx="1215">-1</cx:pt>
          <cx:pt idx="1216">-1</cx:pt>
          <cx:pt idx="1217">-1</cx:pt>
          <cx:pt idx="1218">-1</cx:pt>
          <cx:pt idx="1219">-1</cx:pt>
          <cx:pt idx="1220">-1</cx:pt>
          <cx:pt idx="1221">-1</cx:pt>
          <cx:pt idx="1222">-1</cx:pt>
          <cx:pt idx="1223">-1</cx:pt>
          <cx:pt idx="1224">-1</cx:pt>
          <cx:pt idx="1225">-1</cx:pt>
          <cx:pt idx="1226">-1</cx:pt>
          <cx:pt idx="1227">-1</cx:pt>
          <cx:pt idx="1228">-1</cx:pt>
          <cx:pt idx="1229">-1</cx:pt>
          <cx:pt idx="1230">-1</cx:pt>
          <cx:pt idx="1231">-1</cx:pt>
          <cx:pt idx="1232">-1</cx:pt>
          <cx:pt idx="1233">-1</cx:pt>
          <cx:pt idx="1234">-1</cx:pt>
          <cx:pt idx="1235">-1</cx:pt>
          <cx:pt idx="1236">-1</cx:pt>
          <cx:pt idx="1237">-1</cx:pt>
          <cx:pt idx="1238">-1</cx:pt>
          <cx:pt idx="1239">-1</cx:pt>
          <cx:pt idx="1240">-1</cx:pt>
          <cx:pt idx="1241">-1</cx:pt>
          <cx:pt idx="1242">-1</cx:pt>
          <cx:pt idx="1243">-1</cx:pt>
          <cx:pt idx="1244">-1</cx:pt>
          <cx:pt idx="1245">-1</cx:pt>
          <cx:pt idx="1246">-1</cx:pt>
          <cx:pt idx="1247">-1</cx:pt>
          <cx:pt idx="1248">-1</cx:pt>
          <cx:pt idx="1249">-1</cx:pt>
          <cx:pt idx="1250">-1</cx:pt>
          <cx:pt idx="1251">-1</cx:pt>
          <cx:pt idx="1252">-1</cx:pt>
          <cx:pt idx="1253">-1</cx:pt>
          <cx:pt idx="1254">-1</cx:pt>
          <cx:pt idx="1255">-1</cx:pt>
          <cx:pt idx="1256">-1</cx:pt>
          <cx:pt idx="1257">-1</cx:pt>
          <cx:pt idx="1258">-1</cx:pt>
          <cx:pt idx="1259">-1</cx:pt>
          <cx:pt idx="1260">-1</cx:pt>
          <cx:pt idx="1261">-1</cx:pt>
          <cx:pt idx="1262">-1</cx:pt>
          <cx:pt idx="1263">-1</cx:pt>
          <cx:pt idx="1264">-1</cx:pt>
          <cx:pt idx="1265">-1</cx:pt>
          <cx:pt idx="1266">-1</cx:pt>
          <cx:pt idx="1267">-1</cx:pt>
          <cx:pt idx="1268">-1</cx:pt>
          <cx:pt idx="1269">-1</cx:pt>
          <cx:pt idx="1270">-1</cx:pt>
          <cx:pt idx="1271">-1</cx:pt>
          <cx:pt idx="1272">-1</cx:pt>
          <cx:pt idx="1273">-1</cx:pt>
          <cx:pt idx="1274">-1</cx:pt>
          <cx:pt idx="1275">-1</cx:pt>
          <cx:pt idx="1276">-1</cx:pt>
          <cx:pt idx="1277">-1</cx:pt>
          <cx:pt idx="1278">-1</cx:pt>
          <cx:pt idx="1279">-1</cx:pt>
          <cx:pt idx="1280">-1</cx:pt>
          <cx:pt idx="1281">-1</cx:pt>
          <cx:pt idx="1282">-1</cx:pt>
          <cx:pt idx="1283">-1</cx:pt>
          <cx:pt idx="1284">-1</cx:pt>
          <cx:pt idx="1285">-1</cx:pt>
          <cx:pt idx="1286">-1</cx:pt>
          <cx:pt idx="1287">-1</cx:pt>
          <cx:pt idx="1288">-1</cx:pt>
          <cx:pt idx="1289">-1</cx:pt>
          <cx:pt idx="1290">-1</cx:pt>
          <cx:pt idx="1291">-1</cx:pt>
          <cx:pt idx="1292">-1</cx:pt>
          <cx:pt idx="1293">-1</cx:pt>
          <cx:pt idx="1294">-1</cx:pt>
          <cx:pt idx="1295">-1</cx:pt>
          <cx:pt idx="1296">-1</cx:pt>
          <cx:pt idx="1297">-1</cx:pt>
          <cx:pt idx="1298">-1</cx:pt>
          <cx:pt idx="1299">-1</cx:pt>
          <cx:pt idx="1300">-1</cx:pt>
          <cx:pt idx="1301">-1</cx:pt>
          <cx:pt idx="1302">-1</cx:pt>
          <cx:pt idx="1303">-1</cx:pt>
          <cx:pt idx="1304">-1</cx:pt>
          <cx:pt idx="1305">-1</cx:pt>
          <cx:pt idx="1306">-1</cx:pt>
          <cx:pt idx="1307">-1</cx:pt>
          <cx:pt idx="1308">-1</cx:pt>
          <cx:pt idx="1309">-1</cx:pt>
          <cx:pt idx="1310">-1</cx:pt>
          <cx:pt idx="1311">-1</cx:pt>
          <cx:pt idx="1312">-1</cx:pt>
          <cx:pt idx="1313">-1</cx:pt>
          <cx:pt idx="1314">-1</cx:pt>
          <cx:pt idx="1315">-1</cx:pt>
          <cx:pt idx="1316">-1</cx:pt>
          <cx:pt idx="1317">-1</cx:pt>
          <cx:pt idx="1318">-1</cx:pt>
          <cx:pt idx="1319">-1</cx:pt>
          <cx:pt idx="1320">-1</cx:pt>
          <cx:pt idx="1321">-1</cx:pt>
          <cx:pt idx="1322">-1</cx:pt>
          <cx:pt idx="1323">-1</cx:pt>
          <cx:pt idx="1324">-1</cx:pt>
          <cx:pt idx="1325">-1</cx:pt>
          <cx:pt idx="1326">-1</cx:pt>
          <cx:pt idx="1327">-1</cx:pt>
          <cx:pt idx="1328">-1</cx:pt>
          <cx:pt idx="1329">-1</cx:pt>
          <cx:pt idx="1330">-1</cx:pt>
          <cx:pt idx="1331">-1</cx:pt>
          <cx:pt idx="1332">-1</cx:pt>
          <cx:pt idx="1333">-1</cx:pt>
          <cx:pt idx="1334">-1</cx:pt>
          <cx:pt idx="1335">-1</cx:pt>
          <cx:pt idx="1336">-1</cx:pt>
          <cx:pt idx="1337">-1</cx:pt>
          <cx:pt idx="1338">-1</cx:pt>
          <cx:pt idx="1339">-1</cx:pt>
          <cx:pt idx="1340">-1</cx:pt>
          <cx:pt idx="1341">-1</cx:pt>
          <cx:pt idx="1342">-1</cx:pt>
          <cx:pt idx="1343">-1</cx:pt>
          <cx:pt idx="1344">-1</cx:pt>
          <cx:pt idx="1345">-1</cx:pt>
          <cx:pt idx="1346">-1</cx:pt>
          <cx:pt idx="1347">-1</cx:pt>
          <cx:pt idx="1348">-1</cx:pt>
          <cx:pt idx="1349">-1</cx:pt>
          <cx:pt idx="1350">-1</cx:pt>
          <cx:pt idx="1351">-1</cx:pt>
          <cx:pt idx="1352">-1</cx:pt>
          <cx:pt idx="1353">-1</cx:pt>
          <cx:pt idx="1354">-1</cx:pt>
          <cx:pt idx="1355">-1</cx:pt>
          <cx:pt idx="1356">-1</cx:pt>
          <cx:pt idx="1357">-1</cx:pt>
          <cx:pt idx="1358">-1</cx:pt>
          <cx:pt idx="1359">-1</cx:pt>
          <cx:pt idx="1360">-1</cx:pt>
          <cx:pt idx="1361">-1</cx:pt>
          <cx:pt idx="1362">-1</cx:pt>
          <cx:pt idx="1363">-1</cx:pt>
          <cx:pt idx="1364">-1</cx:pt>
          <cx:pt idx="1365">-1</cx:pt>
          <cx:pt idx="1366">-1</cx:pt>
          <cx:pt idx="1367">-1</cx:pt>
          <cx:pt idx="1368">-1</cx:pt>
          <cx:pt idx="1369">-1</cx:pt>
          <cx:pt idx="1370">-1</cx:pt>
          <cx:pt idx="1371">-1</cx:pt>
          <cx:pt idx="1372">-1</cx:pt>
          <cx:pt idx="1373">-1</cx:pt>
          <cx:pt idx="1374">-1</cx:pt>
          <cx:pt idx="1375">-1</cx:pt>
          <cx:pt idx="1376">-1</cx:pt>
          <cx:pt idx="1377">-1</cx:pt>
          <cx:pt idx="1378">-1</cx:pt>
          <cx:pt idx="1379">-1</cx:pt>
          <cx:pt idx="1380">-1</cx:pt>
          <cx:pt idx="1381">-1</cx:pt>
          <cx:pt idx="1382">-1</cx:pt>
          <cx:pt idx="1383">-1</cx:pt>
          <cx:pt idx="1384">-1</cx:pt>
          <cx:pt idx="1385">-1</cx:pt>
          <cx:pt idx="1386">-1</cx:pt>
          <cx:pt idx="1387">-1</cx:pt>
          <cx:pt idx="1388">-1</cx:pt>
          <cx:pt idx="1389">-1</cx:pt>
          <cx:pt idx="1390">-1</cx:pt>
          <cx:pt idx="1391">-1</cx:pt>
          <cx:pt idx="1392">-1</cx:pt>
          <cx:pt idx="1393">-1</cx:pt>
          <cx:pt idx="1394">-1</cx:pt>
          <cx:pt idx="1395">-1</cx:pt>
          <cx:pt idx="1396">-1</cx:pt>
          <cx:pt idx="1397">-1</cx:pt>
          <cx:pt idx="1398">-1</cx:pt>
          <cx:pt idx="1399">-1</cx:pt>
          <cx:pt idx="1400">-1</cx:pt>
          <cx:pt idx="1401">-1</cx:pt>
          <cx:pt idx="1402">-1</cx:pt>
          <cx:pt idx="1403">-1</cx:pt>
          <cx:pt idx="1404">-1</cx:pt>
          <cx:pt idx="1405">-1</cx:pt>
          <cx:pt idx="1406">-1</cx:pt>
          <cx:pt idx="1407">-1</cx:pt>
          <cx:pt idx="1408">-1</cx:pt>
          <cx:pt idx="1409">-1</cx:pt>
          <cx:pt idx="1410">-1</cx:pt>
          <cx:pt idx="1411">-1</cx:pt>
          <cx:pt idx="1412">-1</cx:pt>
          <cx:pt idx="1413">-1</cx:pt>
          <cx:pt idx="1414">-1</cx:pt>
          <cx:pt idx="1415">-1</cx:pt>
          <cx:pt idx="1416">-1</cx:pt>
          <cx:pt idx="1417">-1</cx:pt>
          <cx:pt idx="1418">-1</cx:pt>
          <cx:pt idx="1419">-1</cx:pt>
          <cx:pt idx="1420">-1</cx:pt>
          <cx:pt idx="1421">-1</cx:pt>
          <cx:pt idx="1422">-1</cx:pt>
          <cx:pt idx="1423">-1</cx:pt>
          <cx:pt idx="1424">-1</cx:pt>
          <cx:pt idx="1425">-1</cx:pt>
          <cx:pt idx="1426">-1</cx:pt>
          <cx:pt idx="1427">-1</cx:pt>
          <cx:pt idx="1428">-1</cx:pt>
          <cx:pt idx="1429">-1</cx:pt>
          <cx:pt idx="1430">-1</cx:pt>
          <cx:pt idx="1431">-1</cx:pt>
          <cx:pt idx="1432">-1</cx:pt>
          <cx:pt idx="1433">-1</cx:pt>
          <cx:pt idx="1434">-1</cx:pt>
          <cx:pt idx="1435">-1</cx:pt>
          <cx:pt idx="1436">-1</cx:pt>
          <cx:pt idx="1437">-1</cx:pt>
          <cx:pt idx="1438">-1</cx:pt>
          <cx:pt idx="1439">-1</cx:pt>
          <cx:pt idx="1440">-1</cx:pt>
          <cx:pt idx="1441">-1</cx:pt>
          <cx:pt idx="1442">-1</cx:pt>
          <cx:pt idx="1443">-1</cx:pt>
          <cx:pt idx="1444">-1</cx:pt>
          <cx:pt idx="1445">-1</cx:pt>
          <cx:pt idx="1446">-1</cx:pt>
          <cx:pt idx="1447">-1</cx:pt>
          <cx:pt idx="1448">-1</cx:pt>
          <cx:pt idx="1449">-1</cx:pt>
          <cx:pt idx="1450">-1</cx:pt>
          <cx:pt idx="1451">-1</cx:pt>
          <cx:pt idx="1452">-1</cx:pt>
          <cx:pt idx="1453">-1</cx:pt>
          <cx:pt idx="1454">-1</cx:pt>
          <cx:pt idx="1455">-1</cx:pt>
          <cx:pt idx="1456">-1</cx:pt>
          <cx:pt idx="1457">-1</cx:pt>
          <cx:pt idx="1458">-1</cx:pt>
          <cx:pt idx="1459">-1</cx:pt>
          <cx:pt idx="1460">-1</cx:pt>
          <cx:pt idx="1461">-1</cx:pt>
          <cx:pt idx="1462">-1</cx:pt>
          <cx:pt idx="1463">-1</cx:pt>
          <cx:pt idx="1464">-1</cx:pt>
          <cx:pt idx="1465">-1</cx:pt>
          <cx:pt idx="1466">-1</cx:pt>
          <cx:pt idx="1467">-1</cx:pt>
          <cx:pt idx="1468">-1</cx:pt>
          <cx:pt idx="1469">-1</cx:pt>
          <cx:pt idx="1470">-1</cx:pt>
          <cx:pt idx="1471">-1</cx:pt>
          <cx:pt idx="1472">-1</cx:pt>
          <cx:pt idx="1473">-1</cx:pt>
          <cx:pt idx="1474">-1</cx:pt>
          <cx:pt idx="1475">-1</cx:pt>
          <cx:pt idx="1476">-1</cx:pt>
          <cx:pt idx="1477">-1</cx:pt>
          <cx:pt idx="1478">-1</cx:pt>
          <cx:pt idx="1479">-1</cx:pt>
          <cx:pt idx="1480">-1</cx:pt>
          <cx:pt idx="1481">-1</cx:pt>
          <cx:pt idx="1482">-1</cx:pt>
          <cx:pt idx="1483">-1</cx:pt>
          <cx:pt idx="1484">-1</cx:pt>
          <cx:pt idx="1485">-1</cx:pt>
          <cx:pt idx="1486">-1</cx:pt>
          <cx:pt idx="1487">-1</cx:pt>
          <cx:pt idx="1488">-1</cx:pt>
          <cx:pt idx="1489">-1</cx:pt>
          <cx:pt idx="1490">-1</cx:pt>
          <cx:pt idx="1491">-1</cx:pt>
          <cx:pt idx="1492">-1</cx:pt>
          <cx:pt idx="1493">-1</cx:pt>
          <cx:pt idx="1494">-1</cx:pt>
          <cx:pt idx="1495">-1</cx:pt>
          <cx:pt idx="1496">-1</cx:pt>
          <cx:pt idx="1497">-1</cx:pt>
          <cx:pt idx="1498">-1</cx:pt>
          <cx:pt idx="1499">-1</cx:pt>
          <cx:pt idx="1500">-1</cx:pt>
          <cx:pt idx="1501">-1</cx:pt>
          <cx:pt idx="1502">-1</cx:pt>
          <cx:pt idx="1503">-1</cx:pt>
          <cx:pt idx="1504">-1</cx:pt>
          <cx:pt idx="1505">-1</cx:pt>
          <cx:pt idx="1506">-1</cx:pt>
          <cx:pt idx="1507">-1</cx:pt>
          <cx:pt idx="1508">-1</cx:pt>
          <cx:pt idx="1509">-1</cx:pt>
          <cx:pt idx="1510">-1</cx:pt>
          <cx:pt idx="1511">-1</cx:pt>
          <cx:pt idx="1512">-1</cx:pt>
          <cx:pt idx="1513">-1</cx:pt>
          <cx:pt idx="1514">-1</cx:pt>
          <cx:pt idx="1515">-1</cx:pt>
          <cx:pt idx="1516">-1</cx:pt>
          <cx:pt idx="1517">-1</cx:pt>
          <cx:pt idx="1518">-1</cx:pt>
          <cx:pt idx="1519">-1</cx:pt>
          <cx:pt idx="1520">-1</cx:pt>
          <cx:pt idx="1521">-1</cx:pt>
          <cx:pt idx="1522">-1</cx:pt>
          <cx:pt idx="1523">-1</cx:pt>
          <cx:pt idx="1524">-1</cx:pt>
          <cx:pt idx="1525">-1</cx:pt>
          <cx:pt idx="1526">-1</cx:pt>
          <cx:pt idx="1527">-1</cx:pt>
          <cx:pt idx="1528">-1</cx:pt>
          <cx:pt idx="1529">-1</cx:pt>
          <cx:pt idx="1530">-1</cx:pt>
          <cx:pt idx="1531">-1</cx:pt>
          <cx:pt idx="1532">-1</cx:pt>
          <cx:pt idx="1533">-1</cx:pt>
          <cx:pt idx="1534">-1</cx:pt>
          <cx:pt idx="1535">-1</cx:pt>
          <cx:pt idx="1536">-1</cx:pt>
          <cx:pt idx="1537">-1</cx:pt>
          <cx:pt idx="1538">-1</cx:pt>
          <cx:pt idx="1539">-1</cx:pt>
          <cx:pt idx="1540">-1</cx:pt>
          <cx:pt idx="1541">-1</cx:pt>
          <cx:pt idx="1542">-1</cx:pt>
          <cx:pt idx="1543">-1</cx:pt>
          <cx:pt idx="1544">-1</cx:pt>
          <cx:pt idx="1545">-1</cx:pt>
          <cx:pt idx="1546">-1</cx:pt>
          <cx:pt idx="1547">-1</cx:pt>
          <cx:pt idx="1548">-1</cx:pt>
          <cx:pt idx="1549">-1</cx:pt>
          <cx:pt idx="1550">-1</cx:pt>
          <cx:pt idx="1551">-1</cx:pt>
          <cx:pt idx="1552">-1</cx:pt>
          <cx:pt idx="1553">-1</cx:pt>
          <cx:pt idx="1554">-1</cx:pt>
          <cx:pt idx="1555">-1</cx:pt>
          <cx:pt idx="1556">-1</cx:pt>
          <cx:pt idx="1557">-1</cx:pt>
          <cx:pt idx="1558">-1</cx:pt>
          <cx:pt idx="1559">-1</cx:pt>
          <cx:pt idx="1560">-1</cx:pt>
          <cx:pt idx="1561">-1</cx:pt>
          <cx:pt idx="1562">-1</cx:pt>
          <cx:pt idx="1563">-1</cx:pt>
          <cx:pt idx="1564">-1</cx:pt>
          <cx:pt idx="1565">-1</cx:pt>
          <cx:pt idx="1566">-1</cx:pt>
          <cx:pt idx="1567">-1</cx:pt>
          <cx:pt idx="1568">-1</cx:pt>
          <cx:pt idx="1569">-1</cx:pt>
          <cx:pt idx="1570">-1</cx:pt>
          <cx:pt idx="1571">-1</cx:pt>
          <cx:pt idx="1572">-1</cx:pt>
          <cx:pt idx="1573">-1</cx:pt>
          <cx:pt idx="1574">-1</cx:pt>
          <cx:pt idx="1575">-1</cx:pt>
          <cx:pt idx="1576">-1</cx:pt>
          <cx:pt idx="1577">-1</cx:pt>
          <cx:pt idx="1578">-1</cx:pt>
          <cx:pt idx="1579">-1</cx:pt>
          <cx:pt idx="1580">-1</cx:pt>
          <cx:pt idx="1581">-1</cx:pt>
          <cx:pt idx="1582">-1</cx:pt>
          <cx:pt idx="1583">-1</cx:pt>
          <cx:pt idx="1584">-1</cx:pt>
          <cx:pt idx="1585">-1</cx:pt>
          <cx:pt idx="1586">-1</cx:pt>
          <cx:pt idx="1587">-1</cx:pt>
          <cx:pt idx="1588">-1</cx:pt>
          <cx:pt idx="1589">-1</cx:pt>
          <cx:pt idx="1590">-1</cx:pt>
          <cx:pt idx="1591">-1</cx:pt>
          <cx:pt idx="1592">-1</cx:pt>
          <cx:pt idx="1593">-1</cx:pt>
          <cx:pt idx="1594">-1</cx:pt>
          <cx:pt idx="1595">-1</cx:pt>
          <cx:pt idx="1596">-1</cx:pt>
          <cx:pt idx="1597">-1</cx:pt>
          <cx:pt idx="1598">-1</cx:pt>
          <cx:pt idx="1599">-1</cx:pt>
          <cx:pt idx="1600">-1</cx:pt>
          <cx:pt idx="1601">-1</cx:pt>
          <cx:pt idx="1602">-1</cx:pt>
          <cx:pt idx="1603">-1</cx:pt>
          <cx:pt idx="1604">-1</cx:pt>
          <cx:pt idx="1605">-1</cx:pt>
          <cx:pt idx="1606">-1</cx:pt>
          <cx:pt idx="1607">-1</cx:pt>
          <cx:pt idx="1608">-1</cx:pt>
          <cx:pt idx="1609">-1</cx:pt>
          <cx:pt idx="1610">-1</cx:pt>
          <cx:pt idx="1611">-1</cx:pt>
          <cx:pt idx="1612">-1</cx:pt>
          <cx:pt idx="1613">-1</cx:pt>
          <cx:pt idx="1614">-1</cx:pt>
          <cx:pt idx="1615">-1</cx:pt>
          <cx:pt idx="1616">-1</cx:pt>
          <cx:pt idx="1617">-1</cx:pt>
          <cx:pt idx="1618">-1</cx:pt>
          <cx:pt idx="1619">-1</cx:pt>
          <cx:pt idx="1620">-1</cx:pt>
          <cx:pt idx="1621">-1</cx:pt>
          <cx:pt idx="1622">-1</cx:pt>
          <cx:pt idx="1623">-1</cx:pt>
          <cx:pt idx="1624">-1</cx:pt>
          <cx:pt idx="1625">-1</cx:pt>
          <cx:pt idx="1626">-1</cx:pt>
          <cx:pt idx="1627">-1</cx:pt>
          <cx:pt idx="1628">-1</cx:pt>
          <cx:pt idx="1629">-1</cx:pt>
          <cx:pt idx="1630">-1</cx:pt>
          <cx:pt idx="1631">-1</cx:pt>
          <cx:pt idx="1632">-1</cx:pt>
          <cx:pt idx="1633">-1</cx:pt>
          <cx:pt idx="1634">-1</cx:pt>
          <cx:pt idx="1635">-1</cx:pt>
          <cx:pt idx="1636">-1</cx:pt>
          <cx:pt idx="1637">-1</cx:pt>
          <cx:pt idx="1638">-1</cx:pt>
          <cx:pt idx="1639">-1</cx:pt>
          <cx:pt idx="1640">-1</cx:pt>
          <cx:pt idx="1641">-1</cx:pt>
          <cx:pt idx="1642">-1</cx:pt>
          <cx:pt idx="1643">-1</cx:pt>
          <cx:pt idx="1644">-1</cx:pt>
          <cx:pt idx="1645">-1</cx:pt>
          <cx:pt idx="1646">-1</cx:pt>
          <cx:pt idx="1647">-1</cx:pt>
          <cx:pt idx="1648">-1</cx:pt>
          <cx:pt idx="1649">-1</cx:pt>
          <cx:pt idx="1650">-1</cx:pt>
          <cx:pt idx="1651">-1</cx:pt>
          <cx:pt idx="1652">-1</cx:pt>
          <cx:pt idx="1653">1.5328156319999999</cx:pt>
          <cx:pt idx="1654">3.0378256170000002</cx:pt>
          <cx:pt idx="1655">3.510771509</cx:pt>
          <cx:pt idx="1656">5</cx:pt>
          <cx:pt idx="1657">33</cx:pt>
          <cx:pt idx="1658">33.496151220000002</cx:pt>
          <cx:pt idx="1659">33.99605734</cx:pt>
          <cx:pt idx="1660">34.69522499</cx:pt>
          <cx:pt idx="1661">35.539082559999997</cx:pt>
          <cx:pt idx="1662">37</cx:pt>
          <cx:pt idx="1663">49</cx:pt>
          <cx:pt idx="1664">49.399500150000001</cx:pt>
          <cx:pt idx="1665">50.210697340000003</cx:pt>
          <cx:pt idx="1666">50.600599870000003</cx:pt>
          <cx:pt idx="1667">51.39620094</cx:pt>
          <cx:pt idx="1668">51.798700320000002</cx:pt>
          <cx:pt idx="1669">52.213796539999997</cx:pt>
          <cx:pt idx="1670">52.603699079999998</cx:pt>
          <cx:pt idx="1671">53.000000020000002</cx:pt>
          <cx:pt idx="1672">53.399300189999998</cx:pt>
          <cx:pt idx="1673">53.80179957</cx:pt>
          <cx:pt idx="1674">54.19510125</cx:pt>
          <cx:pt idx="1675">54.999900019999998</cx:pt>
          <cx:pt idx="1676">55.39940017</cx:pt>
          <cx:pt idx="1677">56.195001240000003</cx:pt>
          <cx:pt idx="1678">56.597500619999998</cx:pt>
          <cx:pt idx="1679">56.600499890000002</cx:pt>
          <cx:pt idx="1680">57</cx:pt>
          <cx:pt idx="1681">66</cx:pt>
          <cx:pt idx="1682">66</cx:pt>
          <cx:pt idx="1683">66</cx:pt>
          <cx:pt idx="1684">66</cx:pt>
          <cx:pt idx="1685">66</cx:pt>
          <cx:pt idx="1686">66</cx:pt>
          <cx:pt idx="1687">66</cx:pt>
          <cx:pt idx="1688">66</cx:pt>
          <cx:pt idx="1689">66</cx:pt>
          <cx:pt idx="1690">66</cx:pt>
          <cx:pt idx="1691">66</cx:pt>
          <cx:pt idx="1692">66</cx:pt>
          <cx:pt idx="1693">66</cx:pt>
          <cx:pt idx="1694">66</cx:pt>
          <cx:pt idx="1695">66</cx:pt>
          <cx:pt idx="1696">66</cx:pt>
          <cx:pt idx="1697">66</cx:pt>
          <cx:pt idx="1698">66</cx:pt>
          <cx:pt idx="1699">66</cx:pt>
          <cx:pt idx="1700">66</cx:pt>
          <cx:pt idx="1701">66</cx:pt>
          <cx:pt idx="1702">66</cx:pt>
          <cx:pt idx="1703">66</cx:pt>
          <cx:pt idx="1704">66</cx:pt>
          <cx:pt idx="1705">66</cx:pt>
          <cx:pt idx="1706">66</cx:pt>
          <cx:pt idx="1707">66</cx:pt>
          <cx:pt idx="1708">66</cx:pt>
          <cx:pt idx="1709">66</cx:pt>
          <cx:pt idx="1710">66</cx:pt>
          <cx:pt idx="1711">66</cx:pt>
          <cx:pt idx="1712">66</cx:pt>
          <cx:pt idx="1713">66</cx:pt>
          <cx:pt idx="1714">66</cx:pt>
          <cx:pt idx="1715">66</cx:pt>
          <cx:pt idx="1716">66</cx:pt>
          <cx:pt idx="1717">64.328905849999998</cx:pt>
          <cx:pt idx="1718">61</cx:pt>
          <cx:pt idx="1719">56.60299157</cx:pt>
          <cx:pt idx="1720">46.192535059999997</cx:pt>
          <cx:pt idx="1721">16.57760519</cx:pt>
          <cx:pt idx="1722">2</cx:pt>
          <cx:pt idx="1723">0</cx:pt>
          <cx:pt idx="1724">0</cx:pt>
          <cx:pt idx="1725">0</cx:pt>
          <cx:pt idx="1726">4.0015998670000004</cx:pt>
          <cx:pt idx="1727">5</cx:pt>
          <cx:pt idx="1728">14.235430920000001</cx:pt>
          <cx:pt idx="1729">23.545454070000002</cx:pt>
          <cx:pt idx="1730">33</cx:pt>
          <cx:pt idx="1731">33</cx:pt>
          <cx:pt idx="1732">33</cx:pt>
          <cx:pt idx="1733">33</cx:pt>
          <cx:pt idx="1734">33</cx:pt>
          <cx:pt idx="1735">33</cx:pt>
          <cx:pt idx="1736">33</cx:pt>
          <cx:pt idx="1737">33</cx:pt>
          <cx:pt idx="1738">33</cx:pt>
          <cx:pt idx="1739">33</cx:pt>
          <cx:pt idx="1740">33</cx:pt>
          <cx:pt idx="1741">33</cx:pt>
          <cx:pt idx="1742">33</cx:pt>
          <cx:pt idx="1743">33</cx:pt>
          <cx:pt idx="1744">33</cx:pt>
          <cx:pt idx="1745">33</cx:pt>
          <cx:pt idx="1746">33</cx:pt>
          <cx:pt idx="1747">33</cx:pt>
          <cx:pt idx="1748">33</cx:pt>
          <cx:pt idx="1749">33</cx:pt>
          <cx:pt idx="1750">33</cx:pt>
          <cx:pt idx="1751">33</cx:pt>
          <cx:pt idx="1752">33</cx:pt>
          <cx:pt idx="1753">33</cx:pt>
          <cx:pt idx="1754">33</cx:pt>
          <cx:pt idx="1755">33</cx:pt>
          <cx:pt idx="1756">33</cx:pt>
          <cx:pt idx="1757">33</cx:pt>
          <cx:pt idx="1758">33</cx:pt>
          <cx:pt idx="1759">33</cx:pt>
          <cx:pt idx="1760">33</cx:pt>
          <cx:pt idx="1761">33</cx:pt>
          <cx:pt idx="1762">33</cx:pt>
          <cx:pt idx="1763">33</cx:pt>
          <cx:pt idx="1764">33</cx:pt>
          <cx:pt idx="1765">33</cx:pt>
          <cx:pt idx="1766">33</cx:pt>
          <cx:pt idx="1767">33</cx:pt>
          <cx:pt idx="1768">33</cx:pt>
          <cx:pt idx="1769">33</cx:pt>
          <cx:pt idx="1770">33</cx:pt>
          <cx:pt idx="1771">33</cx:pt>
          <cx:pt idx="1772">33</cx:pt>
          <cx:pt idx="1773">33</cx:pt>
          <cx:pt idx="1774">33</cx:pt>
          <cx:pt idx="1775">33</cx:pt>
          <cx:pt idx="1776">33</cx:pt>
          <cx:pt idx="1777">33</cx:pt>
          <cx:pt idx="1778">33</cx:pt>
          <cx:pt idx="1779">33</cx:pt>
          <cx:pt idx="1780">33</cx:pt>
          <cx:pt idx="1781">33</cx:pt>
          <cx:pt idx="1782">33</cx:pt>
          <cx:pt idx="1783">33</cx:pt>
          <cx:pt idx="1784">33</cx:pt>
          <cx:pt idx="1785">33</cx:pt>
          <cx:pt idx="1786">33</cx:pt>
          <cx:pt idx="1787">33</cx:pt>
          <cx:pt idx="1788">33</cx:pt>
          <cx:pt idx="1789">33</cx:pt>
          <cx:pt idx="1790">33</cx:pt>
          <cx:pt idx="1791">33</cx:pt>
          <cx:pt idx="1792">33</cx:pt>
          <cx:pt idx="1793">33</cx:pt>
          <cx:pt idx="1794">33</cx:pt>
          <cx:pt idx="1795">33</cx:pt>
          <cx:pt idx="1796">33</cx:pt>
          <cx:pt idx="1797">33</cx:pt>
          <cx:pt idx="1798">33</cx:pt>
          <cx:pt idx="1799">33</cx:pt>
          <cx:pt idx="1800">33</cx:pt>
          <cx:pt idx="1801">33</cx:pt>
          <cx:pt idx="1802">33</cx:pt>
          <cx:pt idx="1803">33</cx:pt>
          <cx:pt idx="1804">33</cx:pt>
          <cx:pt idx="1805">33</cx:pt>
          <cx:pt idx="1806">33</cx:pt>
          <cx:pt idx="1807">33</cx:pt>
          <cx:pt idx="1808">33</cx:pt>
          <cx:pt idx="1809">33</cx:pt>
          <cx:pt idx="1810">33</cx:pt>
          <cx:pt idx="1811">33</cx:pt>
          <cx:pt idx="1812">33</cx:pt>
          <cx:pt idx="1813">33</cx:pt>
          <cx:pt idx="1814">33</cx:pt>
          <cx:pt idx="1815">33</cx:pt>
          <cx:pt idx="1816">33</cx:pt>
          <cx:pt idx="1817">33</cx:pt>
          <cx:pt idx="1818">33</cx:pt>
          <cx:pt idx="1819">33</cx:pt>
          <cx:pt idx="1820">33</cx:pt>
          <cx:pt idx="1821">33</cx:pt>
          <cx:pt idx="1822">33</cx:pt>
          <cx:pt idx="1823">33</cx:pt>
          <cx:pt idx="1824">33</cx:pt>
          <cx:pt idx="1825">33</cx:pt>
          <cx:pt idx="1826">33</cx:pt>
          <cx:pt idx="1827">33</cx:pt>
          <cx:pt idx="1828">33</cx:pt>
          <cx:pt idx="1829">33</cx:pt>
          <cx:pt idx="1830">33</cx:pt>
          <cx:pt idx="1831">33</cx:pt>
          <cx:pt idx="1832">33</cx:pt>
          <cx:pt idx="1833">33</cx:pt>
          <cx:pt idx="1834">33</cx:pt>
          <cx:pt idx="1835">33</cx:pt>
          <cx:pt idx="1836">33</cx:pt>
          <cx:pt idx="1837">33</cx:pt>
          <cx:pt idx="1838">33</cx:pt>
          <cx:pt idx="1839">33</cx:pt>
          <cx:pt idx="1840">33</cx:pt>
          <cx:pt idx="1841">33</cx:pt>
          <cx:pt idx="1842">33</cx:pt>
          <cx:pt idx="1843">33</cx:pt>
          <cx:pt idx="1844">33</cx:pt>
          <cx:pt idx="1845">33</cx:pt>
          <cx:pt idx="1846">33</cx:pt>
          <cx:pt idx="1847">33</cx:pt>
          <cx:pt idx="1848">33</cx:pt>
          <cx:pt idx="1849">33</cx:pt>
          <cx:pt idx="1850">33</cx:pt>
          <cx:pt idx="1851">33</cx:pt>
          <cx:pt idx="1852">33</cx:pt>
          <cx:pt idx="1853">33</cx:pt>
          <cx:pt idx="1854">33</cx:pt>
          <cx:pt idx="1855">33</cx:pt>
          <cx:pt idx="1856">33</cx:pt>
          <cx:pt idx="1857">33</cx:pt>
          <cx:pt idx="1858">33</cx:pt>
          <cx:pt idx="1859">33</cx:pt>
          <cx:pt idx="1860">33</cx:pt>
          <cx:pt idx="1861">33</cx:pt>
          <cx:pt idx="1862">33</cx:pt>
          <cx:pt idx="1863">33</cx:pt>
          <cx:pt idx="1864">33</cx:pt>
          <cx:pt idx="1865">33</cx:pt>
          <cx:pt idx="1866">33</cx:pt>
          <cx:pt idx="1867">33</cx:pt>
          <cx:pt idx="1868">33</cx:pt>
          <cx:pt idx="1869">33</cx:pt>
          <cx:pt idx="1870">33</cx:pt>
          <cx:pt idx="1871">33</cx:pt>
          <cx:pt idx="1872">33</cx:pt>
          <cx:pt idx="1873">33</cx:pt>
          <cx:pt idx="1874">33</cx:pt>
          <cx:pt idx="1875">33</cx:pt>
          <cx:pt idx="1876">33</cx:pt>
          <cx:pt idx="1877">33</cx:pt>
          <cx:pt idx="1878">33</cx:pt>
          <cx:pt idx="1879">33</cx:pt>
          <cx:pt idx="1880">33</cx:pt>
          <cx:pt idx="1881">33</cx:pt>
          <cx:pt idx="1882">33</cx:pt>
          <cx:pt idx="1883">33</cx:pt>
          <cx:pt idx="1884">33</cx:pt>
          <cx:pt idx="1885">33</cx:pt>
          <cx:pt idx="1886">33</cx:pt>
          <cx:pt idx="1887">33</cx:pt>
          <cx:pt idx="1888">33</cx:pt>
          <cx:pt idx="1889">33</cx:pt>
          <cx:pt idx="1890">33</cx:pt>
          <cx:pt idx="1891">33</cx:pt>
          <cx:pt idx="1892">33</cx:pt>
          <cx:pt idx="1893">33</cx:pt>
          <cx:pt idx="1894">33</cx:pt>
          <cx:pt idx="1895">33</cx:pt>
          <cx:pt idx="1896">33</cx:pt>
          <cx:pt idx="1897">33</cx:pt>
          <cx:pt idx="1898">33</cx:pt>
          <cx:pt idx="1899">33</cx:pt>
          <cx:pt idx="1900">33</cx:pt>
          <cx:pt idx="1901">33</cx:pt>
          <cx:pt idx="1902">33</cx:pt>
          <cx:pt idx="1903">33</cx:pt>
          <cx:pt idx="1904">33</cx:pt>
          <cx:pt idx="1905">33</cx:pt>
          <cx:pt idx="1906">33</cx:pt>
          <cx:pt idx="1907">33</cx:pt>
          <cx:pt idx="1908">33</cx:pt>
          <cx:pt idx="1909">33</cx:pt>
          <cx:pt idx="1910">33</cx:pt>
          <cx:pt idx="1911">33</cx:pt>
          <cx:pt idx="1912">33</cx:pt>
          <cx:pt idx="1913">33</cx:pt>
          <cx:pt idx="1914">33</cx:pt>
          <cx:pt idx="1915">33</cx:pt>
          <cx:pt idx="1916">33</cx:pt>
          <cx:pt idx="1917">33</cx:pt>
          <cx:pt idx="1918">33</cx:pt>
          <cx:pt idx="1919">33</cx:pt>
          <cx:pt idx="1920">33</cx:pt>
          <cx:pt idx="1921">33</cx:pt>
          <cx:pt idx="1922">33</cx:pt>
          <cx:pt idx="1923">33</cx:pt>
          <cx:pt idx="1924">33</cx:pt>
          <cx:pt idx="1925">33</cx:pt>
          <cx:pt idx="1926">33</cx:pt>
          <cx:pt idx="1927">33</cx:pt>
          <cx:pt idx="1928">33</cx:pt>
          <cx:pt idx="1929">33</cx:pt>
          <cx:pt idx="1930">33</cx:pt>
          <cx:pt idx="1931">33</cx:pt>
          <cx:pt idx="1932">33</cx:pt>
          <cx:pt idx="1933">33</cx:pt>
          <cx:pt idx="1934">33</cx:pt>
          <cx:pt idx="1935">33</cx:pt>
          <cx:pt idx="1936">33</cx:pt>
          <cx:pt idx="1937">33</cx:pt>
          <cx:pt idx="1938">33</cx:pt>
          <cx:pt idx="1939">33</cx:pt>
          <cx:pt idx="1940">33</cx:pt>
          <cx:pt idx="1941">33</cx:pt>
          <cx:pt idx="1942">33</cx:pt>
          <cx:pt idx="1943">33</cx:pt>
          <cx:pt idx="1944">33</cx:pt>
          <cx:pt idx="1945">33</cx:pt>
          <cx:pt idx="1946">33</cx:pt>
          <cx:pt idx="1947">33</cx:pt>
          <cx:pt idx="1948">33</cx:pt>
          <cx:pt idx="1949">33</cx:pt>
          <cx:pt idx="1950">33</cx:pt>
          <cx:pt idx="1951">33</cx:pt>
          <cx:pt idx="1952">33</cx:pt>
          <cx:pt idx="1953">33</cx:pt>
          <cx:pt idx="1954">33</cx:pt>
          <cx:pt idx="1955">33</cx:pt>
          <cx:pt idx="1956">33</cx:pt>
          <cx:pt idx="1957">33</cx:pt>
          <cx:pt idx="1958">33</cx:pt>
          <cx:pt idx="1959">33</cx:pt>
          <cx:pt idx="1960">33</cx:pt>
          <cx:pt idx="1961">33</cx:pt>
          <cx:pt idx="1962">33</cx:pt>
          <cx:pt idx="1963">33</cx:pt>
          <cx:pt idx="1964">33</cx:pt>
          <cx:pt idx="1965">33</cx:pt>
          <cx:pt idx="1966">33</cx:pt>
          <cx:pt idx="1967">33</cx:pt>
          <cx:pt idx="1968">33</cx:pt>
          <cx:pt idx="1969">33</cx:pt>
          <cx:pt idx="1970">33</cx:pt>
          <cx:pt idx="1971">33</cx:pt>
          <cx:pt idx="1972">33</cx:pt>
          <cx:pt idx="1973">33</cx:pt>
          <cx:pt idx="1974">33</cx:pt>
          <cx:pt idx="1975">33</cx:pt>
          <cx:pt idx="1976">33</cx:pt>
          <cx:pt idx="1977">33</cx:pt>
          <cx:pt idx="1978">33</cx:pt>
          <cx:pt idx="1979">33</cx:pt>
          <cx:pt idx="1980">33</cx:pt>
          <cx:pt idx="1981">33</cx:pt>
          <cx:pt idx="1982">33</cx:pt>
          <cx:pt idx="1983">33</cx:pt>
          <cx:pt idx="1984">33</cx:pt>
          <cx:pt idx="1985">33</cx:pt>
          <cx:pt idx="1986">33</cx:pt>
          <cx:pt idx="1987">33</cx:pt>
          <cx:pt idx="1988">33</cx:pt>
          <cx:pt idx="1989">33</cx:pt>
          <cx:pt idx="1990">33</cx:pt>
          <cx:pt idx="1991">33</cx:pt>
          <cx:pt idx="1992">33</cx:pt>
          <cx:pt idx="1993">33</cx:pt>
          <cx:pt idx="1994">33</cx:pt>
          <cx:pt idx="1995">33</cx:pt>
          <cx:pt idx="1996">33</cx:pt>
          <cx:pt idx="1997">33</cx:pt>
          <cx:pt idx="1998">33</cx:pt>
          <cx:pt idx="1999">33</cx:pt>
          <cx:pt idx="2000">33</cx:pt>
          <cx:pt idx="2001">33</cx:pt>
          <cx:pt idx="2002">33</cx:pt>
          <cx:pt idx="2003">33</cx:pt>
          <cx:pt idx="2004">33</cx:pt>
          <cx:pt idx="2005">33</cx:pt>
          <cx:pt idx="2006">33</cx:pt>
          <cx:pt idx="2007">33</cx:pt>
          <cx:pt idx="2008">33</cx:pt>
          <cx:pt idx="2009">33</cx:pt>
          <cx:pt idx="2010">33</cx:pt>
          <cx:pt idx="2011">33</cx:pt>
          <cx:pt idx="2012">33</cx:pt>
          <cx:pt idx="2013">33</cx:pt>
          <cx:pt idx="2014">33</cx:pt>
          <cx:pt idx="2015">33</cx:pt>
          <cx:pt idx="2016">33</cx:pt>
          <cx:pt idx="2017">33</cx:pt>
          <cx:pt idx="2018">33</cx:pt>
          <cx:pt idx="2019">33</cx:pt>
          <cx:pt idx="2020">33</cx:pt>
          <cx:pt idx="2021">33</cx:pt>
          <cx:pt idx="2022">33</cx:pt>
          <cx:pt idx="2023">33</cx:pt>
          <cx:pt idx="2024">33</cx:pt>
          <cx:pt idx="2025">33</cx:pt>
          <cx:pt idx="2026">33</cx:pt>
          <cx:pt idx="2027">33</cx:pt>
          <cx:pt idx="2028">33</cx:pt>
          <cx:pt idx="2029">33</cx:pt>
          <cx:pt idx="2030">33</cx:pt>
          <cx:pt idx="2031">33</cx:pt>
          <cx:pt idx="2032">33</cx:pt>
          <cx:pt idx="2033">33</cx:pt>
          <cx:pt idx="2034">33</cx:pt>
          <cx:pt idx="2035">33</cx:pt>
          <cx:pt idx="2036">33</cx:pt>
          <cx:pt idx="2037">33</cx:pt>
          <cx:pt idx="2038">33</cx:pt>
          <cx:pt idx="2039">33</cx:pt>
          <cx:pt idx="2040">33</cx:pt>
          <cx:pt idx="2041">33</cx:pt>
          <cx:pt idx="2042">33</cx:pt>
          <cx:pt idx="2043">33</cx:pt>
          <cx:pt idx="2044">33</cx:pt>
          <cx:pt idx="2045">33</cx:pt>
          <cx:pt idx="2046">33</cx:pt>
          <cx:pt idx="2047">33</cx:pt>
          <cx:pt idx="2048">33</cx:pt>
          <cx:pt idx="2049">33</cx:pt>
          <cx:pt idx="2050">33</cx:pt>
          <cx:pt idx="2051">33</cx:pt>
          <cx:pt idx="2052">33</cx:pt>
          <cx:pt idx="2053">33</cx:pt>
          <cx:pt idx="2054">33</cx:pt>
          <cx:pt idx="2055">33</cx:pt>
          <cx:pt idx="2056">33</cx:pt>
          <cx:pt idx="2057">33</cx:pt>
          <cx:pt idx="2058">33</cx:pt>
          <cx:pt idx="2059">33</cx:pt>
          <cx:pt idx="2060">33</cx:pt>
          <cx:pt idx="2061">33</cx:pt>
          <cx:pt idx="2062">33</cx:pt>
          <cx:pt idx="2063">33</cx:pt>
          <cx:pt idx="2064">33</cx:pt>
          <cx:pt idx="2065">33</cx:pt>
          <cx:pt idx="2066">33</cx:pt>
          <cx:pt idx="2067">33</cx:pt>
          <cx:pt idx="2068">33</cx:pt>
          <cx:pt idx="2069">33</cx:pt>
          <cx:pt idx="2070">33</cx:pt>
          <cx:pt idx="2071">33</cx:pt>
          <cx:pt idx="2072">33</cx:pt>
          <cx:pt idx="2073">33</cx:pt>
          <cx:pt idx="2074">33</cx:pt>
          <cx:pt idx="2075">33</cx:pt>
          <cx:pt idx="2076">33</cx:pt>
          <cx:pt idx="2077">33</cx:pt>
          <cx:pt idx="2078">33</cx:pt>
          <cx:pt idx="2079">33</cx:pt>
          <cx:pt idx="2080">33</cx:pt>
          <cx:pt idx="2081">33</cx:pt>
          <cx:pt idx="2082">33</cx:pt>
          <cx:pt idx="2083">33</cx:pt>
          <cx:pt idx="2084">33</cx:pt>
          <cx:pt idx="2085">33</cx:pt>
          <cx:pt idx="2086">33</cx:pt>
          <cx:pt idx="2087">33</cx:pt>
          <cx:pt idx="2088">33</cx:pt>
          <cx:pt idx="2089">33</cx:pt>
          <cx:pt idx="2090">33</cx:pt>
          <cx:pt idx="2091">33</cx:pt>
          <cx:pt idx="2092">33</cx:pt>
          <cx:pt idx="2093">33</cx:pt>
          <cx:pt idx="2094">33</cx:pt>
          <cx:pt idx="2095">33</cx:pt>
          <cx:pt idx="2096">33</cx:pt>
          <cx:pt idx="2097">33</cx:pt>
          <cx:pt idx="2098">33</cx:pt>
          <cx:pt idx="2099">33</cx:pt>
          <cx:pt idx="2100">33</cx:pt>
          <cx:pt idx="2101">33</cx:pt>
          <cx:pt idx="2102">33</cx:pt>
          <cx:pt idx="2103">33</cx:pt>
          <cx:pt idx="2104">33</cx:pt>
          <cx:pt idx="2105">33</cx:pt>
          <cx:pt idx="2106">33</cx:pt>
          <cx:pt idx="2107">33</cx:pt>
          <cx:pt idx="2108">33</cx:pt>
          <cx:pt idx="2109">33</cx:pt>
          <cx:pt idx="2110">33</cx:pt>
          <cx:pt idx="2111">33</cx:pt>
          <cx:pt idx="2112">33</cx:pt>
          <cx:pt idx="2113">33</cx:pt>
          <cx:pt idx="2114">33</cx:pt>
          <cx:pt idx="2115">33</cx:pt>
          <cx:pt idx="2116">33</cx:pt>
          <cx:pt idx="2117">33</cx:pt>
          <cx:pt idx="2118">33</cx:pt>
          <cx:pt idx="2119">33</cx:pt>
          <cx:pt idx="2120">33</cx:pt>
          <cx:pt idx="2121">33</cx:pt>
          <cx:pt idx="2122">33</cx:pt>
          <cx:pt idx="2123">33</cx:pt>
          <cx:pt idx="2124">33</cx:pt>
          <cx:pt idx="2125">33</cx:pt>
          <cx:pt idx="2126">33</cx:pt>
          <cx:pt idx="2127">33</cx:pt>
          <cx:pt idx="2128">33</cx:pt>
          <cx:pt idx="2129">33</cx:pt>
          <cx:pt idx="2130">33</cx:pt>
          <cx:pt idx="2131">33</cx:pt>
          <cx:pt idx="2132">33</cx:pt>
          <cx:pt idx="2133">33</cx:pt>
          <cx:pt idx="2134">33</cx:pt>
          <cx:pt idx="2135">33</cx:pt>
          <cx:pt idx="2136">33</cx:pt>
          <cx:pt idx="2137">33</cx:pt>
          <cx:pt idx="2138">33</cx:pt>
          <cx:pt idx="2139">33</cx:pt>
          <cx:pt idx="2140">33</cx:pt>
          <cx:pt idx="2141">33</cx:pt>
          <cx:pt idx="2142">33</cx:pt>
          <cx:pt idx="2143">33</cx:pt>
          <cx:pt idx="2144">33</cx:pt>
          <cx:pt idx="2145">33</cx:pt>
          <cx:pt idx="2146">33</cx:pt>
          <cx:pt idx="2147">33</cx:pt>
          <cx:pt idx="2148">33</cx:pt>
          <cx:pt idx="2149">33</cx:pt>
          <cx:pt idx="2150">33</cx:pt>
          <cx:pt idx="2151">33</cx:pt>
          <cx:pt idx="2152">33</cx:pt>
          <cx:pt idx="2153">33</cx:pt>
          <cx:pt idx="2154">33</cx:pt>
          <cx:pt idx="2155">33</cx:pt>
          <cx:pt idx="2156">33</cx:pt>
          <cx:pt idx="2157">33</cx:pt>
          <cx:pt idx="2158">33</cx:pt>
          <cx:pt idx="2159">33</cx:pt>
          <cx:pt idx="2160">33</cx:pt>
          <cx:pt idx="2161">33</cx:pt>
          <cx:pt idx="2162">33</cx:pt>
          <cx:pt idx="2163">33</cx:pt>
          <cx:pt idx="2164">33</cx:pt>
          <cx:pt idx="2165">33</cx:pt>
          <cx:pt idx="2166">33</cx:pt>
          <cx:pt idx="2167">33</cx:pt>
          <cx:pt idx="2168">33</cx:pt>
          <cx:pt idx="2169">33</cx:pt>
          <cx:pt idx="2170">33</cx:pt>
          <cx:pt idx="2171">33</cx:pt>
          <cx:pt idx="2172">33</cx:pt>
          <cx:pt idx="2173">33</cx:pt>
          <cx:pt idx="2174">33</cx:pt>
          <cx:pt idx="2175">33</cx:pt>
          <cx:pt idx="2176">33</cx:pt>
          <cx:pt idx="2177">33</cx:pt>
          <cx:pt idx="2178">33</cx:pt>
          <cx:pt idx="2179">33</cx:pt>
          <cx:pt idx="2180">33</cx:pt>
          <cx:pt idx="2181">33</cx:pt>
          <cx:pt idx="2182">33</cx:pt>
          <cx:pt idx="2183">33</cx:pt>
          <cx:pt idx="2184">33</cx:pt>
          <cx:pt idx="2185">33</cx:pt>
          <cx:pt idx="2186">33</cx:pt>
          <cx:pt idx="2187">33</cx:pt>
          <cx:pt idx="2188">33</cx:pt>
          <cx:pt idx="2189">33</cx:pt>
          <cx:pt idx="2190">33</cx:pt>
          <cx:pt idx="2191">33</cx:pt>
          <cx:pt idx="2192">33</cx:pt>
          <cx:pt idx="2193">33</cx:pt>
          <cx:pt idx="2194">33</cx:pt>
          <cx:pt idx="2195">33</cx:pt>
          <cx:pt idx="2196">33</cx:pt>
          <cx:pt idx="2197">33</cx:pt>
          <cx:pt idx="2198">33</cx:pt>
          <cx:pt idx="2199">33</cx:pt>
          <cx:pt idx="2200">33</cx:pt>
          <cx:pt idx="2201">33</cx:pt>
          <cx:pt idx="2202">33</cx:pt>
          <cx:pt idx="2203">33</cx:pt>
          <cx:pt idx="2204">33</cx:pt>
          <cx:pt idx="2205">33</cx:pt>
          <cx:pt idx="2206">33</cx:pt>
          <cx:pt idx="2207">33</cx:pt>
          <cx:pt idx="2208">33</cx:pt>
          <cx:pt idx="2209">33</cx:pt>
          <cx:pt idx="2210">33</cx:pt>
          <cx:pt idx="2211">33</cx:pt>
          <cx:pt idx="2212">33</cx:pt>
          <cx:pt idx="2213">33</cx:pt>
          <cx:pt idx="2214">33</cx:pt>
          <cx:pt idx="2215">33</cx:pt>
          <cx:pt idx="2216">33</cx:pt>
          <cx:pt idx="2217">33</cx:pt>
          <cx:pt idx="2218">33</cx:pt>
          <cx:pt idx="2219">33</cx:pt>
          <cx:pt idx="2220">33</cx:pt>
          <cx:pt idx="2221">33</cx:pt>
          <cx:pt idx="2222">33</cx:pt>
          <cx:pt idx="2223">33</cx:pt>
          <cx:pt idx="2224">33</cx:pt>
          <cx:pt idx="2225">33</cx:pt>
          <cx:pt idx="2226">33</cx:pt>
          <cx:pt idx="2227">33</cx:pt>
          <cx:pt idx="2228">33</cx:pt>
          <cx:pt idx="2229">33</cx:pt>
          <cx:pt idx="2230">33</cx:pt>
          <cx:pt idx="2231">33</cx:pt>
          <cx:pt idx="2232">33</cx:pt>
          <cx:pt idx="2233">33</cx:pt>
          <cx:pt idx="2234">33</cx:pt>
          <cx:pt idx="2235">33</cx:pt>
          <cx:pt idx="2236">33</cx:pt>
          <cx:pt idx="2237">33</cx:pt>
          <cx:pt idx="2238">33</cx:pt>
          <cx:pt idx="2239">33</cx:pt>
          <cx:pt idx="2240">33</cx:pt>
          <cx:pt idx="2241">33</cx:pt>
          <cx:pt idx="2242">33</cx:pt>
          <cx:pt idx="2243">33</cx:pt>
          <cx:pt idx="2244">33</cx:pt>
          <cx:pt idx="2245">33</cx:pt>
          <cx:pt idx="2246">33</cx:pt>
          <cx:pt idx="2247">33</cx:pt>
          <cx:pt idx="2248">33</cx:pt>
          <cx:pt idx="2249">33</cx:pt>
          <cx:pt idx="2250">33</cx:pt>
          <cx:pt idx="2251">33</cx:pt>
          <cx:pt idx="2252">33</cx:pt>
          <cx:pt idx="2253">33</cx:pt>
          <cx:pt idx="2254">33</cx:pt>
          <cx:pt idx="2255">33</cx:pt>
          <cx:pt idx="2256">31.41439991</cx:pt>
          <cx:pt idx="2257">25</cx:pt>
          <cx:pt idx="2258">5</cx:pt>
          <cx:pt idx="2259">0</cx:pt>
          <cx:pt idx="2260">0</cx:pt>
          <cx:pt idx="2261">0</cx:pt>
          <cx:pt idx="2262">0</cx:pt>
          <cx:pt idx="2263">0</cx:pt>
          <cx:pt idx="2264">0</cx:pt>
          <cx:pt idx="2265">0</cx:pt>
          <cx:pt idx="2266">0</cx:pt>
          <cx:pt idx="2267">0</cx:pt>
          <cx:pt idx="2268">0</cx:pt>
          <cx:pt idx="2269">0</cx:pt>
          <cx:pt idx="2270">0</cx:pt>
          <cx:pt idx="2271">0</cx:pt>
          <cx:pt idx="2272">0</cx:pt>
          <cx:pt idx="2273">0</cx:pt>
          <cx:pt idx="2274">0</cx:pt>
          <cx:pt idx="2275">0</cx:pt>
          <cx:pt idx="2276">0</cx:pt>
          <cx:pt idx="2277">0</cx:pt>
          <cx:pt idx="2278">0</cx:pt>
          <cx:pt idx="2279">0</cx:pt>
          <cx:pt idx="2280">0</cx:pt>
          <cx:pt idx="2281">0</cx:pt>
          <cx:pt idx="2282">0</cx:pt>
          <cx:pt idx="2283">0</cx:pt>
          <cx:pt idx="2284">0</cx:pt>
          <cx:pt idx="2285">0</cx:pt>
          <cx:pt idx="2286">0</cx:pt>
          <cx:pt idx="2287">0</cx:pt>
          <cx:pt idx="2288">0</cx:pt>
          <cx:pt idx="2289">0</cx:pt>
          <cx:pt idx="2290">0</cx:pt>
          <cx:pt idx="2291">0</cx:pt>
          <cx:pt idx="2292">0</cx:pt>
          <cx:pt idx="2293">0</cx:pt>
          <cx:pt idx="2294">0</cx:pt>
          <cx:pt idx="2295">0</cx:pt>
          <cx:pt idx="2296">0</cx:pt>
          <cx:pt idx="2297">0</cx:pt>
          <cx:pt idx="2298">0</cx:pt>
          <cx:pt idx="2299">0</cx:pt>
          <cx:pt idx="2300">0</cx:pt>
          <cx:pt idx="2301">0</cx:pt>
          <cx:pt idx="2302">0</cx:pt>
          <cx:pt idx="2303">0</cx:pt>
          <cx:pt idx="2304">0</cx:pt>
          <cx:pt idx="2305">0</cx:pt>
          <cx:pt idx="2306">0</cx:pt>
          <cx:pt idx="2307">0</cx:pt>
          <cx:pt idx="2308">0</cx:pt>
          <cx:pt idx="2309">0</cx:pt>
          <cx:pt idx="2310">0</cx:pt>
          <cx:pt idx="2311">0</cx:pt>
          <cx:pt idx="2312">0</cx:pt>
          <cx:pt idx="2313">0</cx:pt>
          <cx:pt idx="2314">1.6567990180000001</cx:pt>
          <cx:pt idx="2315">3.172703914</cx:pt>
          <cx:pt idx="2316">4</cx:pt>
          <cx:pt idx="2317">21</cx:pt>
          <cx:pt idx="2318">33</cx:pt>
          <cx:pt idx="2319">31.935430650000001</cx:pt>
          <cx:pt idx="2320">29.26934164</cx:pt>
          <cx:pt idx="2321">28.204505690000001</cx:pt>
          <cx:pt idx="2322">27.659823710000001</cx:pt>
          <cx:pt idx="2323">27.13567059</cx:pt>
          <cx:pt idx="2324">26.603252619999999</cx:pt>
          <cx:pt idx="2325">26.071101240000001</cx:pt>
          <cx:pt idx="2326">25.53041842</cx:pt>
          <cx:pt idx="2327">24.998000449999999</cx:pt>
          <cx:pt idx="2328">24.465582479999998</cx:pt>
          <cx:pt idx="2329">23.93316445</cx:pt>
          <cx:pt idx="2330">22.86432941</cx:pt>
          <cx:pt idx="2331">20.73065836</cx:pt>
          <cx:pt idx="2332">20.206505239999998</cx:pt>
          <cx:pt idx="2333">19.661823259999998</cx:pt>
          <cx:pt idx="2334">18.068835100000001</cx:pt>
          <cx:pt idx="2335">17</cx:pt>
          <cx:pt idx="2336">3</cx:pt>
          <cx:pt idx="2337">0.022189502999999999</cx:pt>
          <cx:pt idx="2338">0</cx:pt>
          <cx:pt idx="2339">0</cx:pt>
          <cx:pt idx="2340">0</cx:pt>
          <cx:pt idx="2341">0</cx:pt>
          <cx:pt idx="2342">0</cx:pt>
          <cx:pt idx="2343">0</cx:pt>
          <cx:pt idx="2344">0</cx:pt>
          <cx:pt idx="2345">0</cx:pt>
          <cx:pt idx="2346">0</cx:pt>
          <cx:pt idx="2347">0</cx:pt>
          <cx:pt idx="2348">0</cx:pt>
          <cx:pt idx="2349">0</cx:pt>
          <cx:pt idx="2350">0</cx:pt>
          <cx:pt idx="2351">0</cx:pt>
          <cx:pt idx="2352">0</cx:pt>
          <cx:pt idx="2353">0</cx:pt>
          <cx:pt idx="2354">0</cx:pt>
          <cx:pt idx="2355">0</cx:pt>
          <cx:pt idx="2356">0</cx:pt>
          <cx:pt idx="2357">0</cx:pt>
          <cx:pt idx="2358">0</cx:pt>
          <cx:pt idx="2359">0</cx:pt>
          <cx:pt idx="2360">0</cx:pt>
          <cx:pt idx="2361">0</cx:pt>
          <cx:pt idx="2362">0</cx:pt>
          <cx:pt idx="2363">0</cx:pt>
          <cx:pt idx="2364">0</cx:pt>
          <cx:pt idx="2365">0</cx:pt>
          <cx:pt idx="2366">0</cx:pt>
          <cx:pt idx="2367">0</cx:pt>
          <cx:pt idx="2368">0</cx:pt>
          <cx:pt idx="2369">0</cx:pt>
          <cx:pt idx="2370">0</cx:pt>
          <cx:pt idx="2371">0</cx:pt>
          <cx:pt idx="2372">0</cx:pt>
          <cx:pt idx="2373">0</cx:pt>
          <cx:pt idx="2374">0</cx:pt>
          <cx:pt idx="2375">0</cx:pt>
          <cx:pt idx="2376">0</cx:pt>
          <cx:pt idx="2377">0</cx:pt>
          <cx:pt idx="2378">0</cx:pt>
          <cx:pt idx="2379">0</cx:pt>
          <cx:pt idx="2380">0</cx:pt>
          <cx:pt idx="2381">0</cx:pt>
          <cx:pt idx="2382">0</cx:pt>
          <cx:pt idx="2383">0</cx:pt>
          <cx:pt idx="2384">0</cx:pt>
          <cx:pt idx="2385">0</cx:pt>
          <cx:pt idx="2386">0</cx:pt>
          <cx:pt idx="2387">0</cx:pt>
          <cx:pt idx="2388">0</cx:pt>
          <cx:pt idx="2389">0</cx:pt>
          <cx:pt idx="2390">0</cx:pt>
          <cx:pt idx="2391">0</cx:pt>
          <cx:pt idx="2392">0</cx:pt>
          <cx:pt idx="2393">0</cx:pt>
          <cx:pt idx="2394">0</cx:pt>
          <cx:pt idx="2395">0</cx:pt>
          <cx:pt idx="2396">0</cx:pt>
          <cx:pt idx="2397">0</cx:pt>
          <cx:pt idx="2398">0</cx:pt>
          <cx:pt idx="2399">0</cx:pt>
          <cx:pt idx="2400">0</cx:pt>
          <cx:pt idx="2401">0</cx:pt>
          <cx:pt idx="2402">0</cx:pt>
          <cx:pt idx="2403">0</cx:pt>
          <cx:pt idx="2404">0</cx:pt>
          <cx:pt idx="2405">0</cx:pt>
          <cx:pt idx="2406">0</cx:pt>
          <cx:pt idx="2407">0</cx:pt>
          <cx:pt idx="2408">0</cx:pt>
          <cx:pt idx="2409">0</cx:pt>
          <cx:pt idx="2410">0</cx:pt>
          <cx:pt idx="2411">0</cx:pt>
          <cx:pt idx="2412">0</cx:pt>
          <cx:pt idx="2413">0</cx:pt>
          <cx:pt idx="2414">0</cx:pt>
          <cx:pt idx="2415">0</cx:pt>
          <cx:pt idx="2416">0</cx:pt>
          <cx:pt idx="2417">0</cx:pt>
          <cx:pt idx="2418">0</cx:pt>
          <cx:pt idx="2419">0</cx:pt>
          <cx:pt idx="2420">0</cx:pt>
          <cx:pt idx="2421">0</cx:pt>
          <cx:pt idx="2422">0</cx:pt>
          <cx:pt idx="2423">0</cx:pt>
          <cx:pt idx="2424">0</cx:pt>
          <cx:pt idx="2425">0</cx:pt>
          <cx:pt idx="2426">0</cx:pt>
          <cx:pt idx="2427">0</cx:pt>
          <cx:pt idx="2428">0</cx:pt>
          <cx:pt idx="2429">0</cx:pt>
          <cx:pt idx="2430">0</cx:pt>
          <cx:pt idx="2431">0</cx:pt>
          <cx:pt idx="2432">0</cx:pt>
          <cx:pt idx="2433">0</cx:pt>
          <cx:pt idx="2434">0</cx:pt>
          <cx:pt idx="2435">0</cx:pt>
          <cx:pt idx="2436">0</cx:pt>
          <cx:pt idx="2437">0</cx:pt>
          <cx:pt idx="2438">0</cx:pt>
          <cx:pt idx="2439">0</cx:pt>
          <cx:pt idx="2440">0</cx:pt>
          <cx:pt idx="2441">0</cx:pt>
          <cx:pt idx="2442">0</cx:pt>
          <cx:pt idx="2443">0</cx:pt>
          <cx:pt idx="2444">0</cx:pt>
          <cx:pt idx="2445">0</cx:pt>
          <cx:pt idx="2446">0</cx:pt>
          <cx:pt idx="2447">0</cx:pt>
          <cx:pt idx="2448">0</cx:pt>
          <cx:pt idx="2449">0</cx:pt>
          <cx:pt idx="2450">0</cx:pt>
          <cx:pt idx="2451">0</cx:pt>
          <cx:pt idx="2452">0</cx:pt>
          <cx:pt idx="2453">0</cx:pt>
          <cx:pt idx="2454">0</cx:pt>
          <cx:pt idx="2455">0</cx:pt>
          <cx:pt idx="2456">0</cx:pt>
          <cx:pt idx="2457">0</cx:pt>
          <cx:pt idx="2458">0</cx:pt>
          <cx:pt idx="2459">0</cx:pt>
          <cx:pt idx="2460">0</cx:pt>
          <cx:pt idx="2461">0</cx:pt>
          <cx:pt idx="2462">0</cx:pt>
          <cx:pt idx="2463">0</cx:pt>
          <cx:pt idx="2464">0</cx:pt>
          <cx:pt idx="2465">0</cx:pt>
          <cx:pt idx="2466">0</cx:pt>
          <cx:pt idx="2467">0</cx:pt>
          <cx:pt idx="2468">0</cx:pt>
          <cx:pt idx="2469">0</cx:pt>
          <cx:pt idx="2470">0</cx:pt>
          <cx:pt idx="2471">0</cx:pt>
          <cx:pt idx="2472">0</cx:pt>
          <cx:pt idx="2473">0</cx:pt>
          <cx:pt idx="2474">0</cx:pt>
          <cx:pt idx="2475">0</cx:pt>
          <cx:pt idx="2476">0</cx:pt>
          <cx:pt idx="2477">0</cx:pt>
          <cx:pt idx="2478">0</cx:pt>
          <cx:pt idx="2479">0</cx:pt>
          <cx:pt idx="2480">0</cx:pt>
          <cx:pt idx="2481">0</cx:pt>
          <cx:pt idx="2482">0</cx:pt>
          <cx:pt idx="2483">0</cx:pt>
          <cx:pt idx="2484">0</cx:pt>
          <cx:pt idx="2485">0</cx:pt>
          <cx:pt idx="2486">0</cx:pt>
          <cx:pt idx="2487">0</cx:pt>
          <cx:pt idx="2488">0</cx:pt>
          <cx:pt idx="2489">0</cx:pt>
          <cx:pt idx="2490">0</cx:pt>
          <cx:pt idx="2491">0</cx:pt>
          <cx:pt idx="2492">0</cx:pt>
          <cx:pt idx="2493">0</cx:pt>
          <cx:pt idx="2494">0</cx:pt>
          <cx:pt idx="2495">0</cx:pt>
          <cx:pt idx="2496">0</cx:pt>
          <cx:pt idx="2497">0</cx:pt>
          <cx:pt idx="2498">0</cx:pt>
          <cx:pt idx="2499">0</cx:pt>
          <cx:pt idx="2500">0</cx:pt>
          <cx:pt idx="2501">0</cx:pt>
          <cx:pt idx="2502">0</cx:pt>
          <cx:pt idx="2503">0</cx:pt>
          <cx:pt idx="2504">0</cx:pt>
          <cx:pt idx="2505">0</cx:pt>
          <cx:pt idx="2506">0</cx:pt>
          <cx:pt idx="2507">0</cx:pt>
          <cx:pt idx="2508">0</cx:pt>
          <cx:pt idx="2509">0</cx:pt>
          <cx:pt idx="2510">0</cx:pt>
          <cx:pt idx="2511">0</cx:pt>
          <cx:pt idx="2512">0</cx:pt>
          <cx:pt idx="2513">0</cx:pt>
          <cx:pt idx="2514">0</cx:pt>
          <cx:pt idx="2515">0</cx:pt>
          <cx:pt idx="2516">0</cx:pt>
          <cx:pt idx="2517">0</cx:pt>
          <cx:pt idx="2518">0</cx:pt>
          <cx:pt idx="2519">0</cx:pt>
          <cx:pt idx="2520">0</cx:pt>
          <cx:pt idx="2521">0</cx:pt>
          <cx:pt idx="2522">0</cx:pt>
          <cx:pt idx="2523">0</cx:pt>
          <cx:pt idx="2524">0</cx:pt>
          <cx:pt idx="2525">0</cx:pt>
          <cx:pt idx="2526">0</cx:pt>
          <cx:pt idx="2527">0</cx:pt>
          <cx:pt idx="2528">0</cx:pt>
          <cx:pt idx="2529">0</cx:pt>
          <cx:pt idx="2530">0</cx:pt>
          <cx:pt idx="2531">0</cx:pt>
          <cx:pt idx="2532">0</cx:pt>
          <cx:pt idx="2533">0</cx:pt>
          <cx:pt idx="2534">0</cx:pt>
          <cx:pt idx="2535">0</cx:pt>
          <cx:pt idx="2536">0</cx:pt>
          <cx:pt idx="2537">0</cx:pt>
          <cx:pt idx="2538">0</cx:pt>
          <cx:pt idx="2539">0</cx:pt>
          <cx:pt idx="2540">0</cx:pt>
          <cx:pt idx="2541">0</cx:pt>
          <cx:pt idx="2542">0</cx:pt>
          <cx:pt idx="2543">0</cx:pt>
          <cx:pt idx="2544">0</cx:pt>
          <cx:pt idx="2545">0</cx:pt>
          <cx:pt idx="2546">0</cx:pt>
          <cx:pt idx="2547">0</cx:pt>
          <cx:pt idx="2548">0</cx:pt>
          <cx:pt idx="2549">0</cx:pt>
          <cx:pt idx="2550">0</cx:pt>
          <cx:pt idx="2551">0</cx:pt>
          <cx:pt idx="2552">0</cx:pt>
          <cx:pt idx="2553">0</cx:pt>
          <cx:pt idx="2554">0</cx:pt>
          <cx:pt idx="2555">0</cx:pt>
          <cx:pt idx="2556">0</cx:pt>
          <cx:pt idx="2557">0</cx:pt>
          <cx:pt idx="2558">0</cx:pt>
          <cx:pt idx="2559">0</cx:pt>
          <cx:pt idx="2560">0</cx:pt>
          <cx:pt idx="2561">0</cx:pt>
          <cx:pt idx="2562">0</cx:pt>
          <cx:pt idx="2563">0</cx:pt>
          <cx:pt idx="2564">0</cx:pt>
          <cx:pt idx="2565">0</cx:pt>
          <cx:pt idx="2566">0</cx:pt>
          <cx:pt idx="2567">0</cx:pt>
          <cx:pt idx="2568">0</cx:pt>
          <cx:pt idx="2569">0</cx:pt>
          <cx:pt idx="2570">0</cx:pt>
          <cx:pt idx="2571">0</cx:pt>
          <cx:pt idx="2572">0</cx:pt>
          <cx:pt idx="2573">0</cx:pt>
          <cx:pt idx="2574">0</cx:pt>
          <cx:pt idx="2575">0</cx:pt>
          <cx:pt idx="2576">0</cx:pt>
          <cx:pt idx="2577">0</cx:pt>
          <cx:pt idx="2578">0</cx:pt>
          <cx:pt idx="2579">0</cx:pt>
          <cx:pt idx="2580">0</cx:pt>
          <cx:pt idx="2581">0</cx:pt>
          <cx:pt idx="2582">0</cx:pt>
          <cx:pt idx="2583">0</cx:pt>
          <cx:pt idx="2584">0</cx:pt>
          <cx:pt idx="2585">0</cx:pt>
          <cx:pt idx="2586">0</cx:pt>
          <cx:pt idx="2587">0</cx:pt>
          <cx:pt idx="2588">0</cx:pt>
          <cx:pt idx="2589">0</cx:pt>
          <cx:pt idx="2590">0</cx:pt>
          <cx:pt idx="2591">0</cx:pt>
          <cx:pt idx="2592">0</cx:pt>
          <cx:pt idx="2593">0</cx:pt>
          <cx:pt idx="2594">0</cx:pt>
          <cx:pt idx="2595">0</cx:pt>
          <cx:pt idx="2596">0</cx:pt>
          <cx:pt idx="2597">0</cx:pt>
          <cx:pt idx="2598">0</cx:pt>
          <cx:pt idx="2599">0</cx:pt>
          <cx:pt idx="2600">0</cx:pt>
          <cx:pt idx="2601">0</cx:pt>
          <cx:pt idx="2602">0</cx:pt>
          <cx:pt idx="2603">0</cx:pt>
          <cx:pt idx="2604">0</cx:pt>
          <cx:pt idx="2605">0</cx:pt>
          <cx:pt idx="2606">0</cx:pt>
          <cx:pt idx="2607">0</cx:pt>
          <cx:pt idx="2608">0</cx:pt>
          <cx:pt idx="2609">0</cx:pt>
          <cx:pt idx="2610">0</cx:pt>
          <cx:pt idx="2611">0</cx:pt>
          <cx:pt idx="2612">0</cx:pt>
          <cx:pt idx="2613">0</cx:pt>
          <cx:pt idx="2614">0</cx:pt>
          <cx:pt idx="2615">0</cx:pt>
          <cx:pt idx="2616">0</cx:pt>
          <cx:pt idx="2617">0</cx:pt>
          <cx:pt idx="2618">0</cx:pt>
          <cx:pt idx="2619">0</cx:pt>
          <cx:pt idx="2620">0</cx:pt>
          <cx:pt idx="2621">0</cx:pt>
          <cx:pt idx="2622">0</cx:pt>
          <cx:pt idx="2623">0</cx:pt>
          <cx:pt idx="2624">0</cx:pt>
          <cx:pt idx="2625">0</cx:pt>
          <cx:pt idx="2626">0</cx:pt>
          <cx:pt idx="2627">0</cx:pt>
          <cx:pt idx="2628">0</cx:pt>
          <cx:pt idx="2629">0</cx:pt>
          <cx:pt idx="2630">0</cx:pt>
          <cx:pt idx="2631">0</cx:pt>
          <cx:pt idx="2632">0</cx:pt>
          <cx:pt idx="2633">0</cx:pt>
          <cx:pt idx="2634">0</cx:pt>
          <cx:pt idx="2635">0</cx:pt>
          <cx:pt idx="2636">0</cx:pt>
          <cx:pt idx="2637">0</cx:pt>
          <cx:pt idx="2638">0</cx:pt>
          <cx:pt idx="2639">0</cx:pt>
          <cx:pt idx="2640">0</cx:pt>
          <cx:pt idx="2641">0</cx:pt>
          <cx:pt idx="2642">0</cx:pt>
          <cx:pt idx="2643">0</cx:pt>
          <cx:pt idx="2644">0</cx:pt>
          <cx:pt idx="2645">0</cx:pt>
          <cx:pt idx="2646">0</cx:pt>
          <cx:pt idx="2647">0</cx:pt>
          <cx:pt idx="2648">0</cx:pt>
          <cx:pt idx="2649">0</cx:pt>
          <cx:pt idx="2650">0</cx:pt>
          <cx:pt idx="2651">0</cx:pt>
          <cx:pt idx="2652">0</cx:pt>
          <cx:pt idx="2653">0</cx:pt>
          <cx:pt idx="2654">0</cx:pt>
          <cx:pt idx="2655">0</cx:pt>
          <cx:pt idx="2656">0</cx:pt>
          <cx:pt idx="2657">0</cx:pt>
          <cx:pt idx="2658">0</cx:pt>
          <cx:pt idx="2659">0</cx:pt>
          <cx:pt idx="2660">0</cx:pt>
          <cx:pt idx="2661">0</cx:pt>
          <cx:pt idx="2662">0</cx:pt>
          <cx:pt idx="2663">0</cx:pt>
          <cx:pt idx="2664">0</cx:pt>
          <cx:pt idx="2665">0</cx:pt>
          <cx:pt idx="2666">0</cx:pt>
          <cx:pt idx="2667">0</cx:pt>
          <cx:pt idx="2668">0</cx:pt>
          <cx:pt idx="2669">0</cx:pt>
          <cx:pt idx="2670">0</cx:pt>
          <cx:pt idx="2671">0</cx:pt>
          <cx:pt idx="2672">0</cx:pt>
          <cx:pt idx="2673">0</cx:pt>
          <cx:pt idx="2674">0</cx:pt>
          <cx:pt idx="2675">0</cx:pt>
          <cx:pt idx="2676">0</cx:pt>
          <cx:pt idx="2677">0</cx:pt>
          <cx:pt idx="2678">0</cx:pt>
          <cx:pt idx="2679">0</cx:pt>
          <cx:pt idx="2680">0</cx:pt>
          <cx:pt idx="2681">0</cx:pt>
          <cx:pt idx="2682">0</cx:pt>
          <cx:pt idx="2683">0</cx:pt>
          <cx:pt idx="2684">0</cx:pt>
          <cx:pt idx="2685">0</cx:pt>
          <cx:pt idx="2686">0</cx:pt>
          <cx:pt idx="2687">0</cx:pt>
          <cx:pt idx="2688">0</cx:pt>
          <cx:pt idx="2689">0</cx:pt>
          <cx:pt idx="2690">0</cx:pt>
          <cx:pt idx="2691">0</cx:pt>
          <cx:pt idx="2692">0</cx:pt>
          <cx:pt idx="2693">0</cx:pt>
          <cx:pt idx="2694">0</cx:pt>
          <cx:pt idx="2695">0</cx:pt>
          <cx:pt idx="2696">0</cx:pt>
          <cx:pt idx="2697">0</cx:pt>
          <cx:pt idx="2698">0</cx:pt>
          <cx:pt idx="2699">0</cx:pt>
          <cx:pt idx="2700">0</cx:pt>
          <cx:pt idx="2701">0</cx:pt>
          <cx:pt idx="2702">0</cx:pt>
          <cx:pt idx="2703">0</cx:pt>
          <cx:pt idx="2704">0</cx:pt>
          <cx:pt idx="2705">0</cx:pt>
          <cx:pt idx="2706">0</cx:pt>
          <cx:pt idx="2707">0</cx:pt>
          <cx:pt idx="2708">0</cx:pt>
          <cx:pt idx="2709">0</cx:pt>
          <cx:pt idx="2710">0</cx:pt>
          <cx:pt idx="2711">0</cx:pt>
          <cx:pt idx="2712">0</cx:pt>
          <cx:pt idx="2713">0</cx:pt>
          <cx:pt idx="2714">0</cx:pt>
          <cx:pt idx="2715">0</cx:pt>
          <cx:pt idx="2716">0</cx:pt>
          <cx:pt idx="2717">0</cx:pt>
          <cx:pt idx="2718">0</cx:pt>
          <cx:pt idx="2719">0</cx:pt>
          <cx:pt idx="2720">0</cx:pt>
          <cx:pt idx="2721">0</cx:pt>
          <cx:pt idx="2722">0</cx:pt>
          <cx:pt idx="2723">0</cx:pt>
          <cx:pt idx="2724">0</cx:pt>
          <cx:pt idx="2725">0</cx:pt>
          <cx:pt idx="2726">0</cx:pt>
          <cx:pt idx="2727">0</cx:pt>
          <cx:pt idx="2728">0</cx:pt>
          <cx:pt idx="2729">0</cx:pt>
          <cx:pt idx="2730">0</cx:pt>
          <cx:pt idx="2731">0</cx:pt>
          <cx:pt idx="2732">0</cx:pt>
          <cx:pt idx="2733">0</cx:pt>
          <cx:pt idx="2734">0</cx:pt>
          <cx:pt idx="2735">0</cx:pt>
          <cx:pt idx="2736">0</cx:pt>
          <cx:pt idx="2737">0</cx:pt>
          <cx:pt idx="2738">0</cx:pt>
          <cx:pt idx="2739">0</cx:pt>
          <cx:pt idx="2740">0</cx:pt>
          <cx:pt idx="2741">0</cx:pt>
          <cx:pt idx="2742">0</cx:pt>
          <cx:pt idx="2743">0</cx:pt>
          <cx:pt idx="2744">0</cx:pt>
          <cx:pt idx="2745">0</cx:pt>
          <cx:pt idx="2746">0</cx:pt>
          <cx:pt idx="2747">0</cx:pt>
          <cx:pt idx="2748">0</cx:pt>
          <cx:pt idx="2749">0</cx:pt>
          <cx:pt idx="2750">0</cx:pt>
          <cx:pt idx="2751">0</cx:pt>
          <cx:pt idx="2752">0</cx:pt>
          <cx:pt idx="2753">0</cx:pt>
          <cx:pt idx="2754">0</cx:pt>
          <cx:pt idx="2755">0</cx:pt>
          <cx:pt idx="2756">0</cx:pt>
          <cx:pt idx="2757">0</cx:pt>
          <cx:pt idx="2758">0</cx:pt>
          <cx:pt idx="2759">0</cx:pt>
          <cx:pt idx="2760">0</cx:pt>
          <cx:pt idx="2761">0</cx:pt>
          <cx:pt idx="2762">0</cx:pt>
          <cx:pt idx="2763">0</cx:pt>
          <cx:pt idx="2764">0</cx:pt>
          <cx:pt idx="2765">0</cx:pt>
          <cx:pt idx="2766">0</cx:pt>
          <cx:pt idx="2767">0</cx:pt>
          <cx:pt idx="2768">0</cx:pt>
          <cx:pt idx="2769">0</cx:pt>
          <cx:pt idx="2770">0</cx:pt>
          <cx:pt idx="2771">0</cx:pt>
          <cx:pt idx="2772">0</cx:pt>
          <cx:pt idx="2773">0</cx:pt>
          <cx:pt idx="2774">0</cx:pt>
          <cx:pt idx="2775">0</cx:pt>
          <cx:pt idx="2776">0</cx:pt>
          <cx:pt idx="2777">0</cx:pt>
          <cx:pt idx="2778">0</cx:pt>
          <cx:pt idx="2779">0</cx:pt>
          <cx:pt idx="2780">0</cx:pt>
          <cx:pt idx="2781">0</cx:pt>
          <cx:pt idx="2782">0</cx:pt>
          <cx:pt idx="2783">0</cx:pt>
          <cx:pt idx="2784">0</cx:pt>
          <cx:pt idx="2785">0</cx:pt>
          <cx:pt idx="2786">0</cx:pt>
          <cx:pt idx="2787">0</cx:pt>
          <cx:pt idx="2788">0</cx:pt>
          <cx:pt idx="2789">0</cx:pt>
          <cx:pt idx="2790">0</cx:pt>
          <cx:pt idx="2791">0</cx:pt>
          <cx:pt idx="2792">0</cx:pt>
          <cx:pt idx="2793">0</cx:pt>
          <cx:pt idx="2794">0</cx:pt>
          <cx:pt idx="2795">0</cx:pt>
          <cx:pt idx="2796">0</cx:pt>
          <cx:pt idx="2797">0</cx:pt>
          <cx:pt idx="2798">0</cx:pt>
          <cx:pt idx="2799">0</cx:pt>
          <cx:pt idx="2800">0</cx:pt>
          <cx:pt idx="2801">0</cx:pt>
          <cx:pt idx="2802">0</cx:pt>
          <cx:pt idx="2803">0</cx:pt>
          <cx:pt idx="2804">0</cx:pt>
          <cx:pt idx="2805">0</cx:pt>
          <cx:pt idx="2806">0</cx:pt>
          <cx:pt idx="2807">0</cx:pt>
          <cx:pt idx="2808">0</cx:pt>
          <cx:pt idx="2809">0</cx:pt>
          <cx:pt idx="2810">0</cx:pt>
          <cx:pt idx="2811">0</cx:pt>
          <cx:pt idx="2812">0</cx:pt>
          <cx:pt idx="2813">0</cx:pt>
          <cx:pt idx="2814">0</cx:pt>
          <cx:pt idx="2815">0</cx:pt>
          <cx:pt idx="2816">0</cx:pt>
          <cx:pt idx="2817">0</cx:pt>
          <cx:pt idx="2818">0</cx:pt>
          <cx:pt idx="2819">0</cx:pt>
          <cx:pt idx="2820">0</cx:pt>
          <cx:pt idx="2821">0</cx:pt>
          <cx:pt idx="2822">0</cx:pt>
          <cx:pt idx="2823">0</cx:pt>
          <cx:pt idx="2824">0</cx:pt>
          <cx:pt idx="2825">0</cx:pt>
          <cx:pt idx="2826">0</cx:pt>
          <cx:pt idx="2827">0</cx:pt>
          <cx:pt idx="2828">0</cx:pt>
          <cx:pt idx="2829">0</cx:pt>
          <cx:pt idx="2830">0</cx:pt>
          <cx:pt idx="2831">0</cx:pt>
          <cx:pt idx="2832">0</cx:pt>
          <cx:pt idx="2833">0</cx:pt>
          <cx:pt idx="2834">0</cx:pt>
          <cx:pt idx="2835">0</cx:pt>
          <cx:pt idx="2836">0</cx:pt>
          <cx:pt idx="2837">0</cx:pt>
          <cx:pt idx="2838">0</cx:pt>
          <cx:pt idx="2839">0</cx:pt>
          <cx:pt idx="2840">0</cx:pt>
          <cx:pt idx="2841">0</cx:pt>
          <cx:pt idx="2842">0</cx:pt>
          <cx:pt idx="2843">0</cx:pt>
          <cx:pt idx="2844">0</cx:pt>
          <cx:pt idx="2845">0</cx:pt>
          <cx:pt idx="2846">0</cx:pt>
          <cx:pt idx="2847">0</cx:pt>
          <cx:pt idx="2848">0</cx:pt>
          <cx:pt idx="2849">0</cx:pt>
          <cx:pt idx="2850">0</cx:pt>
          <cx:pt idx="2851">0</cx:pt>
          <cx:pt idx="2852">0</cx:pt>
          <cx:pt idx="2853">0</cx:pt>
          <cx:pt idx="2854">0</cx:pt>
          <cx:pt idx="2855">0</cx:pt>
          <cx:pt idx="2856">0</cx:pt>
          <cx:pt idx="2857">0</cx:pt>
          <cx:pt idx="2858">0</cx:pt>
          <cx:pt idx="2859">0</cx:pt>
          <cx:pt idx="2860">0</cx:pt>
          <cx:pt idx="2861">0</cx:pt>
          <cx:pt idx="2862">0</cx:pt>
          <cx:pt idx="2863">0</cx:pt>
          <cx:pt idx="2864">0</cx:pt>
          <cx:pt idx="2865">0</cx:pt>
          <cx:pt idx="2866">0</cx:pt>
          <cx:pt idx="2867">0</cx:pt>
          <cx:pt idx="2868">0</cx:pt>
          <cx:pt idx="2869">0</cx:pt>
          <cx:pt idx="2870">0</cx:pt>
          <cx:pt idx="2871">0</cx:pt>
          <cx:pt idx="2872">0</cx:pt>
          <cx:pt idx="2873">0</cx:pt>
          <cx:pt idx="2874">0</cx:pt>
          <cx:pt idx="2875">0</cx:pt>
          <cx:pt idx="2876">0</cx:pt>
          <cx:pt idx="2877">0</cx:pt>
          <cx:pt idx="2878">0</cx:pt>
          <cx:pt idx="2879">0</cx:pt>
          <cx:pt idx="2880">0</cx:pt>
          <cx:pt idx="2881">0</cx:pt>
          <cx:pt idx="2882">0</cx:pt>
          <cx:pt idx="2883">0</cx:pt>
          <cx:pt idx="2884">0</cx:pt>
          <cx:pt idx="2885">0</cx:pt>
          <cx:pt idx="2886">0</cx:pt>
          <cx:pt idx="2887">0</cx:pt>
          <cx:pt idx="2888">0</cx:pt>
          <cx:pt idx="2889">0</cx:pt>
          <cx:pt idx="2890">0</cx:pt>
          <cx:pt idx="2891">0</cx:pt>
          <cx:pt idx="2892">0</cx:pt>
          <cx:pt idx="2893">0</cx:pt>
          <cx:pt idx="2894">0</cx:pt>
          <cx:pt idx="2895">0</cx:pt>
          <cx:pt idx="2896">0</cx:pt>
          <cx:pt idx="2897">0</cx:pt>
          <cx:pt idx="2898">0</cx:pt>
          <cx:pt idx="2899">0</cx:pt>
          <cx:pt idx="2900">0</cx:pt>
          <cx:pt idx="2901">0</cx:pt>
          <cx:pt idx="2902">0</cx:pt>
          <cx:pt idx="2903">0</cx:pt>
          <cx:pt idx="2904">0</cx:pt>
          <cx:pt idx="2905">0</cx:pt>
          <cx:pt idx="2906">0</cx:pt>
          <cx:pt idx="2907">0</cx:pt>
          <cx:pt idx="2908">0</cx:pt>
          <cx:pt idx="2909">0</cx:pt>
          <cx:pt idx="2910">0</cx:pt>
          <cx:pt idx="2911">0</cx:pt>
          <cx:pt idx="2912">0</cx:pt>
          <cx:pt idx="2913">0</cx:pt>
          <cx:pt idx="2914">0</cx:pt>
          <cx:pt idx="2915">0</cx:pt>
          <cx:pt idx="2916">0</cx:pt>
          <cx:pt idx="2917">0</cx:pt>
          <cx:pt idx="2918">0</cx:pt>
          <cx:pt idx="2919">0</cx:pt>
          <cx:pt idx="2920">0</cx:pt>
          <cx:pt idx="2921">0</cx:pt>
          <cx:pt idx="2922">0</cx:pt>
          <cx:pt idx="2923">0</cx:pt>
          <cx:pt idx="2924">0</cx:pt>
          <cx:pt idx="2925">0</cx:pt>
          <cx:pt idx="2926">0</cx:pt>
          <cx:pt idx="2927">0</cx:pt>
          <cx:pt idx="2928">0</cx:pt>
          <cx:pt idx="2929">0</cx:pt>
          <cx:pt idx="2930">0</cx:pt>
          <cx:pt idx="2931">0</cx:pt>
          <cx:pt idx="2932">0</cx:pt>
          <cx:pt idx="2933">0</cx:pt>
          <cx:pt idx="2934">0</cx:pt>
          <cx:pt idx="2935">0</cx:pt>
          <cx:pt idx="2936">0</cx:pt>
          <cx:pt idx="2937">0</cx:pt>
          <cx:pt idx="2938">0</cx:pt>
          <cx:pt idx="2939">0</cx:pt>
          <cx:pt idx="2940">0</cx:pt>
          <cx:pt idx="2941">0</cx:pt>
          <cx:pt idx="2942">0</cx:pt>
          <cx:pt idx="2943">0</cx:pt>
          <cx:pt idx="2944">0</cx:pt>
          <cx:pt idx="2945">0</cx:pt>
          <cx:pt idx="2946">0</cx:pt>
          <cx:pt idx="2947">0</cx:pt>
          <cx:pt idx="2948">0</cx:pt>
          <cx:pt idx="2949">0</cx:pt>
          <cx:pt idx="2950">0</cx:pt>
          <cx:pt idx="2951">0</cx:pt>
          <cx:pt idx="2952">0</cx:pt>
          <cx:pt idx="2953">0</cx:pt>
          <cx:pt idx="2954">0</cx:pt>
          <cx:pt idx="2955">0</cx:pt>
          <cx:pt idx="2956">0</cx:pt>
          <cx:pt idx="2957">0</cx:pt>
          <cx:pt idx="2958">0</cx:pt>
          <cx:pt idx="2959">0</cx:pt>
          <cx:pt idx="2960">0</cx:pt>
          <cx:pt idx="2961">0</cx:pt>
          <cx:pt idx="2962">0</cx:pt>
          <cx:pt idx="2963">0</cx:pt>
          <cx:pt idx="2964">0</cx:pt>
          <cx:pt idx="2965">0</cx:pt>
          <cx:pt idx="2966">0</cx:pt>
          <cx:pt idx="2967">0</cx:pt>
          <cx:pt idx="2968">0</cx:pt>
          <cx:pt idx="2969">0</cx:pt>
          <cx:pt idx="2970">0</cx:pt>
          <cx:pt idx="2971">0</cx:pt>
          <cx:pt idx="2972">0</cx:pt>
          <cx:pt idx="2973">0</cx:pt>
          <cx:pt idx="2974">0</cx:pt>
          <cx:pt idx="2975">0</cx:pt>
          <cx:pt idx="2976">0</cx:pt>
          <cx:pt idx="2977">0</cx:pt>
          <cx:pt idx="2978">0</cx:pt>
          <cx:pt idx="2979">0</cx:pt>
          <cx:pt idx="2980">0</cx:pt>
          <cx:pt idx="2981">0</cx:pt>
          <cx:pt idx="2982">0</cx:pt>
          <cx:pt idx="2983">0</cx:pt>
          <cx:pt idx="2984">0</cx:pt>
          <cx:pt idx="2985">0</cx:pt>
          <cx:pt idx="2986">0</cx:pt>
          <cx:pt idx="2987">0</cx:pt>
          <cx:pt idx="2988">0</cx:pt>
          <cx:pt idx="2989">0</cx:pt>
          <cx:pt idx="2990">0</cx:pt>
          <cx:pt idx="2991">0</cx:pt>
          <cx:pt idx="2992">0</cx:pt>
          <cx:pt idx="2993">0</cx:pt>
          <cx:pt idx="2994">0</cx:pt>
          <cx:pt idx="2995">0</cx:pt>
          <cx:pt idx="2996">0</cx:pt>
          <cx:pt idx="2997">0</cx:pt>
          <cx:pt idx="2998">0</cx:pt>
          <cx:pt idx="2999">0</cx:pt>
          <cx:pt idx="3000">0</cx:pt>
          <cx:pt idx="3001">0</cx:pt>
          <cx:pt idx="3002">0</cx:pt>
          <cx:pt idx="3003">0</cx:pt>
          <cx:pt idx="3004">0</cx:pt>
          <cx:pt idx="3005">0</cx:pt>
          <cx:pt idx="3006">0</cx:pt>
          <cx:pt idx="3007">0</cx:pt>
          <cx:pt idx="3008">0</cx:pt>
          <cx:pt idx="3009">0</cx:pt>
          <cx:pt idx="3010">0</cx:pt>
          <cx:pt idx="3011">0</cx:pt>
          <cx:pt idx="3012">0</cx:pt>
          <cx:pt idx="3013">0</cx:pt>
          <cx:pt idx="3014">0</cx:pt>
          <cx:pt idx="3015">0</cx:pt>
          <cx:pt idx="3016">0</cx:pt>
          <cx:pt idx="3017">0</cx:pt>
          <cx:pt idx="3018">0</cx:pt>
          <cx:pt idx="3019">0</cx:pt>
          <cx:pt idx="3020">0</cx:pt>
          <cx:pt idx="3021">0</cx:pt>
          <cx:pt idx="3022">0</cx:pt>
          <cx:pt idx="3023">0</cx:pt>
          <cx:pt idx="3024">0</cx:pt>
          <cx:pt idx="3025">0</cx:pt>
          <cx:pt idx="3026">0</cx:pt>
          <cx:pt idx="3027">0</cx:pt>
          <cx:pt idx="3028">0</cx:pt>
          <cx:pt idx="3029">0</cx:pt>
          <cx:pt idx="3030">0</cx:pt>
          <cx:pt idx="3031">0</cx:pt>
          <cx:pt idx="3032">0</cx:pt>
          <cx:pt idx="3033">0</cx:pt>
          <cx:pt idx="3034">0</cx:pt>
          <cx:pt idx="3035">0</cx:pt>
          <cx:pt idx="3036">0</cx:pt>
          <cx:pt idx="3037">0</cx:pt>
          <cx:pt idx="3038">0</cx:pt>
          <cx:pt idx="3039">0</cx:pt>
          <cx:pt idx="3040">0</cx:pt>
          <cx:pt idx="3041">0</cx:pt>
          <cx:pt idx="3042">0</cx:pt>
          <cx:pt idx="3043">0</cx:pt>
          <cx:pt idx="3044">0</cx:pt>
          <cx:pt idx="3045">0</cx:pt>
          <cx:pt idx="3046">0</cx:pt>
          <cx:pt idx="3047">0</cx:pt>
          <cx:pt idx="3048">0</cx:pt>
          <cx:pt idx="3049">0</cx:pt>
          <cx:pt idx="3050">0</cx:pt>
          <cx:pt idx="3051">0</cx:pt>
          <cx:pt idx="3052">0</cx:pt>
          <cx:pt idx="3053">0</cx:pt>
          <cx:pt idx="3054">0</cx:pt>
          <cx:pt idx="3055">0</cx:pt>
          <cx:pt idx="3056">0</cx:pt>
          <cx:pt idx="3057">0</cx:pt>
          <cx:pt idx="3058">0</cx:pt>
          <cx:pt idx="3059">0</cx:pt>
          <cx:pt idx="3060">0</cx:pt>
          <cx:pt idx="3061">0</cx:pt>
          <cx:pt idx="3062">0</cx:pt>
          <cx:pt idx="3063">0</cx:pt>
          <cx:pt idx="3064">0</cx:pt>
          <cx:pt idx="3065">0</cx:pt>
          <cx:pt idx="3066">0</cx:pt>
          <cx:pt idx="3067">0</cx:pt>
          <cx:pt idx="3068">0</cx:pt>
          <cx:pt idx="3069">0</cx:pt>
          <cx:pt idx="3070">0</cx:pt>
          <cx:pt idx="3071">0</cx:pt>
          <cx:pt idx="3072">0</cx:pt>
          <cx:pt idx="3073">0</cx:pt>
          <cx:pt idx="3074">0</cx:pt>
          <cx:pt idx="3075">0</cx:pt>
          <cx:pt idx="3076">0</cx:pt>
          <cx:pt idx="3077">0</cx:pt>
          <cx:pt idx="3078">0</cx:pt>
          <cx:pt idx="3079">0</cx:pt>
          <cx:pt idx="3080">0</cx:pt>
          <cx:pt idx="3081">0</cx:pt>
          <cx:pt idx="3082">0</cx:pt>
          <cx:pt idx="3083">0</cx:pt>
          <cx:pt idx="3084">0</cx:pt>
          <cx:pt idx="3085">0</cx:pt>
          <cx:pt idx="3086">0</cx:pt>
          <cx:pt idx="3087">0</cx:pt>
          <cx:pt idx="3088">0</cx:pt>
          <cx:pt idx="3089">0</cx:pt>
          <cx:pt idx="3090">0</cx:pt>
          <cx:pt idx="3091">0</cx:pt>
          <cx:pt idx="3092">0</cx:pt>
          <cx:pt idx="3093">0</cx:pt>
          <cx:pt idx="3094">0</cx:pt>
          <cx:pt idx="3095">0</cx:pt>
          <cx:pt idx="3096">0</cx:pt>
          <cx:pt idx="3097">0</cx:pt>
          <cx:pt idx="3098">0</cx:pt>
          <cx:pt idx="3099">0</cx:pt>
          <cx:pt idx="3100">0</cx:pt>
          <cx:pt idx="3101">0</cx:pt>
          <cx:pt idx="3102">0</cx:pt>
          <cx:pt idx="3103">0</cx:pt>
          <cx:pt idx="3104">0</cx:pt>
          <cx:pt idx="3105">0</cx:pt>
          <cx:pt idx="3106">0</cx:pt>
          <cx:pt idx="3107">0</cx:pt>
          <cx:pt idx="3108">0</cx:pt>
          <cx:pt idx="3109">0</cx:pt>
          <cx:pt idx="3110">0</cx:pt>
          <cx:pt idx="3111">0</cx:pt>
          <cx:pt idx="3112">0</cx:pt>
          <cx:pt idx="3113">0</cx:pt>
          <cx:pt idx="3114">0</cx:pt>
          <cx:pt idx="3115">0</cx:pt>
          <cx:pt idx="3116">0</cx:pt>
          <cx:pt idx="3117">0</cx:pt>
          <cx:pt idx="3118">0</cx:pt>
          <cx:pt idx="3119">0</cx:pt>
          <cx:pt idx="3120">0</cx:pt>
          <cx:pt idx="3121">0</cx:pt>
          <cx:pt idx="3122">0</cx:pt>
          <cx:pt idx="3123">0</cx:pt>
          <cx:pt idx="3124">0</cx:pt>
          <cx:pt idx="3125">0</cx:pt>
          <cx:pt idx="3126">0</cx:pt>
          <cx:pt idx="3127">0</cx:pt>
          <cx:pt idx="3128">0</cx:pt>
          <cx:pt idx="3129">0</cx:pt>
          <cx:pt idx="3130">0</cx:pt>
          <cx:pt idx="3131">0</cx:pt>
          <cx:pt idx="3132">0</cx:pt>
          <cx:pt idx="3133">0</cx:pt>
          <cx:pt idx="3134">0</cx:pt>
          <cx:pt idx="3135">0</cx:pt>
          <cx:pt idx="3136">0</cx:pt>
          <cx:pt idx="3137">0</cx:pt>
          <cx:pt idx="3138">0</cx:pt>
          <cx:pt idx="3139">0</cx:pt>
          <cx:pt idx="3140">0</cx:pt>
          <cx:pt idx="3141">0</cx:pt>
          <cx:pt idx="3142">0</cx:pt>
          <cx:pt idx="3143">0</cx:pt>
          <cx:pt idx="3144">0</cx:pt>
          <cx:pt idx="3145">0</cx:pt>
          <cx:pt idx="3146">0</cx:pt>
          <cx:pt idx="3147">0</cx:pt>
          <cx:pt idx="3148">0</cx:pt>
          <cx:pt idx="3149">0</cx:pt>
          <cx:pt idx="3150">0</cx:pt>
          <cx:pt idx="3151">0</cx:pt>
          <cx:pt idx="3152">0</cx:pt>
          <cx:pt idx="3153">0</cx:pt>
          <cx:pt idx="3154">0</cx:pt>
          <cx:pt idx="3155">0</cx:pt>
          <cx:pt idx="3156">0</cx:pt>
          <cx:pt idx="3157">0</cx:pt>
          <cx:pt idx="3158">0</cx:pt>
          <cx:pt idx="3159">0</cx:pt>
          <cx:pt idx="3160">0</cx:pt>
          <cx:pt idx="3161">0</cx:pt>
          <cx:pt idx="3162">0</cx:pt>
          <cx:pt idx="3163">0</cx:pt>
          <cx:pt idx="3164">0</cx:pt>
          <cx:pt idx="3165">0</cx:pt>
          <cx:pt idx="3166">0</cx:pt>
          <cx:pt idx="3167">0</cx:pt>
          <cx:pt idx="3168">0</cx:pt>
          <cx:pt idx="3169">0</cx:pt>
          <cx:pt idx="3170">0</cx:pt>
          <cx:pt idx="3171">0</cx:pt>
          <cx:pt idx="3172">0</cx:pt>
          <cx:pt idx="3173">0</cx:pt>
          <cx:pt idx="3174">0</cx:pt>
          <cx:pt idx="3175">0</cx:pt>
          <cx:pt idx="3176">0</cx:pt>
          <cx:pt idx="3177">0</cx:pt>
          <cx:pt idx="3178">0</cx:pt>
          <cx:pt idx="3179">0</cx:pt>
          <cx:pt idx="3180">0</cx:pt>
          <cx:pt idx="3181">0</cx:pt>
          <cx:pt idx="3182">0</cx:pt>
          <cx:pt idx="3183">0</cx:pt>
          <cx:pt idx="3184">0</cx:pt>
          <cx:pt idx="3185">0</cx:pt>
          <cx:pt idx="3186">0</cx:pt>
          <cx:pt idx="3187">0</cx:pt>
          <cx:pt idx="3188">0</cx:pt>
          <cx:pt idx="3189">0</cx:pt>
          <cx:pt idx="3190">0</cx:pt>
          <cx:pt idx="3191">0</cx:pt>
          <cx:pt idx="3192">0</cx:pt>
          <cx:pt idx="3193">0</cx:pt>
          <cx:pt idx="3194">0</cx:pt>
          <cx:pt idx="3195">0</cx:pt>
          <cx:pt idx="3196">0</cx:pt>
          <cx:pt idx="3197">0</cx:pt>
          <cx:pt idx="3198">0</cx:pt>
          <cx:pt idx="3199">0</cx:pt>
          <cx:pt idx="3200">0</cx:pt>
          <cx:pt idx="3201">0</cx:pt>
          <cx:pt idx="3202">0</cx:pt>
          <cx:pt idx="3203">0</cx:pt>
          <cx:pt idx="3204">0</cx:pt>
          <cx:pt idx="3205">0</cx:pt>
          <cx:pt idx="3206">0</cx:pt>
          <cx:pt idx="3207">0</cx:pt>
          <cx:pt idx="3208">0</cx:pt>
          <cx:pt idx="3209">0</cx:pt>
          <cx:pt idx="3210">0</cx:pt>
          <cx:pt idx="3211">0</cx:pt>
          <cx:pt idx="3212">0</cx:pt>
          <cx:pt idx="3213">0</cx:pt>
          <cx:pt idx="3214">0</cx:pt>
          <cx:pt idx="3215">0</cx:pt>
          <cx:pt idx="3216">0</cx:pt>
          <cx:pt idx="3217">0</cx:pt>
          <cx:pt idx="3218">0</cx:pt>
          <cx:pt idx="3219">0</cx:pt>
          <cx:pt idx="3220">0</cx:pt>
          <cx:pt idx="3221">0</cx:pt>
          <cx:pt idx="3222">0</cx:pt>
          <cx:pt idx="3223">0</cx:pt>
          <cx:pt idx="3224">0</cx:pt>
          <cx:pt idx="3225">0</cx:pt>
          <cx:pt idx="3226">0</cx:pt>
          <cx:pt idx="3227">0</cx:pt>
          <cx:pt idx="3228">0</cx:pt>
          <cx:pt idx="3229">0</cx:pt>
          <cx:pt idx="3230">0</cx:pt>
          <cx:pt idx="3231">0</cx:pt>
          <cx:pt idx="3232">0</cx:pt>
          <cx:pt idx="3233">0</cx:pt>
          <cx:pt idx="3234">0</cx:pt>
          <cx:pt idx="3235">0</cx:pt>
          <cx:pt idx="3236">0</cx:pt>
          <cx:pt idx="3237">0</cx:pt>
          <cx:pt idx="3238">0</cx:pt>
          <cx:pt idx="3239">0</cx:pt>
          <cx:pt idx="3240">0</cx:pt>
          <cx:pt idx="3241">0</cx:pt>
          <cx:pt idx="3242">0</cx:pt>
          <cx:pt idx="3243">0</cx:pt>
          <cx:pt idx="3244">0</cx:pt>
          <cx:pt idx="3245">0</cx:pt>
          <cx:pt idx="3246">0</cx:pt>
          <cx:pt idx="3247">0</cx:pt>
          <cx:pt idx="3248">0</cx:pt>
          <cx:pt idx="3249">0</cx:pt>
          <cx:pt idx="3250">0</cx:pt>
          <cx:pt idx="3251">0</cx:pt>
          <cx:pt idx="3252">0</cx:pt>
          <cx:pt idx="3253">0</cx:pt>
          <cx:pt idx="3254">0</cx:pt>
          <cx:pt idx="3255">0</cx:pt>
          <cx:pt idx="3256">0</cx:pt>
          <cx:pt idx="3257">0</cx:pt>
          <cx:pt idx="3258">0</cx:pt>
          <cx:pt idx="3259">0</cx:pt>
          <cx:pt idx="3260">0</cx:pt>
          <cx:pt idx="3261">0</cx:pt>
          <cx:pt idx="3262">0</cx:pt>
          <cx:pt idx="3263">0</cx:pt>
          <cx:pt idx="3264">0</cx:pt>
          <cx:pt idx="3265">0</cx:pt>
          <cx:pt idx="3266">0</cx:pt>
          <cx:pt idx="3267">0</cx:pt>
          <cx:pt idx="3268">0</cx:pt>
          <cx:pt idx="3269">0</cx:pt>
          <cx:pt idx="3270">0</cx:pt>
          <cx:pt idx="3271">0</cx:pt>
          <cx:pt idx="3272">0</cx:pt>
          <cx:pt idx="3273">0</cx:pt>
          <cx:pt idx="3274">0</cx:pt>
          <cx:pt idx="3275">0</cx:pt>
          <cx:pt idx="3276">0</cx:pt>
          <cx:pt idx="3277">0</cx:pt>
          <cx:pt idx="3278">0</cx:pt>
          <cx:pt idx="3279">0</cx:pt>
          <cx:pt idx="3280">0</cx:pt>
          <cx:pt idx="3281">0</cx:pt>
          <cx:pt idx="3282">0</cx:pt>
          <cx:pt idx="3283">0</cx:pt>
          <cx:pt idx="3284">0</cx:pt>
          <cx:pt idx="3285">0</cx:pt>
          <cx:pt idx="3286">0</cx:pt>
          <cx:pt idx="3287">0</cx:pt>
          <cx:pt idx="3288">0</cx:pt>
          <cx:pt idx="3289">0</cx:pt>
          <cx:pt idx="3290">0</cx:pt>
          <cx:pt idx="3291">0</cx:pt>
          <cx:pt idx="3292">0</cx:pt>
          <cx:pt idx="3293">0</cx:pt>
          <cx:pt idx="3294">0</cx:pt>
          <cx:pt idx="3295">0</cx:pt>
          <cx:pt idx="3296">0</cx:pt>
          <cx:pt idx="3297">0</cx:pt>
          <cx:pt idx="3298">0</cx:pt>
          <cx:pt idx="3299">0</cx:pt>
          <cx:pt idx="3300">0</cx:pt>
          <cx:pt idx="3301">0</cx:pt>
          <cx:pt idx="3302">0</cx:pt>
          <cx:pt idx="3303">0</cx:pt>
          <cx:pt idx="3304">0</cx:pt>
          <cx:pt idx="3305">0</cx:pt>
          <cx:pt idx="3306">0</cx:pt>
          <cx:pt idx="3307">0</cx:pt>
          <cx:pt idx="3308">0</cx:pt>
          <cx:pt idx="3309">0</cx:pt>
          <cx:pt idx="3310">0</cx:pt>
          <cx:pt idx="3311">0</cx:pt>
          <cx:pt idx="3312">0</cx:pt>
          <cx:pt idx="3313">0</cx:pt>
          <cx:pt idx="3314">0</cx:pt>
          <cx:pt idx="3315">0</cx:pt>
          <cx:pt idx="3316">0</cx:pt>
          <cx:pt idx="3317">0</cx:pt>
          <cx:pt idx="3318">0</cx:pt>
          <cx:pt idx="3319">0</cx:pt>
          <cx:pt idx="3320">0</cx:pt>
          <cx:pt idx="3321">0</cx:pt>
          <cx:pt idx="3322">0</cx:pt>
          <cx:pt idx="3323">0</cx:pt>
          <cx:pt idx="3324">0</cx:pt>
          <cx:pt idx="3325">0</cx:pt>
          <cx:pt idx="3326">0</cx:pt>
          <cx:pt idx="3327">0</cx:pt>
          <cx:pt idx="3328">0</cx:pt>
          <cx:pt idx="3329">0</cx:pt>
          <cx:pt idx="3330">0</cx:pt>
          <cx:pt idx="3331">0</cx:pt>
          <cx:pt idx="3332">0</cx:pt>
          <cx:pt idx="3333">0</cx:pt>
          <cx:pt idx="3334">0</cx:pt>
          <cx:pt idx="3335">0</cx:pt>
          <cx:pt idx="3336">0</cx:pt>
          <cx:pt idx="3337">0</cx:pt>
          <cx:pt idx="3338">0</cx:pt>
          <cx:pt idx="3339">0</cx:pt>
          <cx:pt idx="3340">0</cx:pt>
          <cx:pt idx="3341">0</cx:pt>
          <cx:pt idx="3342">0</cx:pt>
          <cx:pt idx="3343">0</cx:pt>
          <cx:pt idx="3344">0</cx:pt>
          <cx:pt idx="3345">0</cx:pt>
          <cx:pt idx="3346">0</cx:pt>
          <cx:pt idx="3347">0</cx:pt>
          <cx:pt idx="3348">0</cx:pt>
          <cx:pt idx="3349">0</cx:pt>
          <cx:pt idx="3350">0</cx:pt>
          <cx:pt idx="3351">0</cx:pt>
          <cx:pt idx="3352">0</cx:pt>
          <cx:pt idx="3353">0</cx:pt>
          <cx:pt idx="3354">0</cx:pt>
          <cx:pt idx="3355">0</cx:pt>
          <cx:pt idx="3356">0</cx:pt>
          <cx:pt idx="3357">0</cx:pt>
          <cx:pt idx="3358">0</cx:pt>
          <cx:pt idx="3359">0</cx:pt>
          <cx:pt idx="3360">0</cx:pt>
          <cx:pt idx="3361">0</cx:pt>
          <cx:pt idx="3362">0</cx:pt>
          <cx:pt idx="3363">0</cx:pt>
          <cx:pt idx="3364">0</cx:pt>
          <cx:pt idx="3365">0</cx:pt>
          <cx:pt idx="3366">0</cx:pt>
          <cx:pt idx="3367">0</cx:pt>
          <cx:pt idx="3368">0</cx:pt>
          <cx:pt idx="3369">0</cx:pt>
          <cx:pt idx="3370">0</cx:pt>
          <cx:pt idx="3371">0</cx:pt>
          <cx:pt idx="3372">0</cx:pt>
          <cx:pt idx="3373">0</cx:pt>
          <cx:pt idx="3374">0</cx:pt>
          <cx:pt idx="3375">0</cx:pt>
          <cx:pt idx="3376">0</cx:pt>
          <cx:pt idx="3377">0</cx:pt>
          <cx:pt idx="3378">0</cx:pt>
          <cx:pt idx="3379">0</cx:pt>
          <cx:pt idx="3380">0</cx:pt>
          <cx:pt idx="3381">0</cx:pt>
          <cx:pt idx="3382">0</cx:pt>
          <cx:pt idx="3383">0</cx:pt>
          <cx:pt idx="3384">0</cx:pt>
          <cx:pt idx="3385">0</cx:pt>
          <cx:pt idx="3386">0</cx:pt>
          <cx:pt idx="3387">0</cx:pt>
          <cx:pt idx="3388">0</cx:pt>
          <cx:pt idx="3389">0</cx:pt>
          <cx:pt idx="3390">0</cx:pt>
          <cx:pt idx="3391">0</cx:pt>
          <cx:pt idx="3392">0</cx:pt>
          <cx:pt idx="3393">0</cx:pt>
          <cx:pt idx="3394">0</cx:pt>
          <cx:pt idx="3395">0</cx:pt>
          <cx:pt idx="3396">0</cx:pt>
          <cx:pt idx="3397">0</cx:pt>
          <cx:pt idx="3398">0</cx:pt>
          <cx:pt idx="3399">0</cx:pt>
          <cx:pt idx="3400">0</cx:pt>
          <cx:pt idx="3401">0</cx:pt>
          <cx:pt idx="3402">0</cx:pt>
          <cx:pt idx="3403">0</cx:pt>
          <cx:pt idx="3404">0</cx:pt>
          <cx:pt idx="3405">0</cx:pt>
          <cx:pt idx="3406">0</cx:pt>
          <cx:pt idx="3407">0</cx:pt>
          <cx:pt idx="3408">0</cx:pt>
          <cx:pt idx="3409">0</cx:pt>
          <cx:pt idx="3410">0</cx:pt>
          <cx:pt idx="3411">0</cx:pt>
          <cx:pt idx="3412">0</cx:pt>
          <cx:pt idx="3413">0</cx:pt>
          <cx:pt idx="3414">0</cx:pt>
          <cx:pt idx="3415">0</cx:pt>
          <cx:pt idx="3416">0</cx:pt>
          <cx:pt idx="3417">0</cx:pt>
          <cx:pt idx="3418">0</cx:pt>
          <cx:pt idx="3419">0</cx:pt>
          <cx:pt idx="3420">0</cx:pt>
          <cx:pt idx="3421">0</cx:pt>
          <cx:pt idx="3422">0</cx:pt>
          <cx:pt idx="3423">0</cx:pt>
          <cx:pt idx="3424">0</cx:pt>
          <cx:pt idx="3425">0</cx:pt>
          <cx:pt idx="3426">0</cx:pt>
          <cx:pt idx="3427">0</cx:pt>
          <cx:pt idx="3428">0</cx:pt>
          <cx:pt idx="3429">0</cx:pt>
          <cx:pt idx="3430">0</cx:pt>
          <cx:pt idx="3431">0</cx:pt>
          <cx:pt idx="3432">0</cx:pt>
          <cx:pt idx="3433">0</cx:pt>
          <cx:pt idx="3434">0</cx:pt>
          <cx:pt idx="3435">0</cx:pt>
          <cx:pt idx="3436">0</cx:pt>
          <cx:pt idx="3437">0</cx:pt>
          <cx:pt idx="3438">0</cx:pt>
          <cx:pt idx="3439">0</cx:pt>
          <cx:pt idx="3440">0</cx:pt>
          <cx:pt idx="3441">0</cx:pt>
          <cx:pt idx="3442">0</cx:pt>
          <cx:pt idx="3443">0</cx:pt>
          <cx:pt idx="3444">0</cx:pt>
          <cx:pt idx="3445">0</cx:pt>
          <cx:pt idx="3446">0</cx:pt>
          <cx:pt idx="3447">0</cx:pt>
          <cx:pt idx="3448">0</cx:pt>
          <cx:pt idx="3449">0</cx:pt>
          <cx:pt idx="3450">0</cx:pt>
          <cx:pt idx="3451">0</cx:pt>
          <cx:pt idx="3452">0</cx:pt>
          <cx:pt idx="3453">0</cx:pt>
          <cx:pt idx="3454">0</cx:pt>
          <cx:pt idx="3455">0</cx:pt>
          <cx:pt idx="3456">0</cx:pt>
          <cx:pt idx="3457">0</cx:pt>
          <cx:pt idx="3458">0</cx:pt>
          <cx:pt idx="3459">0</cx:pt>
          <cx:pt idx="3460">0</cx:pt>
          <cx:pt idx="3461">0</cx:pt>
          <cx:pt idx="3462">0</cx:pt>
          <cx:pt idx="3463">0</cx:pt>
          <cx:pt idx="3464">0</cx:pt>
          <cx:pt idx="3465">0</cx:pt>
          <cx:pt idx="3466">0</cx:pt>
          <cx:pt idx="3467">0</cx:pt>
          <cx:pt idx="3468">0</cx:pt>
          <cx:pt idx="3469">0</cx:pt>
          <cx:pt idx="3470">0</cx:pt>
          <cx:pt idx="3471">0</cx:pt>
          <cx:pt idx="3472">0</cx:pt>
          <cx:pt idx="3473">0</cx:pt>
          <cx:pt idx="3474">0</cx:pt>
          <cx:pt idx="3475">0</cx:pt>
          <cx:pt idx="3476">0</cx:pt>
          <cx:pt idx="3477">0</cx:pt>
          <cx:pt idx="3478">0</cx:pt>
          <cx:pt idx="3479">0</cx:pt>
          <cx:pt idx="3480">0</cx:pt>
          <cx:pt idx="3481">0</cx:pt>
          <cx:pt idx="3482">0</cx:pt>
          <cx:pt idx="3483">0</cx:pt>
          <cx:pt idx="3484">0</cx:pt>
          <cx:pt idx="3485">0</cx:pt>
          <cx:pt idx="3486">0</cx:pt>
          <cx:pt idx="3487">0</cx:pt>
          <cx:pt idx="3488">0</cx:pt>
          <cx:pt idx="3489">0</cx:pt>
          <cx:pt idx="3490">0</cx:pt>
          <cx:pt idx="3491">0</cx:pt>
          <cx:pt idx="3492">0</cx:pt>
          <cx:pt idx="3493">0</cx:pt>
          <cx:pt idx="3494">0</cx:pt>
          <cx:pt idx="3495">0</cx:pt>
          <cx:pt idx="3496">0</cx:pt>
          <cx:pt idx="3497">0</cx:pt>
          <cx:pt idx="3498">0</cx:pt>
          <cx:pt idx="3499">0</cx:pt>
          <cx:pt idx="3500">0</cx:pt>
          <cx:pt idx="3501">0</cx:pt>
          <cx:pt idx="3502">0</cx:pt>
          <cx:pt idx="3503">0</cx:pt>
          <cx:pt idx="3504">0</cx:pt>
          <cx:pt idx="3505">0</cx:pt>
          <cx:pt idx="3506">0</cx:pt>
          <cx:pt idx="3507">0</cx:pt>
          <cx:pt idx="3508">0</cx:pt>
          <cx:pt idx="3509">0</cx:pt>
          <cx:pt idx="3510">0</cx:pt>
          <cx:pt idx="3511">0</cx:pt>
          <cx:pt idx="3512">0</cx:pt>
          <cx:pt idx="3513">0</cx:pt>
          <cx:pt idx="3514">0</cx:pt>
          <cx:pt idx="3515">0</cx:pt>
          <cx:pt idx="3516">0</cx:pt>
          <cx:pt idx="3517">0</cx:pt>
          <cx:pt idx="3518">0</cx:pt>
          <cx:pt idx="3519">0</cx:pt>
          <cx:pt idx="3520">0</cx:pt>
          <cx:pt idx="3521">0</cx:pt>
          <cx:pt idx="3522">0</cx:pt>
          <cx:pt idx="3523">0</cx:pt>
          <cx:pt idx="3524">0</cx:pt>
          <cx:pt idx="3525">0</cx:pt>
          <cx:pt idx="3526">0</cx:pt>
          <cx:pt idx="3527">0</cx:pt>
          <cx:pt idx="3528">0</cx:pt>
          <cx:pt idx="3529">0</cx:pt>
          <cx:pt idx="3530">0</cx:pt>
          <cx:pt idx="3531">0</cx:pt>
          <cx:pt idx="3532">0</cx:pt>
          <cx:pt idx="3533">0</cx:pt>
          <cx:pt idx="3534">0</cx:pt>
          <cx:pt idx="3535">0</cx:pt>
          <cx:pt idx="3536">0</cx:pt>
          <cx:pt idx="3537">0</cx:pt>
          <cx:pt idx="3538">0</cx:pt>
          <cx:pt idx="3539">0</cx:pt>
          <cx:pt idx="3540">0</cx:pt>
          <cx:pt idx="3541">0</cx:pt>
          <cx:pt idx="3542">0</cx:pt>
          <cx:pt idx="3543">0</cx:pt>
          <cx:pt idx="3544">0</cx:pt>
          <cx:pt idx="3545">0</cx:pt>
          <cx:pt idx="3546">0</cx:pt>
          <cx:pt idx="3547">0</cx:pt>
          <cx:pt idx="3548">0</cx:pt>
          <cx:pt idx="3549">0</cx:pt>
          <cx:pt idx="3550">0</cx:pt>
          <cx:pt idx="3551">0</cx:pt>
          <cx:pt idx="3552">0</cx:pt>
          <cx:pt idx="3553">0</cx:pt>
          <cx:pt idx="3554">0</cx:pt>
          <cx:pt idx="3555">0</cx:pt>
          <cx:pt idx="3556">0</cx:pt>
          <cx:pt idx="3557">0</cx:pt>
          <cx:pt idx="3558">0</cx:pt>
          <cx:pt idx="3559">0</cx:pt>
          <cx:pt idx="3560">0</cx:pt>
          <cx:pt idx="3561">0</cx:pt>
          <cx:pt idx="3562">0</cx:pt>
          <cx:pt idx="3563">0</cx:pt>
          <cx:pt idx="3564">0</cx:pt>
          <cx:pt idx="3565">0</cx:pt>
          <cx:pt idx="3566">0</cx:pt>
          <cx:pt idx="3567">0</cx:pt>
          <cx:pt idx="3568">0</cx:pt>
          <cx:pt idx="3569">0</cx:pt>
          <cx:pt idx="3570">0</cx:pt>
          <cx:pt idx="3571">0</cx:pt>
          <cx:pt idx="3572">0</cx:pt>
          <cx:pt idx="3573">0</cx:pt>
          <cx:pt idx="3574">0</cx:pt>
          <cx:pt idx="3575">0</cx:pt>
          <cx:pt idx="3576">0</cx:pt>
          <cx:pt idx="3577">0</cx:pt>
          <cx:pt idx="3578">0</cx:pt>
          <cx:pt idx="3579">0</cx:pt>
          <cx:pt idx="3580">0</cx:pt>
          <cx:pt idx="3581">0</cx:pt>
          <cx:pt idx="3582">0</cx:pt>
          <cx:pt idx="3583">0</cx:pt>
          <cx:pt idx="3584">0</cx:pt>
          <cx:pt idx="3585">0</cx:pt>
          <cx:pt idx="3586">0</cx:pt>
          <cx:pt idx="3587">0</cx:pt>
          <cx:pt idx="3588">0</cx:pt>
          <cx:pt idx="3589">0</cx:pt>
          <cx:pt idx="3590">0</cx:pt>
          <cx:pt idx="3591">0</cx:pt>
          <cx:pt idx="3592">0</cx:pt>
          <cx:pt idx="3593">0</cx:pt>
          <cx:pt idx="3594">0</cx:pt>
          <cx:pt idx="3595">0</cx:pt>
          <cx:pt idx="3596">0</cx:pt>
          <cx:pt idx="3597">0</cx:pt>
          <cx:pt idx="3598">0</cx:pt>
          <cx:pt idx="3599">0</cx:pt>
          <cx:pt idx="3600">0</cx:pt>
          <cx:pt idx="3601">0</cx:pt>
          <cx:pt idx="3602">0</cx:pt>
          <cx:pt idx="3603">0</cx:pt>
          <cx:pt idx="3604">0</cx:pt>
          <cx:pt idx="3605">0</cx:pt>
          <cx:pt idx="3606">0</cx:pt>
          <cx:pt idx="3607">0</cx:pt>
          <cx:pt idx="3608">0</cx:pt>
          <cx:pt idx="3609">0</cx:pt>
          <cx:pt idx="3610">0</cx:pt>
          <cx:pt idx="3611">0</cx:pt>
          <cx:pt idx="3612">0</cx:pt>
          <cx:pt idx="3613">0</cx:pt>
          <cx:pt idx="3614">0</cx:pt>
          <cx:pt idx="3615">0</cx:pt>
          <cx:pt idx="3616">0</cx:pt>
          <cx:pt idx="3617">0</cx:pt>
          <cx:pt idx="3618">0</cx:pt>
          <cx:pt idx="3619">0</cx:pt>
          <cx:pt idx="3620">0</cx:pt>
          <cx:pt idx="3621">0</cx:pt>
          <cx:pt idx="3622">0</cx:pt>
          <cx:pt idx="3623">0</cx:pt>
          <cx:pt idx="3624">0</cx:pt>
          <cx:pt idx="3625">0</cx:pt>
          <cx:pt idx="3626">0</cx:pt>
          <cx:pt idx="3627">0</cx:pt>
          <cx:pt idx="3628">0</cx:pt>
          <cx:pt idx="3629">0</cx:pt>
          <cx:pt idx="3630">0</cx:pt>
          <cx:pt idx="3631">0</cx:pt>
          <cx:pt idx="3632">0</cx:pt>
          <cx:pt idx="3633">0</cx:pt>
          <cx:pt idx="3634">0</cx:pt>
          <cx:pt idx="3635">0</cx:pt>
          <cx:pt idx="3636">0</cx:pt>
          <cx:pt idx="3637">0</cx:pt>
          <cx:pt idx="3638">0</cx:pt>
          <cx:pt idx="3639">0</cx:pt>
          <cx:pt idx="3640">0</cx:pt>
          <cx:pt idx="3641">0</cx:pt>
          <cx:pt idx="3642">0</cx:pt>
          <cx:pt idx="3643">0</cx:pt>
          <cx:pt idx="3644">0</cx:pt>
          <cx:pt idx="3645">0</cx:pt>
          <cx:pt idx="3646">0</cx:pt>
          <cx:pt idx="3647">0</cx:pt>
          <cx:pt idx="3648">0</cx:pt>
          <cx:pt idx="3649">0</cx:pt>
          <cx:pt idx="3650">0</cx:pt>
          <cx:pt idx="3651">0</cx:pt>
          <cx:pt idx="3652">0</cx:pt>
          <cx:pt idx="3653">0</cx:pt>
          <cx:pt idx="3654">0</cx:pt>
          <cx:pt idx="3655">0</cx:pt>
          <cx:pt idx="3656">0</cx:pt>
          <cx:pt idx="3657">0</cx:pt>
          <cx:pt idx="3658">0</cx:pt>
          <cx:pt idx="3659">0</cx:pt>
          <cx:pt idx="3660">0</cx:pt>
          <cx:pt idx="3661">0</cx:pt>
          <cx:pt idx="3662">0</cx:pt>
          <cx:pt idx="3663">0</cx:pt>
          <cx:pt idx="3664">0</cx:pt>
          <cx:pt idx="3665">0</cx:pt>
          <cx:pt idx="3666">0</cx:pt>
          <cx:pt idx="3667">0</cx:pt>
          <cx:pt idx="3668">0</cx:pt>
          <cx:pt idx="3669">0</cx:pt>
          <cx:pt idx="3670">0</cx:pt>
          <cx:pt idx="3671">0</cx:pt>
          <cx:pt idx="3672">0</cx:pt>
          <cx:pt idx="3673">0</cx:pt>
          <cx:pt idx="3674">0</cx:pt>
          <cx:pt idx="3675">0</cx:pt>
          <cx:pt idx="3676">0</cx:pt>
          <cx:pt idx="3677">0</cx:pt>
          <cx:pt idx="3678">0</cx:pt>
          <cx:pt idx="3679">0</cx:pt>
          <cx:pt idx="3680">0</cx:pt>
          <cx:pt idx="3681">0</cx:pt>
          <cx:pt idx="3682">0</cx:pt>
          <cx:pt idx="3683">0</cx:pt>
          <cx:pt idx="3684">0</cx:pt>
          <cx:pt idx="3685">0</cx:pt>
          <cx:pt idx="3686">0</cx:pt>
          <cx:pt idx="3687">0</cx:pt>
          <cx:pt idx="3688">0</cx:pt>
          <cx:pt idx="3689">0</cx:pt>
          <cx:pt idx="3690">0</cx:pt>
          <cx:pt idx="3691">0</cx:pt>
          <cx:pt idx="3692">0</cx:pt>
          <cx:pt idx="3693">0</cx:pt>
          <cx:pt idx="3694">0</cx:pt>
          <cx:pt idx="3695">0</cx:pt>
          <cx:pt idx="3696">0</cx:pt>
          <cx:pt idx="3697">0</cx:pt>
          <cx:pt idx="3698">0</cx:pt>
          <cx:pt idx="3699">0</cx:pt>
          <cx:pt idx="3700">0</cx:pt>
          <cx:pt idx="3701">0</cx:pt>
          <cx:pt idx="3702">0</cx:pt>
          <cx:pt idx="3703">0</cx:pt>
          <cx:pt idx="3704">0</cx:pt>
          <cx:pt idx="3705">0</cx:pt>
          <cx:pt idx="3706">0</cx:pt>
          <cx:pt idx="3707">0</cx:pt>
          <cx:pt idx="3708">0</cx:pt>
          <cx:pt idx="3709">0</cx:pt>
          <cx:pt idx="3710">0</cx:pt>
          <cx:pt idx="3711">0</cx:pt>
          <cx:pt idx="3712">0</cx:pt>
          <cx:pt idx="3713">0</cx:pt>
          <cx:pt idx="3714">0</cx:pt>
          <cx:pt idx="3715">0</cx:pt>
          <cx:pt idx="3716">0</cx:pt>
          <cx:pt idx="3717">0</cx:pt>
          <cx:pt idx="3718">0</cx:pt>
          <cx:pt idx="3719">0</cx:pt>
          <cx:pt idx="3720">0</cx:pt>
          <cx:pt idx="3721">0</cx:pt>
          <cx:pt idx="3722">0</cx:pt>
          <cx:pt idx="3723">0</cx:pt>
          <cx:pt idx="3724">0</cx:pt>
          <cx:pt idx="3725">0</cx:pt>
          <cx:pt idx="3726">0</cx:pt>
          <cx:pt idx="3727">0</cx:pt>
          <cx:pt idx="3728">0</cx:pt>
          <cx:pt idx="3729">0</cx:pt>
          <cx:pt idx="3730">0</cx:pt>
          <cx:pt idx="3731">0</cx:pt>
          <cx:pt idx="3732">0</cx:pt>
          <cx:pt idx="3733">0</cx:pt>
          <cx:pt idx="3734">0</cx:pt>
          <cx:pt idx="3735">0</cx:pt>
          <cx:pt idx="3736">0</cx:pt>
          <cx:pt idx="3737">0</cx:pt>
          <cx:pt idx="3738">0</cx:pt>
          <cx:pt idx="3739">0</cx:pt>
          <cx:pt idx="3740">0</cx:pt>
          <cx:pt idx="3741">0</cx:pt>
          <cx:pt idx="3742">0</cx:pt>
          <cx:pt idx="3743">0</cx:pt>
          <cx:pt idx="3744">0</cx:pt>
          <cx:pt idx="3745">0</cx:pt>
          <cx:pt idx="3746">0</cx:pt>
          <cx:pt idx="3747">0</cx:pt>
          <cx:pt idx="3748">0</cx:pt>
          <cx:pt idx="3749">0</cx:pt>
          <cx:pt idx="3750">0</cx:pt>
          <cx:pt idx="3751">0</cx:pt>
          <cx:pt idx="3752">0</cx:pt>
          <cx:pt idx="3753">0</cx:pt>
          <cx:pt idx="3754">0</cx:pt>
          <cx:pt idx="3755">0</cx:pt>
          <cx:pt idx="3756">0</cx:pt>
          <cx:pt idx="3757">0</cx:pt>
          <cx:pt idx="3758">0</cx:pt>
          <cx:pt idx="3759">0</cx:pt>
          <cx:pt idx="3760">0</cx:pt>
          <cx:pt idx="3761">0</cx:pt>
          <cx:pt idx="3762">0</cx:pt>
          <cx:pt idx="3763">0</cx:pt>
          <cx:pt idx="3764">0</cx:pt>
          <cx:pt idx="3765">0</cx:pt>
          <cx:pt idx="3766">0</cx:pt>
          <cx:pt idx="3767">0</cx:pt>
          <cx:pt idx="3768">0</cx:pt>
          <cx:pt idx="3769">0</cx:pt>
          <cx:pt idx="3770">0</cx:pt>
          <cx:pt idx="3771">0</cx:pt>
          <cx:pt idx="3772">0</cx:pt>
          <cx:pt idx="3773">0</cx:pt>
          <cx:pt idx="3774">0</cx:pt>
          <cx:pt idx="3775">0</cx:pt>
          <cx:pt idx="3776">0</cx:pt>
          <cx:pt idx="3777">0</cx:pt>
          <cx:pt idx="3778">0</cx:pt>
          <cx:pt idx="3779">0</cx:pt>
          <cx:pt idx="3780">0</cx:pt>
          <cx:pt idx="3781">0</cx:pt>
          <cx:pt idx="3782">0</cx:pt>
          <cx:pt idx="3783">0</cx:pt>
          <cx:pt idx="3784">0</cx:pt>
          <cx:pt idx="3785">0</cx:pt>
          <cx:pt idx="3786">0</cx:pt>
          <cx:pt idx="3787">0</cx:pt>
          <cx:pt idx="3788">0</cx:pt>
          <cx:pt idx="3789">0</cx:pt>
          <cx:pt idx="3790">0</cx:pt>
          <cx:pt idx="3791">0</cx:pt>
          <cx:pt idx="3792">0</cx:pt>
          <cx:pt idx="3793">0</cx:pt>
          <cx:pt idx="3794">0</cx:pt>
          <cx:pt idx="3795">0</cx:pt>
          <cx:pt idx="3796">0</cx:pt>
          <cx:pt idx="3797">0</cx:pt>
          <cx:pt idx="3798">0</cx:pt>
          <cx:pt idx="3799">0</cx:pt>
          <cx:pt idx="3800">0</cx:pt>
          <cx:pt idx="3801">0</cx:pt>
          <cx:pt idx="3802">0</cx:pt>
          <cx:pt idx="3803">0</cx:pt>
          <cx:pt idx="3804">0</cx:pt>
          <cx:pt idx="3805">0</cx:pt>
          <cx:pt idx="3806">0</cx:pt>
          <cx:pt idx="3807">0</cx:pt>
          <cx:pt idx="3808">0</cx:pt>
          <cx:pt idx="3809">0</cx:pt>
          <cx:pt idx="3810">0</cx:pt>
          <cx:pt idx="3811">0</cx:pt>
          <cx:pt idx="3812">0</cx:pt>
          <cx:pt idx="3813">0</cx:pt>
          <cx:pt idx="3814">0</cx:pt>
          <cx:pt idx="3815">0</cx:pt>
          <cx:pt idx="3816">0</cx:pt>
          <cx:pt idx="3817">0</cx:pt>
          <cx:pt idx="3818">0</cx:pt>
          <cx:pt idx="3819">0</cx:pt>
          <cx:pt idx="3820">0</cx:pt>
          <cx:pt idx="3821">0</cx:pt>
          <cx:pt idx="3822">0</cx:pt>
          <cx:pt idx="3823">0</cx:pt>
          <cx:pt idx="3824">0</cx:pt>
          <cx:pt idx="3825">0</cx:pt>
          <cx:pt idx="3826">0</cx:pt>
          <cx:pt idx="3827">0</cx:pt>
          <cx:pt idx="3828">0</cx:pt>
          <cx:pt idx="3829">0</cx:pt>
          <cx:pt idx="3830">0</cx:pt>
          <cx:pt idx="3831">0</cx:pt>
          <cx:pt idx="3832">0</cx:pt>
          <cx:pt idx="3833">0</cx:pt>
          <cx:pt idx="3834">0</cx:pt>
          <cx:pt idx="3835">0</cx:pt>
          <cx:pt idx="3836">0</cx:pt>
          <cx:pt idx="3837">0</cx:pt>
          <cx:pt idx="3838">0</cx:pt>
          <cx:pt idx="3839">0</cx:pt>
          <cx:pt idx="3840">0</cx:pt>
          <cx:pt idx="3841">0</cx:pt>
          <cx:pt idx="3842">0</cx:pt>
          <cx:pt idx="3843">0</cx:pt>
          <cx:pt idx="3844">0</cx:pt>
          <cx:pt idx="3845">0</cx:pt>
          <cx:pt idx="3846">0</cx:pt>
          <cx:pt idx="3847">0</cx:pt>
          <cx:pt idx="3848">0</cx:pt>
          <cx:pt idx="3849">0</cx:pt>
          <cx:pt idx="3850">0</cx:pt>
          <cx:pt idx="3851">0</cx:pt>
          <cx:pt idx="3852">0</cx:pt>
          <cx:pt idx="3853">0</cx:pt>
          <cx:pt idx="3854">0</cx:pt>
          <cx:pt idx="3855">0</cx:pt>
          <cx:pt idx="3856">0</cx:pt>
          <cx:pt idx="3857">0</cx:pt>
          <cx:pt idx="3858">0</cx:pt>
          <cx:pt idx="3859">0</cx:pt>
          <cx:pt idx="3860">0</cx:pt>
          <cx:pt idx="3861">0</cx:pt>
          <cx:pt idx="3862">0</cx:pt>
          <cx:pt idx="3863">0</cx:pt>
          <cx:pt idx="3864">0</cx:pt>
          <cx:pt idx="3865">0</cx:pt>
          <cx:pt idx="3866">0</cx:pt>
          <cx:pt idx="3867">0</cx:pt>
          <cx:pt idx="3868">0</cx:pt>
          <cx:pt idx="3869">0</cx:pt>
          <cx:pt idx="3870">0</cx:pt>
          <cx:pt idx="3871">0</cx:pt>
          <cx:pt idx="3872">0</cx:pt>
          <cx:pt idx="3873">0</cx:pt>
          <cx:pt idx="3874">0</cx:pt>
          <cx:pt idx="3875">0</cx:pt>
          <cx:pt idx="3876">0</cx:pt>
          <cx:pt idx="3877">0</cx:pt>
          <cx:pt idx="3878">0</cx:pt>
          <cx:pt idx="3879">0</cx:pt>
          <cx:pt idx="3880">0</cx:pt>
          <cx:pt idx="3881">0</cx:pt>
          <cx:pt idx="3882">0</cx:pt>
          <cx:pt idx="3883">0</cx:pt>
          <cx:pt idx="3884">0</cx:pt>
          <cx:pt idx="3885">0</cx:pt>
          <cx:pt idx="3886">0</cx:pt>
          <cx:pt idx="3887">0</cx:pt>
          <cx:pt idx="3888">0</cx:pt>
          <cx:pt idx="3889">0</cx:pt>
          <cx:pt idx="3890">0</cx:pt>
          <cx:pt idx="3891">0</cx:pt>
          <cx:pt idx="3892">0</cx:pt>
          <cx:pt idx="3893">0</cx:pt>
          <cx:pt idx="3894">0</cx:pt>
          <cx:pt idx="3895">0</cx:pt>
          <cx:pt idx="3896">0</cx:pt>
          <cx:pt idx="3897">0</cx:pt>
          <cx:pt idx="3898">0</cx:pt>
          <cx:pt idx="3899">0</cx:pt>
          <cx:pt idx="3900">0</cx:pt>
          <cx:pt idx="3901">0</cx:pt>
          <cx:pt idx="3902">0</cx:pt>
          <cx:pt idx="3903">0</cx:pt>
          <cx:pt idx="3904">0</cx:pt>
          <cx:pt idx="3905">0</cx:pt>
          <cx:pt idx="3906">0</cx:pt>
          <cx:pt idx="3907">0</cx:pt>
          <cx:pt idx="3908">0</cx:pt>
          <cx:pt idx="3909">0</cx:pt>
          <cx:pt idx="3910">0</cx:pt>
          <cx:pt idx="3911">0</cx:pt>
          <cx:pt idx="3912">0</cx:pt>
          <cx:pt idx="3913">0</cx:pt>
          <cx:pt idx="3914">0</cx:pt>
          <cx:pt idx="3915">0</cx:pt>
          <cx:pt idx="3916">0</cx:pt>
          <cx:pt idx="3917">0</cx:pt>
          <cx:pt idx="3918">0</cx:pt>
          <cx:pt idx="3919">0</cx:pt>
          <cx:pt idx="3920">0</cx:pt>
          <cx:pt idx="3921">0</cx:pt>
          <cx:pt idx="3922">0</cx:pt>
          <cx:pt idx="3923">0</cx:pt>
          <cx:pt idx="3924">0</cx:pt>
          <cx:pt idx="3925">0</cx:pt>
          <cx:pt idx="3926">0</cx:pt>
          <cx:pt idx="3927">0</cx:pt>
          <cx:pt idx="3928">0</cx:pt>
          <cx:pt idx="3929">0</cx:pt>
          <cx:pt idx="3930">0</cx:pt>
          <cx:pt idx="3931">0</cx:pt>
          <cx:pt idx="3932">0</cx:pt>
          <cx:pt idx="3933">0</cx:pt>
          <cx:pt idx="3934">0</cx:pt>
          <cx:pt idx="3935">0</cx:pt>
          <cx:pt idx="3936">0</cx:pt>
          <cx:pt idx="3937">0</cx:pt>
          <cx:pt idx="3938">0</cx:pt>
          <cx:pt idx="3939">0</cx:pt>
          <cx:pt idx="3940">0</cx:pt>
          <cx:pt idx="3941">0</cx:pt>
          <cx:pt idx="3942">0</cx:pt>
          <cx:pt idx="3943">0</cx:pt>
          <cx:pt idx="3944">0</cx:pt>
          <cx:pt idx="3945">0</cx:pt>
          <cx:pt idx="3946">0</cx:pt>
          <cx:pt idx="3947">0</cx:pt>
          <cx:pt idx="3948">0</cx:pt>
          <cx:pt idx="3949">0</cx:pt>
          <cx:pt idx="3950">0</cx:pt>
          <cx:pt idx="3951">0</cx:pt>
          <cx:pt idx="3952">0</cx:pt>
          <cx:pt idx="3953">0</cx:pt>
          <cx:pt idx="3954">0</cx:pt>
          <cx:pt idx="3955">0</cx:pt>
          <cx:pt idx="3956">0</cx:pt>
          <cx:pt idx="3957">0</cx:pt>
          <cx:pt idx="3958">0</cx:pt>
          <cx:pt idx="3959">0</cx:pt>
          <cx:pt idx="3960">0</cx:pt>
          <cx:pt idx="3961">0</cx:pt>
          <cx:pt idx="3962">0</cx:pt>
          <cx:pt idx="3963">0</cx:pt>
          <cx:pt idx="3964">0</cx:pt>
          <cx:pt idx="3965">0</cx:pt>
          <cx:pt idx="3966">0</cx:pt>
          <cx:pt idx="3967">0</cx:pt>
          <cx:pt idx="3968">0</cx:pt>
          <cx:pt idx="3969">0</cx:pt>
          <cx:pt idx="3970">0</cx:pt>
          <cx:pt idx="3971">0</cx:pt>
          <cx:pt idx="3972">0</cx:pt>
          <cx:pt idx="3973">0</cx:pt>
          <cx:pt idx="3974">0</cx:pt>
          <cx:pt idx="3975">0</cx:pt>
          <cx:pt idx="3976">0</cx:pt>
          <cx:pt idx="3977">0</cx:pt>
          <cx:pt idx="3978">0</cx:pt>
          <cx:pt idx="3979">0</cx:pt>
          <cx:pt idx="3980">0</cx:pt>
          <cx:pt idx="3981">0</cx:pt>
          <cx:pt idx="3982">0</cx:pt>
          <cx:pt idx="3983">0</cx:pt>
          <cx:pt idx="3984">0</cx:pt>
          <cx:pt idx="3985">0</cx:pt>
          <cx:pt idx="3986">0</cx:pt>
          <cx:pt idx="3987">0</cx:pt>
          <cx:pt idx="3988">0</cx:pt>
          <cx:pt idx="3989">0</cx:pt>
          <cx:pt idx="3990">0</cx:pt>
          <cx:pt idx="3991">0</cx:pt>
          <cx:pt idx="3992">0</cx:pt>
          <cx:pt idx="3993">0</cx:pt>
          <cx:pt idx="3994">0</cx:pt>
          <cx:pt idx="3995">0</cx:pt>
          <cx:pt idx="3996">0</cx:pt>
          <cx:pt idx="3997">0</cx:pt>
          <cx:pt idx="3998">0</cx:pt>
          <cx:pt idx="3999">0</cx:pt>
          <cx:pt idx="4000">0</cx:pt>
          <cx:pt idx="4001">0</cx:pt>
          <cx:pt idx="4002">0</cx:pt>
          <cx:pt idx="4003">0</cx:pt>
          <cx:pt idx="4004">0</cx:pt>
          <cx:pt idx="4005">0</cx:pt>
          <cx:pt idx="4006">0</cx:pt>
          <cx:pt idx="4007">0</cx:pt>
          <cx:pt idx="4008">0</cx:pt>
          <cx:pt idx="4009">0</cx:pt>
          <cx:pt idx="4010">0</cx:pt>
          <cx:pt idx="4011">0</cx:pt>
          <cx:pt idx="4012">0</cx:pt>
          <cx:pt idx="4013">0</cx:pt>
          <cx:pt idx="4014">0</cx:pt>
          <cx:pt idx="4015">0</cx:pt>
          <cx:pt idx="4016">0</cx:pt>
          <cx:pt idx="4017">0</cx:pt>
          <cx:pt idx="4018">0</cx:pt>
          <cx:pt idx="4019">0</cx:pt>
          <cx:pt idx="4020">0</cx:pt>
          <cx:pt idx="4021">0</cx:pt>
          <cx:pt idx="4022">0</cx:pt>
          <cx:pt idx="4023">0</cx:pt>
          <cx:pt idx="4024">0</cx:pt>
          <cx:pt idx="4025">0</cx:pt>
          <cx:pt idx="4026">0</cx:pt>
          <cx:pt idx="4027">0</cx:pt>
          <cx:pt idx="4028">0</cx:pt>
          <cx:pt idx="4029">0</cx:pt>
          <cx:pt idx="4030">0</cx:pt>
          <cx:pt idx="4031">0</cx:pt>
          <cx:pt idx="4032">0</cx:pt>
          <cx:pt idx="4033">0</cx:pt>
          <cx:pt idx="4034">0</cx:pt>
          <cx:pt idx="4035">0</cx:pt>
          <cx:pt idx="4036">0</cx:pt>
          <cx:pt idx="4037">0</cx:pt>
          <cx:pt idx="4038">0</cx:pt>
          <cx:pt idx="4039">0</cx:pt>
          <cx:pt idx="4040">0</cx:pt>
          <cx:pt idx="4041">0</cx:pt>
          <cx:pt idx="4042">0</cx:pt>
          <cx:pt idx="4043">0</cx:pt>
          <cx:pt idx="4044">0</cx:pt>
          <cx:pt idx="4045">0</cx:pt>
          <cx:pt idx="4046">0</cx:pt>
          <cx:pt idx="4047">0</cx:pt>
          <cx:pt idx="4048">0</cx:pt>
          <cx:pt idx="4049">0</cx:pt>
          <cx:pt idx="4050">0</cx:pt>
          <cx:pt idx="4051">0</cx:pt>
          <cx:pt idx="4052">0</cx:pt>
          <cx:pt idx="4053">0</cx:pt>
          <cx:pt idx="4054">0</cx:pt>
          <cx:pt idx="4055">0</cx:pt>
          <cx:pt idx="4056">0</cx:pt>
          <cx:pt idx="4057">0</cx:pt>
          <cx:pt idx="4058">0</cx:pt>
          <cx:pt idx="4059">0</cx:pt>
          <cx:pt idx="4060">0</cx:pt>
          <cx:pt idx="4061">0</cx:pt>
          <cx:pt idx="4062">0</cx:pt>
          <cx:pt idx="4063">0</cx:pt>
          <cx:pt idx="4064">0</cx:pt>
          <cx:pt idx="4065">0</cx:pt>
          <cx:pt idx="4066">0</cx:pt>
          <cx:pt idx="4067">0</cx:pt>
          <cx:pt idx="4068">0</cx:pt>
          <cx:pt idx="4069">0</cx:pt>
          <cx:pt idx="4070">0</cx:pt>
          <cx:pt idx="4071">0</cx:pt>
          <cx:pt idx="4072">0</cx:pt>
          <cx:pt idx="4073">0</cx:pt>
          <cx:pt idx="4074">0</cx:pt>
          <cx:pt idx="4075">0</cx:pt>
          <cx:pt idx="4076">0</cx:pt>
          <cx:pt idx="4077">0</cx:pt>
          <cx:pt idx="4078">0</cx:pt>
          <cx:pt idx="4079">0</cx:pt>
          <cx:pt idx="4080">0</cx:pt>
          <cx:pt idx="4081">0</cx:pt>
          <cx:pt idx="4082">0</cx:pt>
          <cx:pt idx="4083">0</cx:pt>
          <cx:pt idx="4084">0</cx:pt>
          <cx:pt idx="4085">0</cx:pt>
          <cx:pt idx="4086">0</cx:pt>
          <cx:pt idx="4087">0</cx:pt>
          <cx:pt idx="4088">0</cx:pt>
          <cx:pt idx="4089">0</cx:pt>
          <cx:pt idx="4090">0</cx:pt>
          <cx:pt idx="4091">0</cx:pt>
          <cx:pt idx="4092">0</cx:pt>
          <cx:pt idx="4093">0</cx:pt>
          <cx:pt idx="4094">0</cx:pt>
          <cx:pt idx="4095">0</cx:pt>
          <cx:pt idx="4096">0</cx:pt>
          <cx:pt idx="4097">0</cx:pt>
          <cx:pt idx="4098">0</cx:pt>
          <cx:pt idx="4099">0</cx:pt>
          <cx:pt idx="4100">0</cx:pt>
          <cx:pt idx="4101">0</cx:pt>
          <cx:pt idx="4102">0</cx:pt>
          <cx:pt idx="4103">0</cx:pt>
          <cx:pt idx="4104">0</cx:pt>
          <cx:pt idx="4105">0</cx:pt>
          <cx:pt idx="4106">0</cx:pt>
          <cx:pt idx="4107">0</cx:pt>
          <cx:pt idx="4108">0</cx:pt>
          <cx:pt idx="4109">0</cx:pt>
          <cx:pt idx="4110">0</cx:pt>
          <cx:pt idx="4111">0</cx:pt>
          <cx:pt idx="4112">0</cx:pt>
          <cx:pt idx="4113">0</cx:pt>
          <cx:pt idx="4114">0</cx:pt>
          <cx:pt idx="4115">0</cx:pt>
          <cx:pt idx="4116">0</cx:pt>
          <cx:pt idx="4117">0</cx:pt>
          <cx:pt idx="4118">0</cx:pt>
          <cx:pt idx="4119">0</cx:pt>
          <cx:pt idx="4120">0</cx:pt>
          <cx:pt idx="4121">0</cx:pt>
          <cx:pt idx="4122">0</cx:pt>
          <cx:pt idx="4123">0</cx:pt>
          <cx:pt idx="4124">0</cx:pt>
          <cx:pt idx="4125">0</cx:pt>
          <cx:pt idx="4126">0</cx:pt>
          <cx:pt idx="4127">0</cx:pt>
          <cx:pt idx="4128">0</cx:pt>
          <cx:pt idx="4129">0</cx:pt>
          <cx:pt idx="4130">0</cx:pt>
          <cx:pt idx="4131">0</cx:pt>
          <cx:pt idx="4132">0</cx:pt>
          <cx:pt idx="4133">0</cx:pt>
          <cx:pt idx="4134">0</cx:pt>
          <cx:pt idx="4135">0</cx:pt>
          <cx:pt idx="4136">0</cx:pt>
          <cx:pt idx="4137">0</cx:pt>
          <cx:pt idx="4138">0</cx:pt>
          <cx:pt idx="4139">0</cx:pt>
          <cx:pt idx="4140">0</cx:pt>
          <cx:pt idx="4141">0</cx:pt>
          <cx:pt idx="4142">0</cx:pt>
          <cx:pt idx="4143">0</cx:pt>
          <cx:pt idx="4144">0</cx:pt>
          <cx:pt idx="4145">0</cx:pt>
          <cx:pt idx="4146">0</cx:pt>
          <cx:pt idx="4147">0</cx:pt>
          <cx:pt idx="4148">0</cx:pt>
          <cx:pt idx="4149">0</cx:pt>
          <cx:pt idx="4150">0</cx:pt>
          <cx:pt idx="4151">0</cx:pt>
          <cx:pt idx="4152">0</cx:pt>
          <cx:pt idx="4153">0</cx:pt>
          <cx:pt idx="4154">0</cx:pt>
          <cx:pt idx="4155">0</cx:pt>
          <cx:pt idx="4156">0</cx:pt>
          <cx:pt idx="4157">0</cx:pt>
          <cx:pt idx="4158">0</cx:pt>
          <cx:pt idx="4159">0</cx:pt>
          <cx:pt idx="4160">0</cx:pt>
          <cx:pt idx="4161">0</cx:pt>
          <cx:pt idx="4162">0</cx:pt>
          <cx:pt idx="4163">0</cx:pt>
          <cx:pt idx="4164">0</cx:pt>
          <cx:pt idx="4165">0</cx:pt>
          <cx:pt idx="4166">0</cx:pt>
          <cx:pt idx="4167">0</cx:pt>
          <cx:pt idx="4168">0</cx:pt>
          <cx:pt idx="4169">0</cx:pt>
          <cx:pt idx="4170">0</cx:pt>
          <cx:pt idx="4171">0</cx:pt>
          <cx:pt idx="4172">0</cx:pt>
          <cx:pt idx="4173">0</cx:pt>
          <cx:pt idx="4174">0</cx:pt>
          <cx:pt idx="4175">0</cx:pt>
          <cx:pt idx="4176">0</cx:pt>
          <cx:pt idx="4177">0</cx:pt>
          <cx:pt idx="4178">0</cx:pt>
          <cx:pt idx="4179">0</cx:pt>
          <cx:pt idx="4180">0</cx:pt>
          <cx:pt idx="4181">0</cx:pt>
          <cx:pt idx="4182">0</cx:pt>
          <cx:pt idx="4183">0</cx:pt>
          <cx:pt idx="4184">0</cx:pt>
          <cx:pt idx="4185">0</cx:pt>
          <cx:pt idx="4186">0</cx:pt>
          <cx:pt idx="4187">0</cx:pt>
          <cx:pt idx="4188">0</cx:pt>
          <cx:pt idx="4189">0</cx:pt>
          <cx:pt idx="4190">0</cx:pt>
          <cx:pt idx="4191">0</cx:pt>
          <cx:pt idx="4192">0</cx:pt>
          <cx:pt idx="4193">0</cx:pt>
          <cx:pt idx="4194">0</cx:pt>
          <cx:pt idx="4195">0</cx:pt>
          <cx:pt idx="4196">0</cx:pt>
          <cx:pt idx="4197">0</cx:pt>
          <cx:pt idx="4198">0</cx:pt>
          <cx:pt idx="4199">0</cx:pt>
          <cx:pt idx="4200">0</cx:pt>
          <cx:pt idx="4201">0</cx:pt>
          <cx:pt idx="4202">0</cx:pt>
          <cx:pt idx="4203">0</cx:pt>
          <cx:pt idx="4204">0</cx:pt>
          <cx:pt idx="4205">0</cx:pt>
          <cx:pt idx="4206">0</cx:pt>
          <cx:pt idx="4207">0</cx:pt>
          <cx:pt idx="4208">0</cx:pt>
          <cx:pt idx="4209">0</cx:pt>
          <cx:pt idx="4210">0</cx:pt>
          <cx:pt idx="4211">0</cx:pt>
          <cx:pt idx="4212">0</cx:pt>
          <cx:pt idx="4213">0</cx:pt>
          <cx:pt idx="4214">0</cx:pt>
          <cx:pt idx="4215">0</cx:pt>
          <cx:pt idx="4216">0</cx:pt>
          <cx:pt idx="4217">0</cx:pt>
          <cx:pt idx="4218">0</cx:pt>
          <cx:pt idx="4219">0</cx:pt>
          <cx:pt idx="4220">0</cx:pt>
          <cx:pt idx="4221">0</cx:pt>
          <cx:pt idx="4222">0</cx:pt>
          <cx:pt idx="4223">0</cx:pt>
          <cx:pt idx="4224">0</cx:pt>
          <cx:pt idx="4225">0</cx:pt>
          <cx:pt idx="4226">0</cx:pt>
          <cx:pt idx="4227">0</cx:pt>
          <cx:pt idx="4228">0</cx:pt>
          <cx:pt idx="4229">0</cx:pt>
          <cx:pt idx="4230">0</cx:pt>
          <cx:pt idx="4231">0</cx:pt>
          <cx:pt idx="4232">0</cx:pt>
          <cx:pt idx="4233">0</cx:pt>
          <cx:pt idx="4234">0</cx:pt>
          <cx:pt idx="4235">0</cx:pt>
          <cx:pt idx="4236">0</cx:pt>
          <cx:pt idx="4237">0</cx:pt>
          <cx:pt idx="4238">0</cx:pt>
          <cx:pt idx="4239">0</cx:pt>
          <cx:pt idx="4240">0</cx:pt>
          <cx:pt idx="4241">0</cx:pt>
          <cx:pt idx="4242">0</cx:pt>
          <cx:pt idx="4243">0</cx:pt>
          <cx:pt idx="4244">0</cx:pt>
          <cx:pt idx="4245">0</cx:pt>
          <cx:pt idx="4246">0</cx:pt>
          <cx:pt idx="4247">0</cx:pt>
          <cx:pt idx="4248">0</cx:pt>
          <cx:pt idx="4249">0</cx:pt>
          <cx:pt idx="4250">0</cx:pt>
          <cx:pt idx="4251">0</cx:pt>
          <cx:pt idx="4252">0</cx:pt>
          <cx:pt idx="4253">0</cx:pt>
          <cx:pt idx="4254">0</cx:pt>
          <cx:pt idx="4255">0</cx:pt>
          <cx:pt idx="4256">0</cx:pt>
          <cx:pt idx="4257">0</cx:pt>
          <cx:pt idx="4258">0</cx:pt>
          <cx:pt idx="4259">0</cx:pt>
          <cx:pt idx="4260">0</cx:pt>
          <cx:pt idx="4261">0</cx:pt>
          <cx:pt idx="4262">0</cx:pt>
          <cx:pt idx="4263">0</cx:pt>
          <cx:pt idx="4264">0</cx:pt>
          <cx:pt idx="4265">0</cx:pt>
          <cx:pt idx="4266">0</cx:pt>
          <cx:pt idx="4267">0</cx:pt>
          <cx:pt idx="4268">0</cx:pt>
          <cx:pt idx="4269">0</cx:pt>
          <cx:pt idx="4270">0</cx:pt>
          <cx:pt idx="4271">0</cx:pt>
          <cx:pt idx="4272">0</cx:pt>
          <cx:pt idx="4273">0</cx:pt>
          <cx:pt idx="4274">0</cx:pt>
          <cx:pt idx="4275">0</cx:pt>
          <cx:pt idx="4276">0</cx:pt>
          <cx:pt idx="4277">0</cx:pt>
          <cx:pt idx="4278">0</cx:pt>
          <cx:pt idx="4279">0</cx:pt>
          <cx:pt idx="4280">0</cx:pt>
          <cx:pt idx="4281">0</cx:pt>
          <cx:pt idx="4282">0</cx:pt>
          <cx:pt idx="4283">0</cx:pt>
          <cx:pt idx="4284">0</cx:pt>
          <cx:pt idx="4285">0</cx:pt>
          <cx:pt idx="4286">0</cx:pt>
          <cx:pt idx="4287">0</cx:pt>
          <cx:pt idx="4288">0</cx:pt>
          <cx:pt idx="4289">0</cx:pt>
          <cx:pt idx="4290">0</cx:pt>
          <cx:pt idx="4291">0</cx:pt>
          <cx:pt idx="4292">0</cx:pt>
          <cx:pt idx="4293">0</cx:pt>
          <cx:pt idx="4294">0</cx:pt>
          <cx:pt idx="4295">0</cx:pt>
          <cx:pt idx="4296">0</cx:pt>
          <cx:pt idx="4297">0</cx:pt>
          <cx:pt idx="4298">0</cx:pt>
          <cx:pt idx="4299">0</cx:pt>
          <cx:pt idx="4300">0</cx:pt>
          <cx:pt idx="4301">0</cx:pt>
          <cx:pt idx="4302">0</cx:pt>
          <cx:pt idx="4303">0</cx:pt>
          <cx:pt idx="4304">0</cx:pt>
          <cx:pt idx="4305">0</cx:pt>
          <cx:pt idx="4306">0</cx:pt>
          <cx:pt idx="4307">0</cx:pt>
          <cx:pt idx="4308">0</cx:pt>
          <cx:pt idx="4309">0</cx:pt>
          <cx:pt idx="4310">0</cx:pt>
          <cx:pt idx="4311">0</cx:pt>
          <cx:pt idx="4312">0</cx:pt>
          <cx:pt idx="4313">0</cx:pt>
          <cx:pt idx="4314">0</cx:pt>
          <cx:pt idx="4315">0</cx:pt>
          <cx:pt idx="4316">0</cx:pt>
          <cx:pt idx="4317">0</cx:pt>
          <cx:pt idx="4318">0</cx:pt>
          <cx:pt idx="4319">0</cx:pt>
          <cx:pt idx="4320">0</cx:pt>
          <cx:pt idx="4321">0</cx:pt>
          <cx:pt idx="4322">0</cx:pt>
          <cx:pt idx="4323">0</cx:pt>
          <cx:pt idx="4324">0</cx:pt>
          <cx:pt idx="4325">0</cx:pt>
          <cx:pt idx="4326">0</cx:pt>
          <cx:pt idx="4327">0</cx:pt>
          <cx:pt idx="4328">0</cx:pt>
          <cx:pt idx="4329">0</cx:pt>
          <cx:pt idx="4330">0</cx:pt>
          <cx:pt idx="4331">0</cx:pt>
          <cx:pt idx="4332">0</cx:pt>
          <cx:pt idx="4333">0</cx:pt>
          <cx:pt idx="4334">0</cx:pt>
          <cx:pt idx="4335">0</cx:pt>
          <cx:pt idx="4336">0</cx:pt>
          <cx:pt idx="4337">0</cx:pt>
          <cx:pt idx="4338">0</cx:pt>
          <cx:pt idx="4339">0</cx:pt>
          <cx:pt idx="4340">0</cx:pt>
          <cx:pt idx="4341">0</cx:pt>
          <cx:pt idx="4342">0</cx:pt>
          <cx:pt idx="4343">0</cx:pt>
          <cx:pt idx="4344">0</cx:pt>
          <cx:pt idx="4345">0</cx:pt>
          <cx:pt idx="4346">0</cx:pt>
          <cx:pt idx="4347">0</cx:pt>
          <cx:pt idx="4348">0</cx:pt>
          <cx:pt idx="4349">0</cx:pt>
          <cx:pt idx="4350">0</cx:pt>
          <cx:pt idx="4351">0</cx:pt>
          <cx:pt idx="4352">0</cx:pt>
          <cx:pt idx="4353">0</cx:pt>
          <cx:pt idx="4354">0</cx:pt>
          <cx:pt idx="4355">0</cx:pt>
          <cx:pt idx="4356">0</cx:pt>
          <cx:pt idx="4357">0</cx:pt>
          <cx:pt idx="4358">0</cx:pt>
          <cx:pt idx="4359">0</cx:pt>
          <cx:pt idx="4360">0</cx:pt>
          <cx:pt idx="4361">0</cx:pt>
          <cx:pt idx="4362">0</cx:pt>
          <cx:pt idx="4363">0</cx:pt>
          <cx:pt idx="4364">0</cx:pt>
          <cx:pt idx="4365">0</cx:pt>
          <cx:pt idx="4366">0</cx:pt>
          <cx:pt idx="4367">0</cx:pt>
          <cx:pt idx="4368">0</cx:pt>
          <cx:pt idx="4369">0</cx:pt>
          <cx:pt idx="4370">0</cx:pt>
          <cx:pt idx="4371">0</cx:pt>
          <cx:pt idx="4372">0</cx:pt>
          <cx:pt idx="4373">0</cx:pt>
          <cx:pt idx="4374">0</cx:pt>
          <cx:pt idx="4375">0</cx:pt>
          <cx:pt idx="4376">0</cx:pt>
          <cx:pt idx="4377">0</cx:pt>
          <cx:pt idx="4378">0</cx:pt>
          <cx:pt idx="4379">0</cx:pt>
          <cx:pt idx="4380">0</cx:pt>
          <cx:pt idx="4381">0</cx:pt>
          <cx:pt idx="4382">0</cx:pt>
          <cx:pt idx="4383">0</cx:pt>
          <cx:pt idx="4384">0</cx:pt>
          <cx:pt idx="4385">0</cx:pt>
          <cx:pt idx="4386">0</cx:pt>
          <cx:pt idx="4387">0</cx:pt>
          <cx:pt idx="4388">0</cx:pt>
          <cx:pt idx="4389">0</cx:pt>
          <cx:pt idx="4390">0</cx:pt>
          <cx:pt idx="4391">0</cx:pt>
          <cx:pt idx="4392">0</cx:pt>
          <cx:pt idx="4393">0</cx:pt>
          <cx:pt idx="4394">0</cx:pt>
          <cx:pt idx="4395">0</cx:pt>
          <cx:pt idx="4396">0</cx:pt>
          <cx:pt idx="4397">0</cx:pt>
          <cx:pt idx="4398">0</cx:pt>
          <cx:pt idx="4399">0</cx:pt>
          <cx:pt idx="4400">0</cx:pt>
          <cx:pt idx="4401">0</cx:pt>
          <cx:pt idx="4402">0</cx:pt>
          <cx:pt idx="4403">0</cx:pt>
          <cx:pt idx="4404">0</cx:pt>
          <cx:pt idx="4405">0</cx:pt>
          <cx:pt idx="4406">0</cx:pt>
          <cx:pt idx="4407">0</cx:pt>
          <cx:pt idx="4408">0</cx:pt>
          <cx:pt idx="4409">0</cx:pt>
          <cx:pt idx="4410">0</cx:pt>
          <cx:pt idx="4411">0</cx:pt>
          <cx:pt idx="4412">0</cx:pt>
          <cx:pt idx="4413">0</cx:pt>
          <cx:pt idx="4414">0</cx:pt>
          <cx:pt idx="4415">0</cx:pt>
          <cx:pt idx="4416">0</cx:pt>
          <cx:pt idx="4417">0</cx:pt>
          <cx:pt idx="4418">0</cx:pt>
          <cx:pt idx="4419">0</cx:pt>
          <cx:pt idx="4420">0</cx:pt>
          <cx:pt idx="4421">0</cx:pt>
          <cx:pt idx="4422">0</cx:pt>
          <cx:pt idx="4423">-0.000417954</cx:pt>
          <cx:pt idx="4424">-0.0067502760000000004</cx:pt>
          <cx:pt idx="4425">-0.0093253269999999996</cx:pt>
          <cx:pt idx="4426">-0.013499472</cx:pt>
          <cx:pt idx="4427">-0.013848498000000001</cx:pt>
          <cx:pt idx="4428">-0.01962821</cx:pt>
          <cx:pt idx="4429">-0.021084577</cx:pt>
          <cx:pt idx="4430">-0.026234123000000002</cx:pt>
          <cx:pt idx="4431">-0.027835374999999999</cx:pt>
          <cx:pt idx="4432">-0.031524239000000003</cx:pt>
          <cx:pt idx="4433">-0.037439685</cx:pt>
          <cx:pt idx="4434">-0.037582447999999997</cx:pt>
          <cx:pt idx="4435">-0.037717067999999999</cx:pt>
          <cx:pt idx="4436">-0.046485993000000003</cx:pt>
          <cx:pt idx="4437">-0.046837210999999997</cx:pt>
          <cx:pt idx="4438">-0.047811531999999997</cx:pt>
          <cx:pt idx="4439">-0.048020509000000003</cx:pt>
          <cx:pt idx="4440">-0.050525517999999998</cx:pt>
          <cx:pt idx="4441">-0.050595003</cx:pt>
          <cx:pt idx="4442">-0.054422281000000003</cx:pt>
          <cx:pt idx="4443">-0.055396636999999999</cx:pt>
          <cx:pt idx="4444">-0.057480420999999997</cx:pt>
          <cx:pt idx="4445">-0.057623740999999999</cx:pt>
          <cx:pt idx="4446">-0.061168207000000002</cx:pt>
          <cx:pt idx="4447">-0.063121232999999999</cx:pt>
          <cx:pt idx="4448">-0.066531079000000007</cx:pt>
          <cx:pt idx="4449">-0.066809541</cx:pt>
          <cx:pt idx="4450">-0.066879025999999994</cx:pt>
          <cx:pt idx="4451">-0.079191928999999994</cx:pt>
          <cx:pt idx="4452">-0.079335214000000001</cx:pt>
          <cx:pt idx="4453">-0.082257654999999999</cx:pt>
          <cx:pt idx="4454">-0.087337751000000005</cx:pt>
          <cx:pt idx="4455">-0.088656747999999994</cx:pt>
          <cx:pt idx="4456">-0.088864646000000005</cx:pt>
          <cx:pt idx="4457">-0.089007930999999998</cx:pt>
          <cx:pt idx="4458">-0.092208834000000003</cx:pt>
          <cx:pt idx="4459">-0.093948499000000005</cx:pt>
          <cx:pt idx="4460">-0.094018540999999997</cx:pt>
          <cx:pt idx="4461">-0.094435937999999997</cx:pt>
          <cx:pt idx="4462">-0.094644358999999997</cx:pt>
          <cx:pt idx="4463">-0.097497871999999999</cx:pt>
          <cx:pt idx="4464">-0.103548495</cx:pt>
          <cx:pt idx="4465">-0.107240074</cx:pt>
          <cx:pt idx="4466">-0.117887112</cx:pt>
          <cx:pt idx="4467">-0.119623506</cx:pt>
          <cx:pt idx="4468">-0.12832517299999999</cx:pt>
          <cx:pt idx="4469">-0.13423679199999999</cx:pt>
          <cx:pt idx="4470">-0.14008546699999999</cx:pt>
          <cx:pt idx="4471">-0.151219944</cx:pt>
          <cx:pt idx="4472">-0.15226375</cx:pt>
          <cx:pt idx="4473">-0.15240271999999999</cx:pt>
          <cx:pt idx="4474">-0.15379447299999999</cx:pt>
          <cx:pt idx="4475">-0.157552265</cx:pt>
          <cx:pt idx="4476">-0.15810918900000001</cx:pt>
          <cx:pt idx="4477">-0.158735564</cx:pt>
          <cx:pt idx="4478">-0.1667381</cx:pt>
          <cx:pt idx="4479">-0.17195713100000001</cx:pt>
          <cx:pt idx="4480">-0.17460163200000001</cx:pt>
          <cx:pt idx="4481">-0.174810087</cx:pt>
          <cx:pt idx="4482">-0.17606287000000001</cx:pt>
          <cx:pt idx="4483">-0.181629813</cx:pt>
          <cx:pt idx="4484">-0.18552713200000001</cx:pt>
          <cx:pt idx="4485">-0.187614744</cx:pt>
          <cx:pt idx="4486">-0.190537186</cx:pt>
          <cx:pt idx="4487">-0.198052805</cx:pt>
          <cx:pt idx="4488">-0.20041887899999999</cx:pt>
          <cx:pt idx="4489">-0.20222803</cx:pt>
          <cx:pt idx="4490">-0.20313342200000001</cx:pt>
          <cx:pt idx="4491">-0.21113648099999999</cx:pt>
          <cx:pt idx="4492">-0.21677183</cx:pt>
          <cx:pt idx="4493">-0.22505387299999999</cx:pt>
          <cx:pt idx="4494">-0.227001436</cx:pt>
          <cx:pt idx="4495">-0.22922909699999999</cx:pt>
          <cx:pt idx="4496">-0.23166410000000001</cx:pt>
          <cx:pt idx="4497">-0.23228995199999999</cx:pt>
          <cx:pt idx="4498">-0.234517056</cx:pt>
          <cx:pt idx="4499">-0.235352442</cx:pt>
          <cx:pt idx="4500">-0.23723107700000001</cx:pt>
          <cx:pt idx="4501">-0.237439497</cx:pt>
          <cx:pt idx="4502">-0.23938817400000001</cx:pt>
          <cx:pt idx="4503">-0.24293698999999999</cx:pt>
          <cx:pt idx="4504">-0.24363396200000001</cx:pt>
          <cx:pt idx="4505">-0.24906196999999999</cx:pt>
          <cx:pt idx="4506">-0.250524252</cx:pt>
          <cx:pt idx="4507">-0.25073107100000003</cx:pt>
          <cx:pt idx="4508">-0.25511635100000002</cx:pt>
          <cx:pt idx="4509">-0.25574220399999997</cx:pt>
          <cx:pt idx="4510">-0.25650702600000003</cx:pt>
          <cx:pt idx="4511">-0.26026481800000001</cx:pt>
          <cx:pt idx="4512">-0.260335382</cx:pt>
          <cx:pt idx="4513">-0.26506916600000002</cx:pt>
          <cx:pt idx="4514">-0.26715677799999998</cx:pt>
          <cx:pt idx="4515">-0.27007650500000002</cx:pt>
          <cx:pt idx="4516">-0.27014706900000002</cx:pt>
          <cx:pt idx="4517">-0.27529605800000001</cx:pt>
          <cx:pt idx="4518">-0.27662048299999997</cx:pt>
          <cx:pt idx="4519">-0.28072625699999998</cx:pt>
          <cx:pt idx="4520">-0.28190684100000002</cx:pt>
          <cx:pt idx="4521">-0.28225530999999998</cx:pt>
          <cx:pt idx="4522">-0.282396437</cx:pt>
          <cx:pt idx="4523">-0.28420558800000001</cx:pt>
          <cx:pt idx="4524">-0.28448297099999997</cx:pt>
          <cx:pt idx="4525">-0.28629048600000001</cx:pt>
          <cx:pt idx="4526">-0.29728547100000002</cx:pt>
          <cx:pt idx="4527">-0.29742604099999997</cx:pt>
          <cx:pt idx="4528">-0.30132172499999998</cx:pt>
          <cx:pt idx="4529">-0.30139392399999998</cx:pt>
          <cx:pt idx="4530">-0.309605403</cx:pt>
          <cx:pt idx="4531">-0.31127290400000002</cx:pt>
          <cx:pt idx="4532">-0.31871903899999998</cx:pt>
          <cx:pt idx="4533">-0.32352175100000002</cx:pt>
          <cx:pt idx="4534">-0.32686051100000002</cx:pt>
          <cx:pt idx="4535">-0.33055045300000002</cx:pt>
          <cx:pt idx="4536">-0.33222011200000001</cx:pt>
          <cx:pt idx="4537">-0.33416878900000002</cx:pt>
          <cx:pt idx="4538">-0.33771816100000002</cx:pt>
          <cx:pt idx="4539">-0.33806447299999998</cx:pt>
          <cx:pt idx="4540">-0.34133646200000001</cx:pt>
          <cx:pt idx="4541">-0.34307668299999999</cx:pt>
          <cx:pt idx="4542">-0.36993662399999999</cx:pt>
          <cx:pt idx="4543">-0.375782585</cx:pt>
          <cx:pt idx="4544">-0.37592207700000002</cx:pt>
          <cx:pt idx="4545">-0.376062126</cx:pt>
          <cx:pt idx="4546">-0.37613053200000002</cx:pt>
          <cx:pt idx="4547">-0.37766177699999998</cx:pt>
          <cx:pt idx="4548">-0.37780182600000001</cx:pt>
          <cx:pt idx="4549">-0.37787183200000002</cx:pt>
          <cx:pt idx="4550">-0.387612921</cx:pt>
          <cx:pt idx="4551">-0.39004955899999999</cx:pt>
          <cx:pt idx="4552">-0.39032694200000001</cx:pt>
          <cx:pt idx="4553">-0.39485119200000002</cx:pt>
          <cx:pt idx="4554">-0.39645028700000001</cx:pt>
          <cx:pt idx="4555">-0.396660342</cx:pt>
          <cx:pt idx="4556">-0.39853842099999998</cx:pt>
          <cx:pt idx="4557">-0.402092699</cx:pt>
          <cx:pt idx="4558">-0.40236681200000002</cx:pt>
          <cx:pt idx="4559">-0.40424544699999998</cx:pt>
          <cx:pt idx="4560">-0.40438438199999999</cx:pt>
          <cx:pt idx="4561">-0.40584454199999997</cx:pt>
          <cx:pt idx="4562">-0.41016033699999999</cx:pt>
          <cx:pt idx="4563">-0.41510146199999998</cx:pt>
          <cx:pt idx="4564">-0.41558726600000001</cx:pt>
          <cx:pt idx="4565">-0.41739749399999998</cx:pt>
          <cx:pt idx="4566">-0.41892873899999999</cx:pt>
          <cx:pt idx="4567">-0.42038994299999999</cx:pt>
          <cx:pt idx="4568">-0.42066840500000002</cx:pt>
          <cx:pt idx="4569">-0.42073789</cx:pt>
          <cx:pt idx="4570">-0.42219912799999998</cx:pt>
          <cx:pt idx="4571">-0.42261652500000002</cx:pt>
          <cx:pt idx="4572">-0.42602532700000001</cx:pt>
          <cx:pt idx="4573">-0.42992803899999998</cx:pt>
          <cx:pt idx="4574">-0.43347254000000002</cx:pt>
          <cx:pt idx="4575">-0.43479480799999998</cx:pt>
          <cx:pt idx="4576">-0.44168294000000002</cx:pt>
          <cx:pt idx="4577">-0.44933860799999997</cx:pt>
          <cx:pt idx="4578">-0.450521907</cx:pt>
          <cx:pt idx="4579">-0.45066087700000002</cx:pt>
          <cx:pt idx="4580">-0.45191365999999999</cx:pt>
          <cx:pt idx="4581">-0.45574093700000001</cx:pt>
          <cx:pt idx="4582">-0.45817649599999999</cx:pt>
          <cx:pt idx="4583">-0.461515813</cx:pt>
          <cx:pt idx="4584">-0.46646180900000001</cx:pt>
          <cx:pt idx="4585">-0.46951939300000001</cx:pt>
          <cx:pt idx="4586">-0.46979785499999999</cx:pt>
          <cx:pt idx="4587">-0.47884416299999999</cx:pt>
          <cx:pt idx="4588">-0.48344113399999999</cx:pt>
          <cx:pt idx="4589">-0.48733793199999997</cx:pt>
          <cx:pt idx="4590">-0.49311385099999999</cx:pt>
          <cx:pt idx="4591">-0.49429714899999999</cx:pt>
          <cx:pt idx="4592">-0.50042049399999999</cx:pt>
          <cx:pt idx="4593">-0.501042553</cx:pt>
          <cx:pt idx="4594">-0.50341297699999998</cx:pt>
          <cx:pt idx="4595">-0.50536161899999998</cx:pt>
          <cx:pt idx="4596">-0.50542675500000001</cx:pt>
          <cx:pt idx="4597">-0.51051116500000004</cx:pt>
          <cx:pt idx="4598">-0.51057629999999998</cx:pt>
          <cx:pt idx="4599">-0.51447741199999997</cx:pt>
          <cx:pt idx="4600">-0.523663247</cx:pt>
          <cx:pt idx="4601">-0.527142577</cx:pt>
          <cx:pt idx="4602">-0.52936536700000003</cx:pt>
          <cx:pt idx="4603">-0.53500614400000002</cx:pt>
          <cx:pt idx="4604">-0.53973825799999997</cx:pt>
          <cx:pt idx="4605">-0.54836716799999996</cx:pt>
          <cx:pt idx="4606">-0.54843721000000001</cx:pt>
          <cx:pt idx="4607">-0.550454781</cx:pt>
          <cx:pt idx="4608">-0.55101114799999995</cx:pt>
          <cx:pt idx="4609">-0.55128960999999999</cx:pt>
          <cx:pt idx="4610">-0.55636970500000005</cx:pt>
          <cx:pt idx="4611">-0.55664813199999996</cx:pt>
          <cx:pt idx="4612">-0.56117130400000004</cx:pt>
          <cx:pt idx="4613">-0.56632084900000002</cx:pt>
          <cx:pt idx="4614">-0.57049607400000002</cx:pt>
          <cx:pt idx="4615">-0.57675891000000001</cx:pt>
          <cx:pt idx="4616">-0.59116377499999995</cx:pt>
          <cx:pt idx="4617">-0.59499105299999999</cx:pt>
          <cx:pt idx="4618">-0.59840093299999997</cx:pt>
          <cx:pt idx="4619">-0.59853986800000003</cx:pt>
          <cx:pt idx="4620">-0.60034957499999997</cx:pt>
          <cx:pt idx="4621">-0.60731070700000001</cx:pt>
          <cx:pt idx="4622">-0.60772876499999995</cx:pt>
          <cx:pt idx="4623">-0.61378095499999996</cx:pt>
          <cx:pt idx="4624">-0.61391794099999997</cx:pt>
          <cx:pt idx="4625">-0.61405819900000003</cx:pt>
          <cx:pt idx="4626">-0.61559014000000001</cx:pt>
          <cx:pt idx="4627">-0.617331301</cx:pt>
          <cx:pt idx="4628">-0.617466548</cx:pt>
          <cx:pt idx="4629">-0.61754041699999995</cx:pt>
          <cx:pt idx="4630">-0.62449692099999998</cx:pt>
          <cx:pt idx="4631">-0.62853362800000001</cx:pt>
          <cx:pt idx="4632">-0.62895112900000005</cx:pt>
          <cx:pt idx="4633">-0.62902061399999998</cx:pt>
          <cx:pt idx="4634">-0.63138717499999997</cx:pt>
          <cx:pt idx="4635">-0.63145721700000002</cx:pt>
          <cx:pt idx="4636">-0.63883076999999999</cx:pt>
          <cx:pt idx="4637">-0.64523191599999996</cx:pt>
          <cx:pt idx="4638">-0.66221280599999999</cx:pt>
          <cx:pt idx="4639">-0.66346558899999997</cx:pt>
          <cx:pt idx="4640">-0.66450939499999995</cx:pt>
          <cx:pt idx="4641">-0.66457887999999998</cx:pt>
          <cx:pt idx="4642">-0.66624909600000004</cx:pt>
          <cx:pt idx="4643">-0.666388066</cx:pt>
          <cx:pt idx="4644">-0.67480859100000001</cx:pt>
          <cx:pt idx="4645">-0.675225988</cx:pt>
          <cx:pt idx="4646">-0.67766154700000003</cx:pt>
          <cx:pt idx="4647">-0.67780051699999999</cx:pt>
          <cx:pt idx="4648">-0.67794000899999995</cx:pt>
          <cx:pt idx="4649">-0.67967859600000002</cx:pt>
          <cx:pt idx="4650">-0.68037449000000005</cx:pt>
          <cx:pt idx="4651">-0.68378544900000005</cx:pt>
          <cx:pt idx="4652">-0.68636050000000004</cx:pt>
          <cx:pt idx="4653">-0.68712584399999999</cx:pt>
          <cx:pt idx="4654">-0.68727834899999996</cx:pt>
          <cx:pt idx="4655">-0.68803447299999998</cx:pt>
          <cx:pt idx="4656">-0.68810395800000002</cx:pt>
          <cx:pt idx="4657">-0.68921289900000005</cx:pt>
          <cx:pt idx="4658">-0.69214021199999998</cx:pt>
          <cx:pt idx="4659">-0.692205348</cx:pt>
          <cx:pt idx="4660">-0.69290559100000004</cx:pt>
          <cx:pt idx="4661">-0.69944253999999995</cx:pt>
          <cx:pt idx="4662">-0.70723658700000003</cx:pt>
          <cx:pt idx="4663">-0.70939368400000002</cx:pt>
          <cx:pt idx="4664">-0.71036800499999997</cx:pt>
          <cx:pt idx="4665">-0.71050697500000004</cx:pt>
          <cx:pt idx="4666">-0.71308689800000002</cx:pt>
          <cx:pt idx="4667">-0.71343484499999998</cx:pt>
          <cx:pt idx="4668">-0.717605198</cx:pt>
          <cx:pt idx="4669">-0.71774413299999995</cx:pt>
          <cx:pt idx="4670">-0.71941869800000002</cx:pt>
          <cx:pt idx="4671">-0.72115836300000002</cx:pt>
          <cx:pt idx="4672">-0.72742119900000002</cx:pt>
          <cx:pt idx="4673">-0.73027415600000001</cx:pt>
          <cx:pt idx="4674">-0.73549370800000002</cx:pt>
          <cx:pt idx="4675">-0.736745969</cx:pt>
          <cx:pt idx="4676">-0.74753249899999996</cx:pt>
          <cx:pt idx="4677">-0.748919903</cx:pt>
          <cx:pt idx="4678">-0.74906318800000005</cx:pt>
          <cx:pt idx="4679">-0.75087237299999998</cx:pt>
          <cx:pt idx="4680">-0.75156443900000003</cx:pt>
          <cx:pt idx="4681">-0.75386482099999996</cx:pt>
          <cx:pt idx="4682">-0.75399996400000002</cx:pt>
          <cx:pt idx="4683">-0.75783159</cx:pt>
          <cx:pt idx="4684">-0.76054505500000003</cx:pt>
          <cx:pt idx="4685">-0.76207630000000004</cx:pt>
          <cx:pt idx="4686">-0.76291112900000002</cx:pt>
          <cx:pt idx="4687">-0.76715639499999999</cx:pt>
          <cx:pt idx="4688">-0.76785225400000001</cx:pt>
          <cx:pt idx="4689">-0.76792173900000005</cx:pt>
          <cx:pt idx="4690">-0.76924397200000005</cx:pt>
          <cx:pt idx="4691">-0.77474146499999996</cx:pt>
          <cx:pt idx="4692">-0.77627218799999997</cx:pt>
          <cx:pt idx="4693">-0.77662010000000004</cx:pt>
          <cx:pt idx="4694">-0.77822082999999997</cx:pt>
          <cx:pt idx="4695">-0.78127897099999999</cx:pt>
          <cx:pt idx="4696">-0.78316139900000004</cx:pt>
          <cx:pt idx="4697">-0.78469264400000005</cx:pt>
          <cx:pt idx="4698">-0.78587214900000002</cx:pt>
          <cx:pt idx="4699">-0.79081598900000005</cx:pt>
          <cx:pt idx="4700">-0.79165134000000004</cx:pt>
          <cx:pt idx="4701">-0.79297360800000005</cx:pt>
          <cx:pt idx="4702">-0.79492172800000005</cx:pt>
          <cx:pt idx="4703">-0.79540916699999997</cx:pt>
          <cx:pt idx="4704">-0.79624399599999995</cx:pt>
          <cx:pt idx="4705">-0.79645297299999995</cx:pt>
          <cx:pt idx="4706">-0.805916678</cx:pt>
          <cx:pt idx="4707">-0.81092728800000002</cx:pt>
          <cx:pt idx="4708">-0.81120574999999995</cx:pt>
          <cx:pt idx="4709">-0.81238849199999996</cx:pt>
          <cx:pt idx="4710">-0.81496302099999995</cx:pt>
          <cx:pt idx="4711">-0.82032154300000004</cx:pt>
          <cx:pt idx="4712">-0.82143483399999995</cx:pt>
          <cx:pt idx="4713">-0.82616694800000001</cx:pt>
          <cx:pt idx="4714">-0.83799676199999995</cx:pt>
          <cx:pt idx="4715">-0.83931902999999997</cx:pt>
          <cx:pt idx="4716">-0.84015438099999995</cx:pt>
          <cx:pt idx="4717">-0.84043232099999998</cx:pt>
          <cx:pt idx="4718">-0.849409144</cx:pt>
          <cx:pt idx="4719">-0.850453507</cx:pt>
          <cx:pt idx="4720">-0.85351544000000001</cx:pt>
          <cx:pt idx="4721">-0.860474136</cx:pt>
          <cx:pt idx="4722">-0.86151794199999998</cx:pt>
          <cx:pt idx="4723">-0.87042639399999999</cx:pt>
          <cx:pt idx="4724">-0.87348669199999995</cx:pt>
          <cx:pt idx="4725">-0.87620071300000002</cx:pt>
          <cx:pt idx="4726">-0.87661866700000002</cx:pt>
          <cx:pt idx="4727">-0.87682708700000001</cx:pt>
          <cx:pt idx="4728">-0.88232457900000005</cx:pt>
          <cx:pt idx="4729">-0.88545599799999997</cx:pt>
          <cx:pt idx="4730">-0.89088400499999998</cx:pt>
          <cx:pt idx="4731">-0.89241469299999998</cx:pt>
          <cx:pt idx="4732">-0.89464183200000003</cx:pt>
          <cx:pt idx="4733">-0.90132206599999998</cx:pt>
          <cx:pt idx="4734">-0.90556729800000002</cx:pt>
          <cx:pt idx="4735">-0.90619315</cx:pt>
          <cx:pt idx="4736">-0.90925671799999996</cx:pt>
          <cx:pt idx="4737">-0.91301290999999996</cx:pt>
          <cx:pt idx="4738">-0.91913677699999996</cx:pt>
          <cx:pt idx="4739">-0.92122438900000003</cx:pt>
          <cx:pt idx="4740">-0.92226819500000001</cx:pt>
          <cx:pt idx="4741">-0.925539106</cx:pt>
          <cx:pt idx="4742">-0.92957810900000004</cx:pt>
          <cx:pt idx="4743">-0.92992386400000004</cx:pt>
          <cx:pt idx="4744">-0.93479658300000001</cx:pt>
          <cx:pt idx="4745">-0.93584038899999999</cx:pt>
          <cx:pt idx="4746">-0.94189316999999995</cx:pt>
          <cx:pt idx="4747">-0.94196157599999997</cx:pt>
          <cx:pt idx="4748">-0.94593105899999996</cx:pt>
          <cx:pt idx="4749">-0.95033641599999996</cx:pt>
          <cx:pt idx="4750">-0.956575383</cx:pt>
          <cx:pt idx="4751">-0.95699549500000003</cx:pt>
          <cx:pt idx="4752">-0.96172492899999995</cx:pt>
          <cx:pt idx="4753">-0.962979904</cx:pt>
          <cx:pt idx="4754">-0.96325833100000002</cx:pt>
          <cx:pt idx="4755">-0.96346730800000002</cx:pt>
          <cx:pt idx="4756">-0.964511114</cx:pt>
          <cx:pt idx="4757">-0.96534594299999998</cx:pt>
          <cx:pt idx="4758">-0.97181775699999995</cx:pt>
          <cx:pt idx="4759">-0.97230196000000002</cx:pt>
          <cx:pt idx="4760">-0.97675672499999999</cx:pt>
          <cx:pt idx="4761">-0.97835742000000003</cx:pt>
          <cx:pt idx="4762">-0.98253264500000004</cx:pt>
          <cx:pt idx="4763">-0.98267325000000005</cx:pt>
          <cx:pt idx="4764">-0.98824130600000004</cx:pt>
          <cx:pt idx="4765">-0.99060626699999998</cx:pt>
          <cx:pt idx="4766">-0.99519836699999997</cx:pt>
          <cx:pt idx="4767">-0.99638222099999996</cx:pt>
          <cx:pt idx="4768">-1</cx:pt>
          <cx:pt idx="4769">-1</cx:pt>
          <cx:pt idx="4770">-1</cx:pt>
          <cx:pt idx="4771">-1</cx:pt>
          <cx:pt idx="4772">-1</cx:pt>
          <cx:pt idx="4773">-1</cx:pt>
          <cx:pt idx="4774">-1</cx:pt>
          <cx:pt idx="4775">-1</cx:pt>
          <cx:pt idx="4776">-1</cx:pt>
          <cx:pt idx="4777">-1</cx:pt>
          <cx:pt idx="4778">-1</cx:pt>
          <cx:pt idx="4779">-1</cx:pt>
          <cx:pt idx="4780">-1</cx:pt>
          <cx:pt idx="4781">-1</cx:pt>
          <cx:pt idx="4782">-1</cx:pt>
          <cx:pt idx="4783">-1</cx:pt>
          <cx:pt idx="4784">-1</cx:pt>
          <cx:pt idx="4785">-1</cx:pt>
          <cx:pt idx="4786">-1</cx:pt>
          <cx:pt idx="4787">-1</cx:pt>
          <cx:pt idx="4788">-1</cx:pt>
          <cx:pt idx="4789">-1</cx:pt>
          <cx:pt idx="4790">-1</cx:pt>
          <cx:pt idx="4791">-1</cx:pt>
          <cx:pt idx="4792">-1</cx:pt>
          <cx:pt idx="4793">-1</cx:pt>
          <cx:pt idx="4794">-1</cx:pt>
          <cx:pt idx="4795">-1</cx:pt>
          <cx:pt idx="4796">-1</cx:pt>
          <cx:pt idx="4797">-1</cx:pt>
          <cx:pt idx="4798">-1</cx:pt>
          <cx:pt idx="4799">-1</cx:pt>
          <cx:pt idx="4800">-1</cx:pt>
          <cx:pt idx="4801">-1</cx:pt>
          <cx:pt idx="4802">-1</cx:pt>
          <cx:pt idx="4803">-1</cx:pt>
          <cx:pt idx="4804">-1</cx:pt>
          <cx:pt idx="4805">-1</cx:pt>
          <cx:pt idx="4806">-1</cx:pt>
          <cx:pt idx="4807">-1</cx:pt>
          <cx:pt idx="4808">-1</cx:pt>
          <cx:pt idx="4809">-1</cx:pt>
          <cx:pt idx="4810">-1</cx:pt>
          <cx:pt idx="4811">-1</cx:pt>
          <cx:pt idx="4812">-1</cx:pt>
          <cx:pt idx="4813">-1</cx:pt>
          <cx:pt idx="4814">-1</cx:pt>
          <cx:pt idx="4815">-1</cx:pt>
          <cx:pt idx="4816">-1</cx:pt>
          <cx:pt idx="4817">-1</cx:pt>
          <cx:pt idx="4818">-1</cx:pt>
          <cx:pt idx="4819">-1</cx:pt>
          <cx:pt idx="4820">-1</cx:pt>
          <cx:pt idx="4821">-1</cx:pt>
          <cx:pt idx="4822">-1</cx:pt>
          <cx:pt idx="4823">-1</cx:pt>
          <cx:pt idx="4824">-1</cx:pt>
          <cx:pt idx="4825">-1</cx:pt>
          <cx:pt idx="4826">-1</cx:pt>
          <cx:pt idx="4827">-1</cx:pt>
          <cx:pt idx="4828">-1</cx:pt>
          <cx:pt idx="4829">-1</cx:pt>
          <cx:pt idx="4830">-1</cx:pt>
          <cx:pt idx="4831">-1</cx:pt>
          <cx:pt idx="4832">-1</cx:pt>
          <cx:pt idx="4833">-1</cx:pt>
          <cx:pt idx="4834">-1</cx:pt>
          <cx:pt idx="4835">-1</cx:pt>
          <cx:pt idx="4836">-1</cx:pt>
          <cx:pt idx="4837">-1</cx:pt>
          <cx:pt idx="4838">-1</cx:pt>
          <cx:pt idx="4839">-1</cx:pt>
          <cx:pt idx="4840">-1</cx:pt>
          <cx:pt idx="4841">-1</cx:pt>
          <cx:pt idx="4842">-1</cx:pt>
          <cx:pt idx="4843">-1</cx:pt>
          <cx:pt idx="4844">-1</cx:pt>
          <cx:pt idx="4845">-1</cx:pt>
          <cx:pt idx="4846">-1</cx:pt>
          <cx:pt idx="4847">-1</cx:pt>
          <cx:pt idx="4848">-1</cx:pt>
          <cx:pt idx="4849">-1</cx:pt>
          <cx:pt idx="4850">-1</cx:pt>
          <cx:pt idx="4851">-1</cx:pt>
          <cx:pt idx="4852">-1</cx:pt>
          <cx:pt idx="4853">-1</cx:pt>
          <cx:pt idx="4854">-1</cx:pt>
          <cx:pt idx="4855">-1</cx:pt>
          <cx:pt idx="4856">-1</cx:pt>
          <cx:pt idx="4857">-1</cx:pt>
          <cx:pt idx="4858">-1</cx:pt>
          <cx:pt idx="4859">-1</cx:pt>
          <cx:pt idx="4860">-1</cx:pt>
          <cx:pt idx="4861">-1</cx:pt>
          <cx:pt idx="4862">-1</cx:pt>
          <cx:pt idx="4863">-1</cx:pt>
          <cx:pt idx="4864">-1</cx:pt>
          <cx:pt idx="4865">-1</cx:pt>
          <cx:pt idx="4866">-1</cx:pt>
          <cx:pt idx="4867">-1</cx:pt>
          <cx:pt idx="4868">-1</cx:pt>
          <cx:pt idx="4869">-1</cx:pt>
          <cx:pt idx="4870">-1</cx:pt>
          <cx:pt idx="4871">-1</cx:pt>
          <cx:pt idx="4872">-1</cx:pt>
          <cx:pt idx="4873">-1</cx:pt>
          <cx:pt idx="4874">-1</cx:pt>
          <cx:pt idx="4875">-1</cx:pt>
          <cx:pt idx="4876">-1</cx:pt>
          <cx:pt idx="4877">-1</cx:pt>
          <cx:pt idx="4878">-1</cx:pt>
          <cx:pt idx="4879">-1</cx:pt>
          <cx:pt idx="4880">-1</cx:pt>
          <cx:pt idx="4881">-1</cx:pt>
          <cx:pt idx="4882">-1</cx:pt>
          <cx:pt idx="4883">-1</cx:pt>
          <cx:pt idx="4884">-1</cx:pt>
          <cx:pt idx="4885">-1</cx:pt>
          <cx:pt idx="4886">-1</cx:pt>
          <cx:pt idx="4887">-1</cx:pt>
          <cx:pt idx="4888">-1</cx:pt>
          <cx:pt idx="4889">-1</cx:pt>
          <cx:pt idx="4890">-1</cx:pt>
          <cx:pt idx="4891">-1</cx:pt>
          <cx:pt idx="4892">-1</cx:pt>
          <cx:pt idx="4893">-1</cx:pt>
          <cx:pt idx="4894">-1</cx:pt>
          <cx:pt idx="4895">-1</cx:pt>
          <cx:pt idx="4896">-1</cx:pt>
          <cx:pt idx="4897">-1</cx:pt>
          <cx:pt idx="4898">-1</cx:pt>
          <cx:pt idx="4899">-1</cx:pt>
          <cx:pt idx="4900">-1</cx:pt>
          <cx:pt idx="4901">-1</cx:pt>
          <cx:pt idx="4902">-1</cx:pt>
          <cx:pt idx="4903">-1</cx:pt>
          <cx:pt idx="4904">-1</cx:pt>
          <cx:pt idx="4905">-1</cx:pt>
          <cx:pt idx="4906">-1</cx:pt>
          <cx:pt idx="4907">-1</cx:pt>
          <cx:pt idx="4908">-1</cx:pt>
          <cx:pt idx="4909">-1</cx:pt>
          <cx:pt idx="4910">-1</cx:pt>
          <cx:pt idx="4911">-1</cx:pt>
          <cx:pt idx="4912">-1</cx:pt>
          <cx:pt idx="4913">-1</cx:pt>
          <cx:pt idx="4914">-1</cx:pt>
          <cx:pt idx="4915">-1</cx:pt>
          <cx:pt idx="4916">-1</cx:pt>
          <cx:pt idx="4917">-1</cx:pt>
          <cx:pt idx="4918">-1</cx:pt>
          <cx:pt idx="4919">-1</cx:pt>
          <cx:pt idx="4920">-1</cx:pt>
          <cx:pt idx="4921">-1</cx:pt>
          <cx:pt idx="4922">-1</cx:pt>
          <cx:pt idx="4923">-1</cx:pt>
          <cx:pt idx="4924">-1</cx:pt>
          <cx:pt idx="4925">-1</cx:pt>
          <cx:pt idx="4926">-1</cx:pt>
          <cx:pt idx="4927">-1</cx:pt>
          <cx:pt idx="4928">-1</cx:pt>
          <cx:pt idx="4929">-1</cx:pt>
          <cx:pt idx="4930">-1</cx:pt>
          <cx:pt idx="4931">-1</cx:pt>
          <cx:pt idx="4932">-1</cx:pt>
          <cx:pt idx="4933">-1</cx:pt>
          <cx:pt idx="4934">-1</cx:pt>
          <cx:pt idx="4935">-1</cx:pt>
          <cx:pt idx="4936">-1</cx:pt>
          <cx:pt idx="4937">-1</cx:pt>
          <cx:pt idx="4938">-1</cx:pt>
          <cx:pt idx="4939">-1</cx:pt>
          <cx:pt idx="4940">-1</cx:pt>
          <cx:pt idx="4941">-1</cx:pt>
          <cx:pt idx="4942">-1</cx:pt>
          <cx:pt idx="4943">-1</cx:pt>
          <cx:pt idx="4944">-1</cx:pt>
          <cx:pt idx="4945">-1</cx:pt>
          <cx:pt idx="4946">-1</cx:pt>
          <cx:pt idx="4947">-1</cx:pt>
          <cx:pt idx="4948">-1</cx:pt>
          <cx:pt idx="4949">-1</cx:pt>
          <cx:pt idx="4950">-1</cx:pt>
          <cx:pt idx="4951">-1</cx:pt>
          <cx:pt idx="4952">-1</cx:pt>
          <cx:pt idx="4953">-1</cx:pt>
          <cx:pt idx="4954">-1</cx:pt>
          <cx:pt idx="4955">-1</cx:pt>
          <cx:pt idx="4956">-1</cx:pt>
          <cx:pt idx="4957">-1</cx:pt>
          <cx:pt idx="4958">-1</cx:pt>
          <cx:pt idx="4959">-1</cx:pt>
          <cx:pt idx="4960">-1</cx:pt>
          <cx:pt idx="4961">-1</cx:pt>
          <cx:pt idx="4962">-1</cx:pt>
          <cx:pt idx="4963">-1</cx:pt>
          <cx:pt idx="4964">-1</cx:pt>
          <cx:pt idx="4965">-1</cx:pt>
          <cx:pt idx="4966">-1</cx:pt>
          <cx:pt idx="4967">-1</cx:pt>
          <cx:pt idx="4968">-1</cx:pt>
          <cx:pt idx="4969">-1</cx:pt>
          <cx:pt idx="4970">-1</cx:pt>
          <cx:pt idx="4971">-1</cx:pt>
          <cx:pt idx="4972">-1</cx:pt>
          <cx:pt idx="4973">-1</cx:pt>
          <cx:pt idx="4974">-1</cx:pt>
          <cx:pt idx="4975">-1</cx:pt>
          <cx:pt idx="4976">-1</cx:pt>
          <cx:pt idx="4977">-1</cx:pt>
          <cx:pt idx="4978">-1</cx:pt>
          <cx:pt idx="4979">-1</cx:pt>
          <cx:pt idx="4980">-1</cx:pt>
          <cx:pt idx="4981">-1</cx:pt>
          <cx:pt idx="4982">-1</cx:pt>
          <cx:pt idx="4983">-1</cx:pt>
          <cx:pt idx="4984">-1</cx:pt>
          <cx:pt idx="4985">-1</cx:pt>
          <cx:pt idx="4986">-1</cx:pt>
          <cx:pt idx="4987">-1</cx:pt>
          <cx:pt idx="4988">-1</cx:pt>
          <cx:pt idx="4989">-1</cx:pt>
          <cx:pt idx="4990">-1</cx:pt>
          <cx:pt idx="4991">-1</cx:pt>
          <cx:pt idx="4992">-1</cx:pt>
          <cx:pt idx="4993">-1</cx:pt>
          <cx:pt idx="4994">-1</cx:pt>
          <cx:pt idx="4995">-1</cx:pt>
          <cx:pt idx="4996">-1</cx:pt>
          <cx:pt idx="4997">-1</cx:pt>
          <cx:pt idx="4998">-1</cx:pt>
          <cx:pt idx="4999">-1</cx:pt>
          <cx:pt idx="5000">-1</cx:pt>
          <cx:pt idx="5001">-1</cx:pt>
          <cx:pt idx="5002">-1</cx:pt>
          <cx:pt idx="5003">-1</cx:pt>
          <cx:pt idx="5004">-1</cx:pt>
          <cx:pt idx="5005">-1</cx:pt>
          <cx:pt idx="5006">-1</cx:pt>
          <cx:pt idx="5007">-1</cx:pt>
          <cx:pt idx="5008">-1</cx:pt>
          <cx:pt idx="5009">-1</cx:pt>
          <cx:pt idx="5010">-1</cx:pt>
          <cx:pt idx="5011">-1</cx:pt>
          <cx:pt idx="5012">-1</cx:pt>
          <cx:pt idx="5013">-1</cx:pt>
          <cx:pt idx="5014">-1</cx:pt>
          <cx:pt idx="5015">-1</cx:pt>
          <cx:pt idx="5016">-1</cx:pt>
          <cx:pt idx="5017">-1</cx:pt>
          <cx:pt idx="5018">-1</cx:pt>
          <cx:pt idx="5019">-1</cx:pt>
          <cx:pt idx="5020">-1</cx:pt>
          <cx:pt idx="5021">-1</cx:pt>
          <cx:pt idx="5022">-1</cx:pt>
          <cx:pt idx="5023">-1</cx:pt>
          <cx:pt idx="5024">-1</cx:pt>
          <cx:pt idx="5025">-1</cx:pt>
          <cx:pt idx="5026">-1</cx:pt>
          <cx:pt idx="5027">-1</cx:pt>
          <cx:pt idx="5028">-1</cx:pt>
          <cx:pt idx="5029">-1</cx:pt>
          <cx:pt idx="5030">-1</cx:pt>
          <cx:pt idx="5031">-1</cx:pt>
          <cx:pt idx="5032">-1</cx:pt>
          <cx:pt idx="5033">-1</cx:pt>
          <cx:pt idx="5034">-1</cx:pt>
          <cx:pt idx="5035">-1</cx:pt>
          <cx:pt idx="5036">-1</cx:pt>
          <cx:pt idx="5037">-1</cx:pt>
          <cx:pt idx="5038">-1</cx:pt>
          <cx:pt idx="5039">-1</cx:pt>
          <cx:pt idx="5040">-1</cx:pt>
          <cx:pt idx="5041">-1</cx:pt>
          <cx:pt idx="5042">-1</cx:pt>
          <cx:pt idx="5043">-1</cx:pt>
          <cx:pt idx="5044">-1</cx:pt>
          <cx:pt idx="5045">-1</cx:pt>
          <cx:pt idx="5046">-1</cx:pt>
          <cx:pt idx="5047">-1</cx:pt>
          <cx:pt idx="5048">-1</cx:pt>
          <cx:pt idx="5049">-1</cx:pt>
          <cx:pt idx="5050">-1</cx:pt>
          <cx:pt idx="5051">-1</cx:pt>
          <cx:pt idx="5052">-1</cx:pt>
          <cx:pt idx="5053">-1</cx:pt>
          <cx:pt idx="5054">-1</cx:pt>
          <cx:pt idx="5055">-1</cx:pt>
          <cx:pt idx="5056">-1</cx:pt>
          <cx:pt idx="5057">-1</cx:pt>
          <cx:pt idx="5058">-1</cx:pt>
          <cx:pt idx="5059">-1</cx:pt>
          <cx:pt idx="5060">-1</cx:pt>
          <cx:pt idx="5061">-1</cx:pt>
          <cx:pt idx="5062">-1</cx:pt>
          <cx:pt idx="5063">-1</cx:pt>
          <cx:pt idx="5064">-1</cx:pt>
          <cx:pt idx="5065">-1</cx:pt>
          <cx:pt idx="5066">-1</cx:pt>
          <cx:pt idx="5067">-1</cx:pt>
          <cx:pt idx="5068">-1</cx:pt>
          <cx:pt idx="5069">-1</cx:pt>
          <cx:pt idx="5070">-1</cx:pt>
          <cx:pt idx="5071">-1</cx:pt>
          <cx:pt idx="5072">-1</cx:pt>
          <cx:pt idx="5073">-1</cx:pt>
          <cx:pt idx="5074">-1</cx:pt>
          <cx:pt idx="5075">-1</cx:pt>
          <cx:pt idx="5076">-0.98739495300000002</cx:pt>
          <cx:pt idx="5077">-0.98589325299999997</cx:pt>
          <cx:pt idx="5078">-0.96431166000000001</cx:pt>
          <cx:pt idx="5079">-0.95919000499999996</cx:pt>
          <cx:pt idx="5080">-0.95661833399999996</cx:pt>
          <cx:pt idx="5081">-0.93546494400000002</cx:pt>
          <cx:pt idx="5082">-0.93525329999999995</cx:pt>
          <cx:pt idx="5083">-0.93012331100000001</cx:pt>
          <cx:pt idx="5084">-0.91645160400000003</cx:pt>
          <cx:pt idx="5085">-0.91538334200000004</cx:pt>
          <cx:pt idx="5086">-0.91494167800000004</cx:pt>
          <cx:pt idx="5087">-0.90512667700000005</cx:pt>
          <cx:pt idx="5088">-0.87030328899999998</cx:pt>
          <cx:pt idx="5089">-0.86107332599999997</cx:pt>
          <cx:pt idx="5090">-0.85726159899999999</cx:pt>
          <cx:pt idx="5091">-0.82756328499999998</cx:pt>
          <cx:pt idx="5092">-0.82455999199999996</cx:pt>
          <cx:pt idx="5093">-0.824148349</cx:pt>
          <cx:pt idx="5094">-0.81666666700000001</cx:pt>
          <cx:pt idx="5095">-0.80106826200000003</cx:pt>
          <cx:pt idx="5096">-0.80084166099999998</cx:pt>
          <cx:pt idx="5097">-0.789303274</cx:pt>
          <cx:pt idx="5098">-0.76131328200000004</cx:pt>
          <cx:pt idx="5099">-0.70276664899999997</cx:pt>
          <cx:pt idx="5100">-0.68931662800000004</cx:pt>
          <cx:pt idx="5101">-0.68547167399999998</cx:pt>
          <cx:pt idx="5102">-0.66876996499999997</cx:pt>
          <cx:pt idx="5103">-0.66560160899999998</cx:pt>
          <cx:pt idx="5104">-0.66154159300000004</cx:pt>
          <cx:pt idx="5105">-0.639106587</cx:pt>
          <cx:pt idx="5106">-0.61752499400000005</cx:pt>
          <cx:pt idx="5107">-0.61666997899999998</cx:pt>
          <cx:pt idx="5108">-0.60998658100000003</cx:pt>
          <cx:pt idx="5109">-0.59593165000000003</cx:pt>
          <cx:pt idx="5110">-0.58332499999999998</cx:pt>
          <cx:pt idx="5111">-0.58118826199999996</cx:pt>
          <cx:pt idx="5112">-0.55705497599999998</cx:pt>
          <cx:pt idx="5113">-0.556629979</cx:pt>
          <cx:pt idx="5114">-0.54230165200000002</cx:pt>
          <cx:pt idx="5115">-0.52222827599999999</cx:pt>
          <cx:pt idx="5116">-0.51261167100000005</cx:pt>
          <cx:pt idx="5117">-0.49678826799999998</cx:pt>
          <cx:pt idx="5118">-0.48461997000000001</cx:pt>
          <cx:pt idx="5119">-0.48332831199999998</cx:pt>
          <cx:pt idx="5120">-0.472216631</cx:pt>
          <cx:pt idx="5121">-0.44936496100000001</cx:pt>
          <cx:pt idx="5122">-0.44380997599999999</cx:pt>
          <cx:pt idx="5123">-0.43995327000000001</cx:pt>
          <cx:pt idx="5124">-0.42755495199999999</cx:pt>
          <cx:pt idx="5125">-0.40725668399999998</cx:pt>
          <cx:pt idx="5126">-0.39465494899999998</cx:pt>
          <cx:pt idx="5127">-0.39145999100000001</cx:pt>
          <cx:pt idx="5128">-0.38781663799999999</cx:pt>
          <cx:pt idx="5129">-0.38717497499999998</cx:pt>
          <cx:pt idx="5130">-0.37798828200000001</cx:pt>
          <cx:pt idx="5131">-0.37285658399999999</cx:pt>
          <cx:pt idx="5132">-0.37137497000000003</cx:pt>
          <cx:pt idx="5133">-0.36624658399999999</cx:pt>
          <cx:pt idx="5134">-0.354056598</cx:pt>
          <cx:pt idx="5135">-0.35064828599999998</cx:pt>
          <cx:pt idx="5136">-0.35042499700000002</cx:pt>
          <cx:pt idx="5137">-0.34251831700000002</cx:pt>
          <cx:pt idx="5138">-0.32926167099999998</cx:pt>
          <cx:pt idx="5139">-0.31644166800000001</cx:pt>
          <cx:pt idx="5140">-0.31345995599999998</cx:pt>
          <cx:pt idx="5141">-0.31196327800000001</cx:pt>
          <cx:pt idx="5142">-0.276491604</cx:pt>
          <cx:pt idx="5143">-0.26965660499999999</cx:pt>
          <cx:pt idx="5144">-0.26751997300000002</cx:pt>
          <cx:pt idx="5145">-0.25790326099999999</cx:pt>
          <cx:pt idx="5146">-0.25747334999999999</cx:pt>
          <cx:pt idx="5147">-0.22970162599999999</cx:pt>
          <cx:pt idx="5148">-0.21815832399999999</cx:pt>
          <cx:pt idx="5149">-0.20448501399999999</cx:pt>
          <cx:pt idx="5150">-0.194018308</cx:pt>
          <cx:pt idx="5151">-0.17329162400000001</cx:pt>
          <cx:pt idx="5152">-0.168801589</cx:pt>
          <cx:pt idx="5153">-0.16046659999999999</cx:pt>
          <cx:pt idx="5154">-0.14892992099999999</cx:pt>
          <cx:pt idx="5155">-0.142523339</cx:pt>
          <cx:pt idx="5156">-0.14102334799999999</cx:pt>
          <cx:pt idx="5157">-0.11430995100000001</cx:pt>
          <cx:pt idx="5158">-0.105344944</cx:pt>
          <cx:pt idx="5159">-0.083763351999999999</cx:pt>
          <cx:pt idx="5160">-0.055554986000000001</cx:pt>
          <cx:pt idx="5161">-0.047004933999999998</cx:pt>
          <cx:pt idx="5162">-0.040388308999999997</cx:pt>
          <cx:pt idx="5163">-0.033978307999999999</cx:pt>
          <cx:pt idx="5164">-0.019663335000000001</cx:pt>
          <cx:pt idx="5165">-0.014748303000000001</cx:pt>
          <cx:pt idx="5166">-0.0023550060000000002</cx:pt>
          <cx:pt idx="5167">0</cx:pt>
          <cx:pt idx="5168">11</cx:pt>
          <cx:pt idx="5169">27.250434649999999</cx:pt>
          <cx:pt idx="5170">43</cx:pt>
          <cx:pt idx="5171">31</cx:pt>
          <cx:pt idx="5172">0</cx:pt>
          <cx:pt idx="5173">0</cx:pt>
          <cx:pt idx="5174">0</cx:pt>
          <cx:pt idx="5175">0</cx:pt>
          <cx:pt idx="5176">0</cx:pt>
          <cx:pt idx="5177">0</cx:pt>
          <cx:pt idx="5178">0</cx:pt>
          <cx:pt idx="5179">0</cx:pt>
          <cx:pt idx="5180">0</cx:pt>
          <cx:pt idx="5181">0</cx:pt>
          <cx:pt idx="5182">0</cx:pt>
          <cx:pt idx="5183">0</cx:pt>
          <cx:pt idx="5184">0</cx:pt>
          <cx:pt idx="5185">0</cx:pt>
          <cx:pt idx="5186">0</cx:pt>
          <cx:pt idx="5187">0</cx:pt>
          <cx:pt idx="5188">0</cx:pt>
          <cx:pt idx="5189">0</cx:pt>
          <cx:pt idx="5190">0</cx:pt>
          <cx:pt idx="5191">0</cx:pt>
          <cx:pt idx="5192">0</cx:pt>
          <cx:pt idx="5193">0</cx:pt>
          <cx:pt idx="5194">0</cx:pt>
          <cx:pt idx="5195">0</cx:pt>
          <cx:pt idx="5196">0</cx:pt>
          <cx:pt idx="5197">0</cx:pt>
          <cx:pt idx="5198">0</cx:pt>
          <cx:pt idx="5199">0</cx:pt>
          <cx:pt idx="5200">3.4128307680000001</cx:pt>
          <cx:pt idx="5201">9</cx:pt>
          <cx:pt idx="5202">23.530539839999999</cx:pt>
          <cx:pt idx="5203">39</cx:pt>
          <cx:pt idx="5204">49</cx:pt>
          <cx:pt idx="5205">49.585277929999997</cx:pt>
          <cx:pt idx="5206">50.144593739999998</cx:pt>
          <cx:pt idx="5207">50.694879210000003</cx:pt>
          <cx:pt idx="5208">51.834957789999997</cx:pt>
          <cx:pt idx="5209">52.389758360000002</cx:pt>
          <cx:pt idx="5210">53.5343521</cx:pt>
          <cx:pt idx="5211">54.084637569999998</cx:pt>
          <cx:pt idx="5212">54.643671140000002</cx:pt>
          <cx:pt idx="5213">55.229231319999997</cx:pt>
          <cx:pt idx="5214">56.338550349999998</cx:pt>
          <cx:pt idx="5215">57.465647830000002</cx:pt>
          <cx:pt idx="5216">58.050925829999997</cx:pt>
          <cx:pt idx="5217">60.305120789999997</cx:pt>
          <cx:pt idx="5218">61.409924650000001</cx:pt>
          <cx:pt idx="5219">62</cx:pt>
          <cx:pt idx="5220">74</cx:pt>
          <cx:pt idx="5221">78.147523519999993</cx:pt>
          <cx:pt idx="5222">78.732396600000001</cx:pt>
          <cx:pt idx="5223">79.307826770000005</cx:pt>
          <cx:pt idx="5224">79.910700509999998</cx:pt>
          <cx:pt idx="5225">80.016638670000006</cx:pt>
          <cx:pt idx="5226">80.504721489999994</cx:pt>
          <cx:pt idx="5227">81.080151659999999</cx:pt>
          <cx:pt idx="5228">81.660008169999998</cx:pt>
          <cx:pt idx="5229">82.277046380000002</cx:pt>
          <cx:pt idx="5230">82.852476550000006</cx:pt>
          <cx:pt idx="5231">83.437054549999999</cx:pt>
          <cx:pt idx="5232">84.049371269999995</cx:pt>
          <cx:pt idx="5233">84.633949270000002</cx:pt>
          <cx:pt idx="5234">85.214100930000001</cx:pt>
          <cx:pt idx="5235">87</cx:pt>
          <cx:pt idx="5236">99</cx:pt>
          <cx:pt idx="5237">99</cx:pt>
          <cx:pt idx="5238">99</cx:pt>
          <cx:pt idx="5239">99</cx:pt>
          <cx:pt idx="5240">99</cx:pt>
          <cx:pt idx="5241">99</cx:pt>
          <cx:pt idx="5242">99</cx:pt>
          <cx:pt idx="5243">99</cx:pt>
          <cx:pt idx="5244">99</cx:pt>
          <cx:pt idx="5245">99</cx:pt>
          <cx:pt idx="5246">99</cx:pt>
          <cx:pt idx="5247">99</cx:pt>
          <cx:pt idx="5248">99</cx:pt>
          <cx:pt idx="5249">99</cx:pt>
          <cx:pt idx="5250">99</cx:pt>
          <cx:pt idx="5251">99</cx:pt>
          <cx:pt idx="5252">99</cx:pt>
          <cx:pt idx="5253">99</cx:pt>
          <cx:pt idx="5254">99</cx:pt>
          <cx:pt idx="5255">99</cx:pt>
          <cx:pt idx="5256">99</cx:pt>
          <cx:pt idx="5257">99</cx:pt>
          <cx:pt idx="5258">99</cx:pt>
          <cx:pt idx="5259">99</cx:pt>
          <cx:pt idx="5260">99</cx:pt>
          <cx:pt idx="5261">99</cx:pt>
          <cx:pt idx="5262">99</cx:pt>
          <cx:pt idx="5263">99</cx:pt>
          <cx:pt idx="5264">99</cx:pt>
          <cx:pt idx="5265">99</cx:pt>
          <cx:pt idx="5266">99</cx:pt>
          <cx:pt idx="5267">99</cx:pt>
          <cx:pt idx="5268">99</cx:pt>
          <cx:pt idx="5269">99</cx:pt>
          <cx:pt idx="5270">99</cx:pt>
          <cx:pt idx="5271">99</cx:pt>
          <cx:pt idx="5272">99</cx:pt>
          <cx:pt idx="5273">99</cx:pt>
          <cx:pt idx="5274">99</cx:pt>
          <cx:pt idx="5275">99</cx:pt>
          <cx:pt idx="5276">99</cx:pt>
          <cx:pt idx="5277">99</cx:pt>
          <cx:pt idx="5278">99</cx:pt>
          <cx:pt idx="5279">99</cx:pt>
          <cx:pt idx="5280">99</cx:pt>
          <cx:pt idx="5281">99</cx:pt>
          <cx:pt idx="5282">99</cx:pt>
          <cx:pt idx="5283">99</cx:pt>
          <cx:pt idx="5284">99</cx:pt>
          <cx:pt idx="5285">99</cx:pt>
          <cx:pt idx="5286">99</cx:pt>
          <cx:pt idx="5287">99</cx:pt>
          <cx:pt idx="5288">99</cx:pt>
          <cx:pt idx="5289">99</cx:pt>
          <cx:pt idx="5290">99</cx:pt>
          <cx:pt idx="5291">99</cx:pt>
          <cx:pt idx="5292">99</cx:pt>
          <cx:pt idx="5293">99</cx:pt>
          <cx:pt idx="5294">99</cx:pt>
          <cx:pt idx="5295">99</cx:pt>
          <cx:pt idx="5296">99</cx:pt>
          <cx:pt idx="5297">99</cx:pt>
          <cx:pt idx="5298">99</cx:pt>
          <cx:pt idx="5299">99</cx:pt>
          <cx:pt idx="5300">99</cx:pt>
          <cx:pt idx="5301">99</cx:pt>
          <cx:pt idx="5302">99</cx:pt>
          <cx:pt idx="5303">99</cx:pt>
          <cx:pt idx="5304">99</cx:pt>
          <cx:pt idx="5305">99</cx:pt>
          <cx:pt idx="5306">99</cx:pt>
          <cx:pt idx="5307">99</cx:pt>
          <cx:pt idx="5308">99</cx:pt>
          <cx:pt idx="5309">99</cx:pt>
          <cx:pt idx="5310">99</cx:pt>
          <cx:pt idx="5311">99</cx:pt>
          <cx:pt idx="5312">99</cx:pt>
          <cx:pt idx="5313">99</cx:pt>
          <cx:pt idx="5314">99</cx:pt>
          <cx:pt idx="5315">99</cx:pt>
          <cx:pt idx="5316">99</cx:pt>
          <cx:pt idx="5317">99</cx:pt>
          <cx:pt idx="5318">99</cx:pt>
          <cx:pt idx="5319">99</cx:pt>
          <cx:pt idx="5320">99</cx:pt>
          <cx:pt idx="5321">99</cx:pt>
          <cx:pt idx="5322">99</cx:pt>
          <cx:pt idx="5323">99</cx:pt>
          <cx:pt idx="5324">99</cx:pt>
          <cx:pt idx="5325">99</cx:pt>
          <cx:pt idx="5326">99</cx:pt>
          <cx:pt idx="5327">99</cx:pt>
          <cx:pt idx="5328">99</cx:pt>
          <cx:pt idx="5329">99</cx:pt>
          <cx:pt idx="5330">99</cx:pt>
          <cx:pt idx="5331">99</cx:pt>
          <cx:pt idx="5332">99</cx:pt>
          <cx:pt idx="5333">99</cx:pt>
          <cx:pt idx="5334">99</cx:pt>
          <cx:pt idx="5335">99</cx:pt>
          <cx:pt idx="5336">99</cx:pt>
          <cx:pt idx="5337">99</cx:pt>
          <cx:pt idx="5338">99</cx:pt>
          <cx:pt idx="5339">99</cx:pt>
          <cx:pt idx="5340">99</cx:pt>
          <cx:pt idx="5341">99</cx:pt>
          <cx:pt idx="5342">99</cx:pt>
          <cx:pt idx="5343">99</cx:pt>
          <cx:pt idx="5344">99</cx:pt>
          <cx:pt idx="5345">99</cx:pt>
          <cx:pt idx="5346">99</cx:pt>
          <cx:pt idx="5347">99</cx:pt>
          <cx:pt idx="5348">99</cx:pt>
          <cx:pt idx="5349">99</cx:pt>
          <cx:pt idx="5350">99</cx:pt>
          <cx:pt idx="5351">99</cx:pt>
          <cx:pt idx="5352">99</cx:pt>
          <cx:pt idx="5353">99</cx:pt>
          <cx:pt idx="5354">99</cx:pt>
          <cx:pt idx="5355">99</cx:pt>
          <cx:pt idx="5356">99</cx:pt>
          <cx:pt idx="5357">99</cx:pt>
          <cx:pt idx="5358">99</cx:pt>
          <cx:pt idx="5359">99</cx:pt>
          <cx:pt idx="5360">99</cx:pt>
          <cx:pt idx="5361">99</cx:pt>
          <cx:pt idx="5362">99</cx:pt>
          <cx:pt idx="5363">99</cx:pt>
          <cx:pt idx="5364">99</cx:pt>
          <cx:pt idx="5365">99</cx:pt>
          <cx:pt idx="5366">99</cx:pt>
          <cx:pt idx="5367">99</cx:pt>
          <cx:pt idx="5368">99</cx:pt>
          <cx:pt idx="5369">99</cx:pt>
          <cx:pt idx="5370">99</cx:pt>
          <cx:pt idx="5371">99</cx:pt>
          <cx:pt idx="5372">99</cx:pt>
          <cx:pt idx="5373">99</cx:pt>
          <cx:pt idx="5374">99</cx:pt>
          <cx:pt idx="5375">99</cx:pt>
          <cx:pt idx="5376">99</cx:pt>
          <cx:pt idx="5377">99</cx:pt>
          <cx:pt idx="5378">99</cx:pt>
          <cx:pt idx="5379">99</cx:pt>
          <cx:pt idx="5380">99</cx:pt>
          <cx:pt idx="5381">99</cx:pt>
          <cx:pt idx="5382">99</cx:pt>
          <cx:pt idx="5383">99</cx:pt>
          <cx:pt idx="5384">99</cx:pt>
          <cx:pt idx="5385">99</cx:pt>
          <cx:pt idx="5386">99</cx:pt>
          <cx:pt idx="5387">99</cx:pt>
          <cx:pt idx="5388">99</cx:pt>
          <cx:pt idx="5389">99</cx:pt>
          <cx:pt idx="5390">99</cx:pt>
          <cx:pt idx="5391">99</cx:pt>
          <cx:pt idx="5392">99</cx:pt>
          <cx:pt idx="5393">99</cx:pt>
          <cx:pt idx="5394">99</cx:pt>
          <cx:pt idx="5395">99</cx:pt>
          <cx:pt idx="5396">99</cx:pt>
          <cx:pt idx="5397">99</cx:pt>
          <cx:pt idx="5398">99</cx:pt>
          <cx:pt idx="5399">99</cx:pt>
          <cx:pt idx="5400">99</cx:pt>
          <cx:pt idx="5401">99</cx:pt>
          <cx:pt idx="5402">99</cx:pt>
          <cx:pt idx="5403">99</cx:pt>
          <cx:pt idx="5404">99</cx:pt>
          <cx:pt idx="5405">99</cx:pt>
          <cx:pt idx="5406">99</cx:pt>
          <cx:pt idx="5407">99</cx:pt>
          <cx:pt idx="5408">99</cx:pt>
          <cx:pt idx="5409">99</cx:pt>
          <cx:pt idx="5410">99</cx:pt>
          <cx:pt idx="5411">99</cx:pt>
          <cx:pt idx="5412">99</cx:pt>
          <cx:pt idx="5413">87.881303180000003</cx:pt>
          <cx:pt idx="5414">87.447656640000005</cx:pt>
          <cx:pt idx="5415">87</cx:pt>
          <cx:pt idx="5416">59</cx:pt>
          <cx:pt idx="5417">4</cx:pt>
          <cx:pt idx="5418">15.903079050000001</cx:pt>
          <cx:pt idx="5419">16</cx:pt>
          <cx:pt idx="5420">0</cx:pt>
          <cx:pt idx="5421">1.522929008</cx:pt>
          <cx:pt idx="5422">1.6272189720000001</cx:pt>
          <cx:pt idx="5423">3</cx:pt>
          <cx:pt idx="5424">2.2586726779999999</cx:pt>
          <cx:pt idx="5425">0.73529412699999996</cx:pt>
          <cx:pt idx="5426">0</cx:pt>
          <cx:pt idx="5427">-0.00027789699999999999</cx:pt>
          <cx:pt idx="5428">-0.00048905900000000002</cx:pt>
          <cx:pt idx="5429">-0.00055798600000000001</cx:pt>
          <cx:pt idx="5430">-0.00062583300000000001</cx:pt>
          <cx:pt idx="5431">-0.00083480399999999997</cx:pt>
          <cx:pt idx="5432">-0.00090700100000000005</cx:pt>
          <cx:pt idx="5433">-0.00097592700000000002</cx:pt>
          <cx:pt idx="5434">-0.001112701</cx:pt>
          <cx:pt idx="5435">-0.0011848970000000001</cx:pt>
          <cx:pt idx="5436">-0.0014606370000000001</cx:pt>
          <cx:pt idx="5437">-0.001601203</cx:pt>
          <cx:pt idx="5438">-0.00160176</cx:pt>
          <cx:pt idx="5439">-0.0016696079999999999</cx:pt>
          <cx:pt idx="5440">-0.0017412479999999999</cx:pt>
          <cx:pt idx="5441">-0.0019540109999999999</cx:pt>
          <cx:pt idx="5442">-0.0020875490000000002</cx:pt>
          <cx:pt idx="5443">-0.0026455350000000001</cx:pt>
          <cx:pt idx="5444">-0.0031313230000000001</cx:pt>
          <cx:pt idx="5445">-0.003273003</cx:pt>
          <cx:pt idx="5446">-0.004453551</cx:pt>
          <cx:pt idx="5447">-0.0074481010000000004</cx:pt>
          <cx:pt idx="5448">-0.0085602449999999993</cx:pt>
          <cx:pt idx="5449">-0.0086286490000000004</cx:pt>
          <cx:pt idx="5450">-0.0086981320000000008</cx:pt>
          <cx:pt idx="5451">-0.0087676149999999994</cx:pt>
          <cx:pt idx="5452">-0.0089765859999999999</cx:pt>
          <cx:pt idx="5453">-0.0090476689999999995</cx:pt>
          <cx:pt idx="5454">-0.0091171519999999999</cx:pt>
          <cx:pt idx="5455">-0.0092604320000000007</cx:pt>
          <cx:pt idx="5456">-0.0093261230000000004</cx:pt>
          <cx:pt idx="5457">-0.0094634530000000001</cx:pt>
          <cx:pt idx="5458">-0.0096724240000000006</cx:pt>
          <cx:pt idx="5459">-0.0097419069999999993</cx:pt>
          <cx:pt idx="5460">-0.010437745</cx:pt>
          <cx:pt idx="5461">-0.010507228</cx:pt>
          <cx:pt idx="5462">-0.010855129</cx:pt>
          <cx:pt idx="5463">-0.011064134999999999</cx:pt>
          <cx:pt idx="5464">-0.011344745</cx:pt>
          <cx:pt idx="5465">-0.012316323000000001</cx:pt>
          <cx:pt idx="5466">-0.01238852</cx:pt>
          <cx:pt idx="5467">-0.012456889000000001</cx:pt>
          <cx:pt idx="5468">-0.012594777</cx:pt>
          <cx:pt idx="5469">-0.012666973</cx:pt>
          <cx:pt idx="5470">-0.012873229999999999</cx:pt>
          <cx:pt idx="5471">-0.012942678000000001</cx:pt>
          <cx:pt idx="5472">-0.013014875</cx:pt>
          <cx:pt idx="5473">-0.013083279</cx:pt>
          <cx:pt idx="5474">-0.013151684</cx:pt>
          <cx:pt idx="5475">-0.013222767</cx:pt>
          <cx:pt idx="5476">-0.013291693</cx:pt>
          <cx:pt idx="5477">-0.013360098000000001</cx:pt>
          <cx:pt idx="5478">-0.013500664000000001</cx:pt>
          <cx:pt idx="5479">-0.013638551</cx:pt>
          <cx:pt idx="5480">-0.013779117</cx:pt>
          <cx:pt idx="5481">-0.013986452999999999</cx:pt>
          <cx:pt idx="5482">-0.014058648999999999</cx:pt>
          <cx:pt idx="5483">-0.014127054</cx:pt>
          <cx:pt idx="5484">-0.014195457999999999</cx:pt>
          <cx:pt idx="5485">-0.014266541000000001</cx:pt>
          <cx:pt idx="5486">-0.014336023999999999</cx:pt>
          <cx:pt idx="5487">-0.014404429</cx:pt>
          <cx:pt idx="5488">-0.014544995</cx:pt>
          <cx:pt idx="5489">-0.014612843</cx:pt>
          <cx:pt idx="5490">-0.014682326000000001</cx:pt>
          <cx:pt idx="5491">-0.014754522000000001</cx:pt>
          <cx:pt idx="5492">-0.014891296</cx:pt>
          <cx:pt idx="5493">-0.015030227</cx:pt>
          <cx:pt idx="5494">-0.015170828000000001</cx:pt>
          <cx:pt idx="5495">-0.015239233</cx:pt>
          <cx:pt idx="5496">-0.015310315999999999</cx:pt>
          <cx:pt idx="5497">-0.015379799</cx:pt>
          <cx:pt idx="5498">-0.015448203000000001</cx:pt>
          <cx:pt idx="5499">-0.015520365</cx:pt>
          <cx:pt idx="5500">-0.015588769000000001</cx:pt>
          <cx:pt idx="5501">-0.015656617000000001</cx:pt>
          <cx:pt idx="5502">-0.0157261</cx:pt>
          <cx:pt idx="5503">-0.016006154000000002</cx:pt>
          <cx:pt idx="5504">-0.016215680999999999</cx:pt>
          <cx:pt idx="5505">-0.016423017000000002</cx:pt>
          <cx:pt idx="5506">-0.016423573</cx:pt>
          <cx:pt idx="5507">-0.016491420999999999</cx:pt>
          <cx:pt idx="5508">-0.016631987000000001</cx:pt>
          <cx:pt idx="5509">-0.016769874000000001</cx:pt>
          <cx:pt idx="5510">-0.016910440999999998</cx:pt>
          <cx:pt idx="5511">-0.017117776000000001</cx:pt>
          <cx:pt idx="5512">-0.017189973000000001</cx:pt>
          <cx:pt idx="5513">-0.017258376999999998</cx:pt>
          <cx:pt idx="5514">-0.017326747</cx:pt>
          <cx:pt idx="5515">-0.017467348000000001</cx:pt>
          <cx:pt idx="5516">-0.017607913999999999</cx:pt>
          <cx:pt idx="5517">-0.017744165999999999</cx:pt>
          <cx:pt idx="5518">-0.017813649000000001</cx:pt>
          <cx:pt idx="5519">-0.017954214999999999</cx:pt>
          <cx:pt idx="5520">-0.018161551000000001</cx:pt>
          <cx:pt idx="5521">-0.018233747000000002</cx:pt>
          <cx:pt idx="5522">-0.018302151999999999</cx:pt>
          <cx:pt idx="5523">-0.018441638999999999</cx:pt>
          <cx:pt idx="5524">-0.019832272000000001</cx:pt>
          <cx:pt idx="5525">-0.019901197999999998</cx:pt>
          <cx:pt idx="5526">-0.020321295999999999</cx:pt>
          <cx:pt idx="5527">-0.020530267000000001</cx:pt>
          <cx:pt idx="5528">-0.020875489000000001</cx:pt>
          <cx:pt idx="5529">-0.020944971999999999</cx:pt>
          <cx:pt idx="5530">-0.021085539</cx:pt>
          <cx:pt idx="5531">-0.021229376000000001</cx:pt>
          <cx:pt idx="5532">-0.021362914</cx:pt>
          <cx:pt idx="5533">-0.02143511</cx:pt>
          <cx:pt idx="5534">-0.021503479999999998</cx:pt>
          <cx:pt idx="5535">-0.021572963000000001</cx:pt>
          <cx:pt idx="5536">-0.022963595</cx:pt>
          <cx:pt idx="5537">-0.023591028999999999</cx:pt>
          <cx:pt idx="5538">-0.023660512000000002</cx:pt>
          <cx:pt idx="5539">-0.023729995</cx:pt>
          <cx:pt idx="5540">-0.023798363999999999</cx:pt>
          <cx:pt idx="5541">-0.024705365</cx:pt>
          <cx:pt idx="5542">-0.024773769000000001</cx:pt>
          <cx:pt idx="5543">-0.024842138999999999</cx:pt>
          <cx:pt idx="5544">-0.024914334999999999</cx:pt>
          <cx:pt idx="5545">-0.02498274</cx:pt>
          <cx:pt idx="5546">-0.025051144000000001</cx:pt>
          <cx:pt idx="5547">-0.025120070000000001</cx:pt>
          <cx:pt idx="5548">-0.025260636999999999</cx:pt>
          <cx:pt idx="5549">-0.025401238</cx:pt>
          <cx:pt idx="5550">-0.025538010999999999</cx:pt>
          <cx:pt idx="5551">-0.026094919000000001</cx:pt>
          <cx:pt idx="5552">-0.026163845000000002</cx:pt>
          <cx:pt idx="5553">-0.026372815000000001</cx:pt>
          <cx:pt idx="5554">-0.026512303000000001</cx:pt>
          <cx:pt idx="5555">-0.0265845</cx:pt>
          <cx:pt idx="5556">-0.026652868999999999</cx:pt>
          <cx:pt idx="5557">-0.026721274</cx:pt>
          <cx:pt idx="5558">-0.026791835</cx:pt>
          <cx:pt idx="5559">-0.026861317999999999</cx:pt>
          <cx:pt idx="5560">-0.027001884</cx:pt>
          <cx:pt idx="5561">-0.027138658</cx:pt>
          <cx:pt idx="5562">-0.027207618999999999</cx:pt>
          <cx:pt idx="5563">-0.027348186</cx:pt>
          <cx:pt idx="5564">-0.027416590000000001</cx:pt>
          <cx:pt idx="5565">-0.027486594999999999</cx:pt>
          <cx:pt idx="5566">-0.027557155999999999</cx:pt>
          <cx:pt idx="5567">-0.027700993</cx:pt>
          <cx:pt idx="5568">-0.028392516999999999</cx:pt>
          <cx:pt idx="5569">-0.028530369</cx:pt>
          <cx:pt idx="5570">-0.028599851999999999</cx:pt>
          <cx:pt idx="5571">-0.028672049000000002</cx:pt>
          <cx:pt idx="5572">-0.028740418</cx:pt>
          <cx:pt idx="5573">-0.028879384000000001</cx:pt>
          <cx:pt idx="5574">-0.029017237000000001</cx:pt>
          <cx:pt idx="5575">-0.029089433000000001</cx:pt>
          <cx:pt idx="5576">-0.029644705</cx:pt>
          <cx:pt idx="5577">-0.029992641</cx:pt>
          <cx:pt idx="5578">-0.030480066</cx:pt>
          <cx:pt idx="5579">-0.030687401</cx:pt>
          <cx:pt idx="5580">-0.030966932999999999</cx:pt>
          <cx:pt idx="5581">-0.031941224999999997</cx:pt>
          <cx:pt idx="5582">-0.032011263999999998</cx:pt>
          <cx:pt idx="5583">-0.03214856</cx:pt>
          <cx:pt idx="5584">-0.032224027000000002</cx:pt>
          <cx:pt idx="5585">-0.033055039000000001</cx:pt>
          <cx:pt idx="5586">-0.033332936000000001</cx:pt>
          <cx:pt idx="5587">-0.033959291000000003</cx:pt>
          <cx:pt idx="5588">-0.034168260999999998</cx:pt>
          <cx:pt idx="5589">-0.034308305999999997</cx:pt>
          <cx:pt idx="5590">-0.034445080000000003</cx:pt>
          <cx:pt idx="5591">-0.034514561999999999</cx:pt>
          <cx:pt idx="5592">-0.034655164000000002</cx:pt>
          <cx:pt idx="5593">-0.034723533000000001</cx:pt>
          <cx:pt idx="5594">-0.034793016000000003</cx:pt>
          <cx:pt idx="5595">-0.034862498999999998</cx:pt>
          <cx:pt idx="5596">-0.034934696000000001</cx:pt>
          <cx:pt idx="5597">-0.035003065</cx:pt>
          <cx:pt idx="5598">-0.035071469000000001</cx:pt>
          <cx:pt idx="5599">-0.035142030999999997</cx:pt>
          <cx:pt idx="5600">-0.035279882999999998</cx:pt>
          <cx:pt idx="5601">-0.035352080000000001</cx:pt>
          <cx:pt idx="5602">-0.035420484000000002</cx:pt>
          <cx:pt idx="5603">-0.035488854</cx:pt>
          <cx:pt idx="5604">-0.035558337000000002</cx:pt>
          <cx:pt idx="5605">-0.035907909000000002</cx:pt>
          <cx:pt idx="5606">-0.036116878999999998</cx:pt>
          <cx:pt idx="5607">-0.036185805000000001</cx:pt>
          <cx:pt idx="5608">-0.036255287999999997</cx:pt>
          <cx:pt idx="5609">-0.036395854999999998</cx:pt>
          <cx:pt idx="5610">-0.036464258999999999</cx:pt>
          <cx:pt idx="5611">-0.036532627999999998</cx:pt>
          <cx:pt idx="5612">-0.036742711999999997</cx:pt>
          <cx:pt idx="5613">-0.036811082000000002</cx:pt>
          <cx:pt idx="5614">-0.036880564999999997</cx:pt>
          <cx:pt idx="5615">-0.036950047999999999</cx:pt>
          <cx:pt idx="5616">-0.037022245000000002</cx:pt>
          <cx:pt idx="5617">-0.037159018000000002</cx:pt>
          <cx:pt idx="5618">-0.037231214999999998</cx:pt>
          <cx:pt idx="5619">-0.037367988999999997</cx:pt>
          <cx:pt idx="5620">-0.037440186</cx:pt>
          <cx:pt idx="5621">-0.037645886000000003</cx:pt>
          <cx:pt idx="5622">-0.037718082999999999</cx:pt>
          <cx:pt idx="5623">-0.037854855999999999</cx:pt>
          <cx:pt idx="5624">-0.037927053000000002</cx:pt>
          <cx:pt idx="5625">-0.038411763000000002</cx:pt>
          <cx:pt idx="5626">-0.039178163000000002</cx:pt>
          <cx:pt idx="5627">-0.039387133999999997</cx:pt>
          <cx:pt idx="5628">-0.039663952000000002</cx:pt>
          <cx:pt idx="5629">-0.041125146000000001</cx:pt>
          <cx:pt idx="5630">-0.041265712000000003</cx:pt>
          <cx:pt idx="5631">-0.041409548999999997</cx:pt>
          <cx:pt idx="5632">-0.042102150999999997</cx:pt>
          <cx:pt idx="5633">-0.042105422000000003</cx:pt>
          <cx:pt idx="5634">-0.042864758000000003</cx:pt>
          <cx:pt idx="5635">-0.043005359</cx:pt>
          <cx:pt idx="5636">-0.043492783</cx:pt>
          <cx:pt idx="5637">-0.043562231999999999</cx:pt>
          <cx:pt idx="5638">-0.043630636</cx:pt>
          <cx:pt idx="5639">-0.043702833000000003</cx:pt>
          <cx:pt idx="5640">-0.043771202000000002</cx:pt>
          <cx:pt idx="5641">-0.043839049999999997</cx:pt>
          <cx:pt idx="5642">-0.043908533</cx:pt>
          <cx:pt idx="5643">-0.044117503000000002</cx:pt>
          <cx:pt idx="5644">-0.044189699999999998</cx:pt>
          <cx:pt idx="5645">-0.044258104</cx:pt>
          <cx:pt idx="5646">-0.044606005999999997</cx:pt>
          <cx:pt idx="5647">-0.044746607000000001</cx:pt>
          <cx:pt idx="5648">-0.046274534999999999</cx:pt>
          <cx:pt idx="5649">-0.046486220000000002</cx:pt>
          <cx:pt idx="5650">-0.046554624000000003</cx:pt>
          <cx:pt idx="5651">-0.046624072000000003</cx:pt>
          <cx:pt idx="5652">-0.046693554999999998</cx:pt>
          <cx:pt idx="5653">-0.046761958999999999</cx:pt>
          <cx:pt idx="5654">-0.046970373000000003</cx:pt>
          <cx:pt idx="5655">-0.047043649</cx:pt>
          <cx:pt idx="5656">-0.047112053000000001</cx:pt>
          <cx:pt idx="5657">-0.047318310000000002</cx:pt>
          <cx:pt idx="5658">-0.047597285000000003</cx:pt>
          <cx:pt idx="5659">-0.047667846999999999</cx:pt>
          <cx:pt idx="5660">-0.047805734000000003</cx:pt>
          <cx:pt idx="5661">-0.047877930999999999</cx:pt>
          <cx:pt idx="5662">-0.047946299999999997</cx:pt>
          <cx:pt idx="5663">-0.048014148</cx:pt>
          <cx:pt idx="5664">-0.048155826999999998</cx:pt>
          <cx:pt idx="5665">-0.048224231999999999</cx:pt>
          <cx:pt idx="5666">-0.048363163000000001</cx:pt>
          <cx:pt idx="5667">-0.048433202000000002</cx:pt>
          <cx:pt idx="5668">-0.048501572</cx:pt>
          <cx:pt idx="5669">-0.048573769000000003</cx:pt>
          <cx:pt idx="5670">-0.048576481999999997</cx:pt>
          <cx:pt idx="5671">-0.048642172999999997</cx:pt>
          <cx:pt idx="5672">-0.048711620999999997</cx:pt>
          <cx:pt idx="5673">-0.048781103999999999</cx:pt>
          <cx:pt idx="5674">-0.049058479000000002</cx:pt>
          <cx:pt idx="5675">-0.050386657000000001</cx:pt>
          <cx:pt idx="5676">-0.050450189999999999</cx:pt>
          <cx:pt idx="5677">-0.051012490000000001</cx:pt>
          <cx:pt idx="5678">-0.051704013</cx:pt>
          <cx:pt idx="5679">-0.052189802</cx:pt>
          <cx:pt idx="5680">-0.052886718999999999</cx:pt>
          <cx:pt idx="5681">-0.053024606000000002</cx:pt>
          <cx:pt idx="5682">-0.053096802999999998</cx:pt>
          <cx:pt idx="5683">-0.053165171999999997</cx:pt>
          <cx:pt idx="5684">-0.053233576999999997</cx:pt>
          <cx:pt idx="5685">-0.053303059999999999</cx:pt>
          <cx:pt idx="5686">-0.053512030000000002</cx:pt>
          <cx:pt idx="5687">-0.053650960999999997</cx:pt>
          <cx:pt idx="5688">-0.053723158</cx:pt>
          <cx:pt idx="5689">-0.053791562000000001</cx:pt>
          <cx:pt idx="5690">-0.053859931999999999</cx:pt>
          <cx:pt idx="5691">-0.054000533000000003</cx:pt>
          <cx:pt idx="5692">-0.054068902000000002</cx:pt>
          <cx:pt idx="5693">-0.054143812999999999</cx:pt>
          <cx:pt idx="5694">-0.054209503999999999</cx:pt>
          <cx:pt idx="5695">-0.054277351000000001</cx:pt>
          <cx:pt idx="5696">-0.05435007</cx:pt>
          <cx:pt idx="5697">-0.054486878000000002</cx:pt>
          <cx:pt idx="5698">-0.054625288000000001</cx:pt>
          <cx:pt idx="5699">-0.054695848999999998</cx:pt>
          <cx:pt idx="5700">-0.054764219000000003</cx:pt>
          <cx:pt idx="5701">-0.054836414999999999</cx:pt>
          <cx:pt idx="5702">-0.054839685999999999</cx:pt>
          <cx:pt idx="5703">-0.054974268</cx:pt>
          <cx:pt idx="5704">-0.055112155000000003</cx:pt>
          <cx:pt idx="5705">-0.055184351999999999</cx:pt>
          <cx:pt idx="5706">-0.055462248999999998</cx:pt>
          <cx:pt idx="5707">-0.055530652999999999</cx:pt>
          <cx:pt idx="5708">-0.055738509999999998</cx:pt>
          <cx:pt idx="5709">-0.055810707000000001</cx:pt>
          <cx:pt idx="5710">-0.055947481</cx:pt>
          <cx:pt idx="5711">-0.056019678000000003</cx:pt>
          <cx:pt idx="5712">-0.056297053</cx:pt>
          <cx:pt idx="5713">-0.056364900000000003</cx:pt>
          <cx:pt idx="5714">-0.056437619000000001</cx:pt>
          <cx:pt idx="5715">-0.056506023000000002</cx:pt>
          <cx:pt idx="5716">-0.056574426999999997</cx:pt>
          <cx:pt idx="5717">-0.056646588999999997</cx:pt>
          <cx:pt idx="5718">-0.056851767999999997</cx:pt>
          <cx:pt idx="5719">-0.056923964000000001</cx:pt>
          <cx:pt idx="5720">-0.057061817000000001</cx:pt>
          <cx:pt idx="5721">-0.057131300000000003</cx:pt>
          <cx:pt idx="5722">-0.057199703999999997</cx:pt>
          <cx:pt idx="5723">-0.057340269999999999</cx:pt>
          <cx:pt idx="5724">-0.057408674999999999</cx:pt>
          <cx:pt idx="5725">-0.057966660000000003</cx:pt>
          <cx:pt idx="5726">-0.058175630999999998</cx:pt>
          <cx:pt idx="5727">-0.058384601000000001</cx:pt>
          <cx:pt idx="5728">-0.058452448999999997</cx:pt>
          <cx:pt idx="5729">-0.059571133999999998</cx:pt>
          <cx:pt idx="5730">-0.059637347</cx:pt>
          <cx:pt idx="5731">-0.060123691999999999</cx:pt>
          <cx:pt idx="5732">-0.060262623000000001</cx:pt>
          <cx:pt idx="5733">-0.060681120999999998</cx:pt>
          <cx:pt idx="5734">-0.060821686999999999</cx:pt>
          <cx:pt idx="5735">-0.060887933999999998</cx:pt>
          <cx:pt idx="5736">-0.060958496000000001</cx:pt>
          <cx:pt idx="5737">-0.061030658000000002</cx:pt>
          <cx:pt idx="5738">-0.061099062000000003</cx:pt>
          <cx:pt idx="5739">-0.061167467000000003</cx:pt>
          <cx:pt idx="5740">-0.061236915000000003</cx:pt>
          <cx:pt idx="5741">-0.061380751999999997</cx:pt>
          <cx:pt idx="5742">-0.062837595999999996</cx:pt>
          <cx:pt idx="5743">-0.063255537000000001</cx:pt>
          <cx:pt idx="5744">-0.063324463999999997</cx:pt>
          <cx:pt idx="5745">-0.063393947000000006</cx:pt>
          <cx:pt idx="5746">-0.063534547999999996</cx:pt>
          <cx:pt idx="5747">-0.063671321000000003</cx:pt>
          <cx:pt idx="5748">-0.063744597</cx:pt>
          <cx:pt idx="5749">-0.063746232</cx:pt>
          <cx:pt idx="5750">-0.063881371000000006</cx:pt>
          <cx:pt idx="5751">-0.064019223</cx:pt>
          <cx:pt idx="5752">-0.064161459000000004</cx:pt>
          <cx:pt idx="5753">-0.064164173000000005</cx:pt>
          <cx:pt idx="5754">-0.064229829000000002</cx:pt>
          <cx:pt idx="5755">-0.064437721000000003</cx:pt>
          <cx:pt idx="5756">-0.064509917999999999</cx:pt>
          <cx:pt idx="5757">-0.064578321999999994</cx:pt>
          <cx:pt idx="5758">-0.064646692000000006</cx:pt>
          <cx:pt idx="5759">-0.064715096</cx:pt>
          <cx:pt idx="5760">-0.064856740999999996</cx:pt>
          <cx:pt idx="5761">-0.064860010999999995</cx:pt>
          <cx:pt idx="5762">-0.064925145000000004</cx:pt>
          <cx:pt idx="5763">-0.065277430999999997</cx:pt>
          <cx:pt idx="5764">-0.065622097000000004</cx:pt>
          <cx:pt idx="5765">-0.065834302999999997</cx:pt>
          <cx:pt idx="5766">-0.067012136999999999</cx:pt>
          <cx:pt idx="5767">-0.067500117999999998</cx:pt>
          <cx:pt idx="5768">-0.067569601000000007</cx:pt>
          <cx:pt idx="5769">-0.067637971000000005</cx:pt>
          <cx:pt idx="5770">-0.067710167000000002</cx:pt>
          <cx:pt idx="5771">-0.067846940999999994</cx:pt>
          <cx:pt idx="5772">-0.067987541999999998</cx:pt>
          <cx:pt idx="5773">-0.068055911999999996</cx:pt>
          <cx:pt idx="5774">-0.068128109000000006</cx:pt>
          <cx:pt idx="5775">-0.068264360999999996</cx:pt>
          <cx:pt idx="5776">-0.068404927000000004</cx:pt>
          <cx:pt idx="5777">-0.068473330999999998</cx:pt>
          <cx:pt idx="5778">-0.068682302000000001</cx:pt>
          <cx:pt idx="5779">-0.068754498999999997</cx:pt>
          <cx:pt idx="5780">-0.068822867999999995</cx:pt>
          <cx:pt idx="5781">-0.068963468999999999</cx:pt>
          <cx:pt idx="5782">-0.069100243000000006</cx:pt>
          <cx:pt idx="5783">-0.069518183999999997</cx:pt>
          <cx:pt idx="5784">-0.069587109999999994</cx:pt>
          <cx:pt idx="5785">-0.069656593000000003</cx:pt>
          <cx:pt idx="5786">-0.069728789999999999</cx:pt>
          <cx:pt idx="5787">-0.069797194000000007</cx:pt>
          <cx:pt idx="5788">-0.069934490000000002</cx:pt>
          <cx:pt idx="5789">-0.072303206999999994</cx:pt>
          <cx:pt idx="5790">-0.072371054000000004</cx:pt>
          <cx:pt idx="5791">-0.072439457999999998</cx:pt>
          <cx:pt idx="5792">-0.072511654999999994</cx:pt>
          <cx:pt idx="5793">-0.072514368999999995</cx:pt>
          <cx:pt idx="5794">-0.072718990999999997</cx:pt>
          <cx:pt idx="5795">-0.072788994999999995</cx:pt>
          <cx:pt idx="5796">-0.072857400000000003</cx:pt>
          <cx:pt idx="5797">-0.072929595999999999</cx:pt>
          <cx:pt idx="5798">-0.072997965999999997</cx:pt>
          <cx:pt idx="5799">-0.073066370000000005</cx:pt>
          <cx:pt idx="5800">-0.073138567000000002</cx:pt>
          <cx:pt idx="5801">-0.073140724000000004</cx:pt>
          <cx:pt idx="5802">-0.073206937</cx:pt>
          <cx:pt idx="5803">-0.073347538000000004</cx:pt>
          <cx:pt idx="5804">-0.073415907000000002</cx:pt>
          <cx:pt idx="5805">-0.073484311999999996</cx:pt>
          <cx:pt idx="5806">-0.073552716000000004</cx:pt>
          <cx:pt idx="5807">-0.073624878000000005</cx:pt>
          <cx:pt idx="5808">-0.073762764999999994</cx:pt>
          <cx:pt idx="5809">-0.073900617000000002</cx:pt>
          <cx:pt idx="5810">-0.074041219000000005</cx:pt>
          <cx:pt idx="5811">-0.074109588000000004</cx:pt>
          <cx:pt idx="5812">-0.074181785</cx:pt>
          <cx:pt idx="5813">-0.074250188999999994</cx:pt>
          <cx:pt idx="5814">-0.074318559000000006</cx:pt>
          <cx:pt idx="5815">-0.074390755000000003</cx:pt>
          <cx:pt idx="5816">-0.074458602999999998</cx:pt>
          <cx:pt idx="5817">-0.074529164999999994</cx:pt>
          <cx:pt idx="5818">-0.074669765999999999</cx:pt>
          <cx:pt idx="5819">-0.074806540000000005</cx:pt>
          <cx:pt idx="5820">-0.074876022</cx:pt>
          <cx:pt idx="5821">-0.074944391999999999</cx:pt>
          <cx:pt idx="5822">-0.075571860000000005</cx:pt>
          <cx:pt idx="5823">-0.075645693</cx:pt>
          <cx:pt idx="5824">-0.075850314000000002</cx:pt>
          <cx:pt idx="5825">-0.075919796999999997</cx:pt>
          <cx:pt idx="5826">-0.075991958999999998</cx:pt>
          <cx:pt idx="5827">-0.076128767999999999</cx:pt>
          <cx:pt idx="5828">-0.076197136999999998</cx:pt>
          <cx:pt idx="5829">-0.076269333999999994</cx:pt>
          <cx:pt idx="5830">-0.077588848000000002</cx:pt>
          <cx:pt idx="5831">-0.078356883000000002</cx:pt>
          <cx:pt idx="5832">-0.078568567000000006</cx:pt>
          <cx:pt idx="5833">-0.078703183999999995</cx:pt>
          <cx:pt idx="5834">-0.078777016000000005</cx:pt>
          <cx:pt idx="5835">-0.078911597999999999</cx:pt>
          <cx:pt idx="5836">-0.078981636999999993</cx:pt>
          <cx:pt idx="5837">-0.079051120000000002</cx:pt>
          <cx:pt idx="5838">-0.079123282000000003</cx:pt>
          <cx:pt idx="5839">-0.079124918000000002</cx:pt>
          <cx:pt idx="5840">-0.079260091000000005</cx:pt>
          <cx:pt idx="5841">-0.079328460000000003</cx:pt>
          <cx:pt idx="5842">-0.079400656999999999</cx:pt>
          <cx:pt idx="5843">-0.080025412000000004</cx:pt>
          <cx:pt idx="5844">-0.080094894999999999</cx:pt>
          <cx:pt idx="5845">-0.081281949000000006</cx:pt>
          <cx:pt idx="5846">-0.081488763000000006</cx:pt>
          <cx:pt idx="5847">-0.081490919999999994</cx:pt>
          <cx:pt idx="5848">-0.081697732999999995</cx:pt>
          <cx:pt idx="5849">-0.083785282000000003</cx:pt>
          <cx:pt idx="5850">-0.083994253000000005</cx:pt>
          <cx:pt idx="5851">-0.084062623000000003</cx:pt>
          <cx:pt idx="5852">-0.084131026999999997</cx:pt>
          <cx:pt idx="5853">-0.084200510000000006</cx:pt>
          <cx:pt idx="5854">-0.084269993000000001</cx:pt>
          <cx:pt idx="5855">-0.084342155000000002</cx:pt>
          <cx:pt idx="5856">-0.084343790000000002</cx:pt>
          <cx:pt idx="5857">-0.084410558999999996</cx:pt>
          <cx:pt idx="5858">-0.084478963000000004</cx:pt>
          <cx:pt idx="5859">-0.084547889000000001</cx:pt>
          <cx:pt idx="5860">-0.084548411000000004</cx:pt>
          <cx:pt idx="5861">-0.084620085999999997</cx:pt>
          <cx:pt idx="5862">-0.084688455999999995</cx:pt>
          <cx:pt idx="5863">-0.084756860000000003</cx:pt>
          <cx:pt idx="5864">-0.084829056999999999</cx:pt>
          <cx:pt idx="5865">-0.084896904999999995</cx:pt>
          <cx:pt idx="5866">-0.085037471000000003</cx:pt>
          <cx:pt idx="5867">-0.085801190999999999</cx:pt>
          <cx:pt idx="5868">-0.085944471999999994</cx:pt>
          <cx:pt idx="5869">-0.086010162000000001</cx:pt>
          <cx:pt idx="5870">-0.086078531</cx:pt>
          <cx:pt idx="5871">-0.086288059</cx:pt>
          <cx:pt idx="5872">-0.086357541999999995</cx:pt>
          <cx:pt idx="5873">-0.087545153000000001</cx:pt>
          <cx:pt idx="5874">-0.087962538000000007</cx:pt>
          <cx:pt idx="5875">-0.088240991000000005</cx:pt>
          <cx:pt idx="5876">-0.088375607999999994</cx:pt>
          <cx:pt idx="5877">-0.089215283000000006</cx:pt>
          <cx:pt idx="5878">-0.090810535999999997</cx:pt>
          <cx:pt idx="5879">-0.091437448000000004</cx:pt>
          <cx:pt idx="5880">-0.091854310999999994</cx:pt>
          <cx:pt idx="5881">-0.092063803</cx:pt>
          <cx:pt idx="5882">-0.092344448999999995</cx:pt>
          <cx:pt idx="5883">-0.092416089000000007</cx:pt>
          <cx:pt idx="5884">-0.093107577999999996</cx:pt>
          <cx:pt idx="5885">-0.093316026999999996</cx:pt>
          <cx:pt idx="5886">-0.093388223000000006</cx:pt>
          <cx:pt idx="5887">-0.093456593000000004</cx:pt>
          <cx:pt idx="5888">-0.093594479999999994</cx:pt>
          <cx:pt idx="5889">-0.093663963000000003</cx:pt>
          <cx:pt idx="5890">-0.093736125000000003</cx:pt>
          <cx:pt idx="5891">-0.093804528999999998</cx:pt>
          <cx:pt idx="5892">-0.093872934000000005</cx:pt>
          <cx:pt idx="5893">-0.093941860000000002</cx:pt>
          <cx:pt idx="5894">-0.094014056999999998</cx:pt>
          <cx:pt idx="5895">-0.094082425999999997</cx:pt>
          <cx:pt idx="5896">-0.094223027000000001</cx:pt>
          <cx:pt idx="5897">-0.094291396999999999</cx:pt>
          <cx:pt idx="5898">-0.094638775999999994</cx:pt>
          <cx:pt idx="5899">-0.095060544999999996</cx:pt>
          <cx:pt idx="5900">-0.095335170999999996</cx:pt>
          <cx:pt idx="5901">-0.095547411999999998</cx:pt>
          <cx:pt idx="5902">-0.095612546000000007</cx:pt>
          <cx:pt idx="5903">-0.095752034</cx:pt>
          <cx:pt idx="5904">-0.096519546999999997</cx:pt>
          <cx:pt idx="5905">-0.097217542000000004</cx:pt>
          <cx:pt idx="5906">-0.097491646000000001</cx:pt>
          <cx:pt idx="5907">-0.097839061000000005</cx:pt>
          <cx:pt idx="5908">-0.097839582999999994</cx:pt>
          <cx:pt idx="5909">-0.097911223000000006</cx:pt>
          <cx:pt idx="5910">-0.097979627</cx:pt>
          <cx:pt idx="5911">-0.098048030999999994</cx:pt>
          <cx:pt idx="5912">-0.098116958000000004</cx:pt>
          <cx:pt idx="5913">-0.098189154000000001</cx:pt>
          <cx:pt idx="5914">-0.099235642999999998</cx:pt>
          <cx:pt idx="5915">-0.099301297999999996</cx:pt>
          <cx:pt idx="5916">-0.099369703000000004</cx:pt>
          <cx:pt idx="5917">-0.0994419</cx:pt>
          <cx:pt idx="5918">-0.099510268999999998</cx:pt>
          <cx:pt idx="5919">-0.099578673000000006</cx:pt>
          <cx:pt idx="5920">-0.099650870000000003</cx:pt>
          <cx:pt idx="5921">-0.099857649000000007</cx:pt>
          <cx:pt idx="5922">-0.099927132000000002</cx:pt>
          <cx:pt idx="5923">-0.10006773300000001</cx:pt>
          <cx:pt idx="5924">-0.100136102</cx:pt>
          <cx:pt idx="5925">-0.100208299</cx:pt>
          <cx:pt idx="5926">-0.10027670299999999</cx:pt>
          <cx:pt idx="5927">-0.10034507300000001</cx:pt>
          <cx:pt idx="5928">-0.100413477</cx:pt>
          <cx:pt idx="5929">-0.100485674</cx:pt>
          <cx:pt idx="5930">-0.100554044</cx:pt>
          <cx:pt idx="5931">-0.10083141800000001</cx:pt>
          <cx:pt idx="5932">-0.10090198</cx:pt>
          <cx:pt idx="5933">-0.100971985</cx:pt>
          <cx:pt idx="5934">-0.10104038899999999</cx:pt>
          <cx:pt idx="5935">-0.101112586</cx:pt>
          <cx:pt idx="5936">-0.101180955</cx:pt>
          <cx:pt idx="5937">-0.10124936</cx:pt>
          <cx:pt idx="5938">-0.10139264000000001</cx:pt>
          <cx:pt idx="5939">-0.10159781800000001</cx:pt>
          <cx:pt idx="5940">-0.101666744</cx:pt>
          <cx:pt idx="5941">-0.10264538500000001</cx:pt>
          <cx:pt idx="5942">-0.102988972</cx:pt>
          <cx:pt idx="5943">-0.103267426</cx:pt>
          <cx:pt idx="5944">-0.103410741</cx:pt>
          <cx:pt idx="5945">-0.10431227899999999</cx:pt>
          <cx:pt idx="5946">-0.104380683</cx:pt>
          <cx:pt idx="5947">-0.10445288</cx:pt>
          <cx:pt idx="5948">-0.104521249</cx:pt>
          <cx:pt idx="5949">-0.104589654</cx:pt>
          <cx:pt idx="5950">-0.104867029</cx:pt>
          <cx:pt idx="5951">-0.105007595</cx:pt>
          <cx:pt idx="5952">-0.10507652100000001</cx:pt>
          <cx:pt idx="5953">-0.105146004</cx:pt>
          <cx:pt idx="5954">-0.106120296</cx:pt>
          <cx:pt idx="5955">-0.106190857</cx:pt>
          <cx:pt idx="5956">-0.10625926099999999</cx:pt>
          <cx:pt idx="5957">-0.106331458</cx:pt>
          <cx:pt idx="5958">-0.10633305899999999</cx:pt>
          <cx:pt idx="5959">-0.106399828</cx:pt>
          <cx:pt idx="5960">-0.106677203</cx:pt>
          <cx:pt idx="5961">-0.10674939899999999</cx:pt>
          <cx:pt idx="5962">-0.10681776900000001</cx:pt>
          <cx:pt idx="5963">-0.106886173</cx:pt>
          <cx:pt idx="5964">-0.10695457799999999</cx:pt>
          <cx:pt idx="5965">-0.106955099</cx:pt>
          <cx:pt idx="5966">-0.10702674</cx:pt>
          <cx:pt idx="5967">-0.107095144</cx:pt>
          <cx:pt idx="5968">-0.10716407</cx:pt>
          <cx:pt idx="5969">-0.10730738500000001</cx:pt>
          <cx:pt idx="5970">-0.108629613</cx:pt>
          <cx:pt idx="5971">-0.10953442200000001</cx:pt>
          <cx:pt idx="5972">-0.109742836</cx:pt>
          <cx:pt idx="5973">-0.110160255</cx:pt>
          <cx:pt idx="5974">-0.11029539300000001</cx:pt>
          <cx:pt idx="5975">-0.110995581</cx:pt>
          <cx:pt idx="5976">-0.11203935499999999</cx:pt>
          <cx:pt idx="5977">-0.112104489</cx:pt>
          <cx:pt idx="5978">-0.112248326</cx:pt>
          <cx:pt idx="5979">-0.11245242499999999</cx:pt>
          <cx:pt idx="5980">-0.113013682</cx:pt>
          <cx:pt idx="5981">-0.113848451</cx:pt>
          <cx:pt idx="5982">-0.11426587000000001</cx:pt>
          <cx:pt idx="5983">-0.114401008</cx:pt>
          <cx:pt idx="5984">-0.114613806</cx:pt>
          <cx:pt idx="5985">-0.114748945</cx:pt>
          <cx:pt idx="5986">-0.115379649</cx:pt>
          <cx:pt idx="5987">-0.115583749</cx:pt>
          <cx:pt idx="5988">-0.11572431499999999</cx:pt>
          <cx:pt idx="5989">-0.11572758599999999</cx:pt>
          <cx:pt idx="5990">-0.115865438</cx:pt>
          <cx:pt idx="5991">-0.115866551</cx:pt>
          <cx:pt idx="5992">-0.115933842</cx:pt>
          <cx:pt idx="5993">-0.116070616</cx:pt>
          <cx:pt idx="5994">-0.116142813</cx:pt>
          <cx:pt idx="5995">-0.116279587</cx:pt>
          <cx:pt idx="5996">-0.11648855700000001</cx:pt>
          <cx:pt idx="5997">-0.11655804</cx:pt>
          <cx:pt idx="5998">-0.116627523</cx:pt>
          <cx:pt idx="5999">-0.11669972000000001</cx:pt>
          <cx:pt idx="6000">-0.11676809</cx:pt>
          <cx:pt idx="6001">-0.116836494</cx:pt>
          <cx:pt idx="6002">-0.116908691</cx:pt>
          <cx:pt idx="6003">-0.117117661</cx:pt>
          <cx:pt idx="6004">-0.117188745</cx:pt>
          <cx:pt idx="6005">-0.117254435</cx:pt>
          <cx:pt idx="6006">-0.117326632</cx:pt>
          <cx:pt idx="6007">-0.11739503599999999</cx:pt>
          <cx:pt idx="6008">-0.11753181</cx:pt>
          <cx:pt idx="6009">-0.117601815</cx:pt>
          <cx:pt idx="6010">-0.11794975100000001</cx:pt>
          <cx:pt idx="6011">-0.118298766</cx:pt>
          <cx:pt idx="6012">-0.118367136</cx:pt>
          <cx:pt idx="6013">-0.11871942100000001</cx:pt>
          <cx:pt idx="6014">-0.11899404800000001</cx:pt>
          <cx:pt idx="6015">-0.119345777</cx:pt>
          <cx:pt idx="6016">-0.119549876</cx:pt>
          <cx:pt idx="6017">-0.11962099399999999</cx:pt>
          <cx:pt idx="6018">-0.11968936400000001</cx:pt>
          <cx:pt idx="6019">-0.119758847</cx:pt>
          <cx:pt idx="6020">-0.119833201</cx:pt>
          <cx:pt idx="6021">-0.119967817</cx:pt>
          <cx:pt idx="6022">-0.121015941</cx:pt>
          <cx:pt idx="6023">-0.121846396</cx:pt>
          <cx:pt idx="6024">-0.12184695199999999</cx:pt>
          <cx:pt idx="6025">-0.12212756299999999</cx:pt>
          <cx:pt idx="6026">-0.12219593300000001</cx:pt>
          <cx:pt idx="6027">-0.122264337</cx:pt>
          <cx:pt idx="6028">-0.122336534</cx:pt>
          <cx:pt idx="6029">-0.122404903</cx:pt>
          <cx:pt idx="6030">-0.122473864</cx:pt>
          <cx:pt idx="6031">-0.122616588</cx:pt>
          <cx:pt idx="6032">-0.122751204</cx:pt>
          <cx:pt idx="6033">-0.122821244</cx:pt>
          <cx:pt idx="6034">-0.12289180500000001</cx:pt>
          <cx:pt idx="6035">-0.122960175</cx:pt>
          <cx:pt idx="6036">-0.123032372</cx:pt>
          <cx:pt idx="6037">-0.12316914499999999</cx:pt>
          <cx:pt idx="6038">-0.123241342</cx:pt>
          <cx:pt idx="6039">-0.123309747</cx:pt>
          <cx:pt idx="6040">-0.123378116</cx:pt>
          <cx:pt idx="6041">-0.123520874</cx:pt>
          <cx:pt idx="6042">-0.123587087</cx:pt>
          <cx:pt idx="6043">-0.12365549100000001</cx:pt>
          <cx:pt idx="6044">-0.123727688</cx:pt>
          <cx:pt idx="6045">-0.123796092</cx:pt>
          <cx:pt idx="6046">-0.12386446199999999</cx:pt>
          <cx:pt idx="6047">-0.12386501799999999</cx:pt>
          <cx:pt idx="6048">-0.123933945</cx:pt>
          <cx:pt idx="6049">-0.12414291500000001</cx:pt>
          <cx:pt idx="6050">-0.124212398</cx:pt>
          <cx:pt idx="6051">-0.124495166</cx:pt>
          <cx:pt idx="6052">-0.124561935</cx:pt>
          <cx:pt idx="6053">-0.124702536</cx:pt>
          <cx:pt idx="6054">-0.12470413700000001</cx:pt>
          <cx:pt idx="6055">-0.12483931</cx:pt>
          <cx:pt idx="6056">-0.126439991</cx:pt>
          <cx:pt idx="6057">-0.12651326700000001</cx:pt>
          <cx:pt idx="6058">-0.126790085</cx:pt>
          <cx:pt idx="6059">-0.126861168</cx:pt>
          <cx:pt idx="6060">-0.12699634200000001</cx:pt>
          <cx:pt idx="6061">-0.12706582499999999</cx:pt>
          <cx:pt idx="6062">-0.12713962200000001</cx:pt>
          <cx:pt idx="6063">-0.127206391</cx:pt>
          <cx:pt idx="6064">-0.127274795</cx:pt>
          <cx:pt idx="6065">-0.12734695700000001</cx:pt>
          <cx:pt idx="6066">-0.12846184999999999</cx:pt>
          <cx:pt idx="6067">-0.12915333900000001</cx:pt>
          <cx:pt idx="6068">-0.129434506</cx:pt>
          <cx:pt idx="6069">-0.129436142</cx:pt>
          <cx:pt idx="6070">-0.13047556699999999</cx:pt>
          <cx:pt idx="6071">-0.13054776400000001</cx:pt>
          <cx:pt idx="6072">-0.13054939900000001</cx:pt>
          <cx:pt idx="6073">-0.13082458199999999</cx:pt>
          <cx:pt idx="6074">-0.13089298599999999</cx:pt>
          <cx:pt idx="6075">-0.13096518300000001</cx:pt>
          <cx:pt idx="6076">-0.130966783</cx:pt>
          <cx:pt idx="6077">-0.131033552</cx:pt>
          <cx:pt idx="6078">-0.13110195699999999</cx:pt>
          <cx:pt idx="6079">-0.131240888</cx:pt>
          <cx:pt idx="6080">-0.131313085</cx:pt>
          <cx:pt idx="6081">-0.13138148899999999</cx:pt>
          <cx:pt idx="6082">-0.131384203</cx:pt>
          <cx:pt idx="6083">-0.13144989300000001</cx:pt>
          <cx:pt idx="6084">-0.13159045899999999</cx:pt>
          <cx:pt idx="6085">-0.13165886399999999</cx:pt>
          <cx:pt idx="6086">-0.131731026</cx:pt>
          <cx:pt idx="6087">-0.132008401</cx:pt>
          <cx:pt idx="6088">-0.132145175</cx:pt>
          <cx:pt idx="6089">-0.132215214</cx:pt>
          <cx:pt idx="6090">-0.13235414500000001</cx:pt>
          <cx:pt idx="6091">-0.132426342</cx:pt>
          <cx:pt idx="6092">-0.132494746</cx:pt>
          <cx:pt idx="6093">-0.13249746000000001</cx:pt>
          <cx:pt idx="6094">-0.132635313</cx:pt>
          <cx:pt idx="6095">-0.13277208600000001</cx:pt>
          <cx:pt idx="6096">-0.13284428300000001</cx:pt>
          <cx:pt idx="6097">-0.13291540099999999</cx:pt>
          <cx:pt idx="6098">-0.13312110099999999</cx:pt>
          <cx:pt idx="6099">-0.13333278600000001</cx:pt>
          <cx:pt idx="6100">-0.13354123500000001</cx:pt>
          <cx:pt idx="6101">-0.13367964399999999</cx:pt>
          <cx:pt idx="6102">-0.133680722</cx:pt>
          <cx:pt idx="6103">-0.133748013</cx:pt>
          <cx:pt idx="6104">-0.13388482199999999</cx:pt>
          <cx:pt idx="6105">-0.133956984</cx:pt>
          <cx:pt idx="6106">-0.13395917600000001</cx:pt>
          <cx:pt idx="6107">-0.134025388</cx:pt>
          <cx:pt idx="6108">-0.13402865899999999</cx:pt>
          <cx:pt idx="6109">-0.13409379199999999</cx:pt>
          <cx:pt idx="6110">-0.134165954</cx:pt>
          <cx:pt idx="6111">-0.134234359</cx:pt>
          <cx:pt idx="6112">-0.13430276299999999</cx:pt>
          <cx:pt idx="6113">-0.13437221099999999</cx:pt>
          <cx:pt idx="6114">-0.13451281200000001</cx:pt>
          <cx:pt idx="6115">-0.13465337899999999</cx:pt>
          <cx:pt idx="6116">-0.13465501399999999</cx:pt>
          <cx:pt idx="6117">-0.13472178300000001</cx:pt>
          <cx:pt idx="6118">-0.13479018700000001</cx:pt>
          <cx:pt idx="6119">-0.13486234899999999</cx:pt>
          <cx:pt idx="6120">-0.13493075400000001</cx:pt>
          <cx:pt idx="6121">-0.135068084</cx:pt>
          <cx:pt idx="6122">-0.13520865000000001</cx:pt>
          <cx:pt idx="6123">-0.13527705500000001</cx:pt>
          <cx:pt idx="6124">-0.13534653799999999</cx:pt>
          <cx:pt idx="6125">-0.13541762099999999</cx:pt>
          <cx:pt idx="6126">-0.135420335</cx:pt>
          <cx:pt idx="6127">-0.13548602500000001</cx:pt>
          <cx:pt idx="6128">-0.13555822200000001</cx:pt>
          <cx:pt idx="6129">-0.13562659199999999</cx:pt>
          <cx:pt idx="6130">-0.135977242</cx:pt>
          <cx:pt idx="6131">-0.13618565599999999</cx:pt>
          <cx:pt idx="6132">-0.13625242500000001</cx:pt>
          <cx:pt idx="6133">-0.136320829</cx:pt>
          <cx:pt idx="6134">-0.13646139500000001</cx:pt>
          <cx:pt idx="6135">-0.136464109</cx:pt>
          <cx:pt idx="6136">-0.13652980000000001</cx:pt>
          <cx:pt idx="6137">-0.136946662</cx:pt>
          <cx:pt idx="6138">-0.13701885899999999</cx:pt>
          <cx:pt idx="6139">-0.137087229</cx:pt>
          <cx:pt idx="6140">-0.137155633</cx:pt>
          <cx:pt idx="6141">-0.13722783</cx:pt>
          <cx:pt idx="6142">-0.13729619900000001</cx:pt>
          <cx:pt idx="6143">-0.13743408600000001</cx:pt>
          <cx:pt idx="6144">-0.13750517000000001</cx:pt>
          <cx:pt idx="6145">-0.137507884</cx:pt>
          <cx:pt idx="6146">-0.137573574</cx:pt>
          <cx:pt idx="6147">-0.137645771</cx:pt>
          <cx:pt idx="6148">-0.13785581999999999</cx:pt>
          <cx:pt idx="6149">-0.13799151500000001</cx:pt>
          <cx:pt idx="6150">-0.13834105199999999</cx:pt>
          <cx:pt idx="6151">-0.13840945700000001</cx:pt>
          <cx:pt idx="6152">-0.13847786100000001</cx:pt>
          <cx:pt idx="6153">-0.13854730900000001</cx:pt>
          <cx:pt idx="6154">-0.13882847600000001</cx:pt>
          <cx:pt idx="6155">-0.138896881</cx:pt>
          <cx:pt idx="6156">-0.13889959499999999</cx:pt>
          <cx:pt idx="6157">-0.13896525000000001</cx:pt>
          <cx:pt idx="6158">-0.13903744700000001</cx:pt>
          <cx:pt idx="6159">-0.139105851</cx:pt>
          <cx:pt idx="6160">-0.139521635</cx:pt>
          <cx:pt idx="6161">-0.14001393100000001</cx:pt>
          <cx:pt idx="6162">-0.1411934</cx:pt>
          <cx:pt idx="6163">-0.14126559699999999</cx:pt>
          <cx:pt idx="6164">-0.14133125299999999</cx:pt>
          <cx:pt idx="6165">-0.14154022299999999</cx:pt>
          <cx:pt idx="6166">-0.141609184</cx:pt>
          <cx:pt idx="6167">-0.141678632</cx:pt>
          <cx:pt idx="6168">-0.14175082899999999</cx:pt>
          <cx:pt idx="6169">-0.14175246499999999</cx:pt>
          <cx:pt idx="6170">-0.14182246900000001</cx:pt>
          <cx:pt idx="6171">-0.14196251400000001</cx:pt>
          <cx:pt idx="6172">-0.14203091800000001</cx:pt>
          <cx:pt idx="6173">-0.142096574</cx:pt>
          <cx:pt idx="6174">-0.14223988900000001</cx:pt>
          <cx:pt idx="6175">-0.14230557899999999</cx:pt>
          <cx:pt idx="6176">-0.142378855</cx:pt>
          <cx:pt idx="6177">-0.142448303</cx:pt>
          <cx:pt idx="6178">-0.14251454999999999</cx:pt>
          <cx:pt idx="6179">-0.14259106099999999</cx:pt>
          <cx:pt idx="6180">-0.14293572700000001</cx:pt>
          <cx:pt idx="6181">-0.14300141699999999</cx:pt>
          <cx:pt idx="6182">-0.143074693</cx:pt>
          <cx:pt idx="6183">-0.14356211699999999</cx:pt>
          <cx:pt idx="6184">-0.14369673299999999</cx:pt>
          <cx:pt idx="6185">-0.14383837799999999</cx:pt>
          <cx:pt idx="6186">-0.14391057500000001</cx:pt>
          <cx:pt idx="6187">-0.14404898399999999</cx:pt>
          <cx:pt idx="6188">-0.144118467</cx:pt>
          <cx:pt idx="6189">-0.144393093</cx:pt>
          <cx:pt idx="6190">-0.14453369399999999</cx:pt>
          <cx:pt idx="6191">-0.14453585199999999</cx:pt>
          <cx:pt idx="6192">-0.14474753600000001</cx:pt>
          <cx:pt idx="6193">-0.14481322699999999</cx:pt>
          <cx:pt idx="6194">-0.144814305</cx:pt>
          <cx:pt idx="6195">-0.144884867</cx:pt>
          <cx:pt idx="6196">-0.14495</cx:pt>
          <cx:pt idx="6197">-0.14502598999999999</cx:pt>
          <cx:pt idx="6198">-0.14509439399999999</cx:pt>
          <cx:pt idx="6199">-0.145162242</cx:pt>
          <cx:pt idx="6200">-0.14557962599999999</cx:pt>
          <cx:pt idx="6201">-0.14564966600000001</cx:pt>
          <cx:pt idx="6202">-0.14571532100000001</cx:pt>
          <cx:pt idx="6203">-0.14578480399999999</cx:pt>
          <cx:pt idx="6204">-0.145928119</cx:pt>
          <cx:pt idx="6205">-0.14599756699999999</cx:pt>
          <cx:pt idx="6206">-0.146063258</cx:pt>
          <cx:pt idx="6207">-0.14613653300000001</cx:pt>
          <cx:pt idx="6208">-0.14620601599999999</cx:pt>
          <cx:pt idx="6209">-0.14634550399999999</cx:pt>
          <cx:pt idx="6210">-0.146414987</cx:pt>
          <cx:pt idx="6211">-0.14648119900000001</cx:pt>
          <cx:pt idx="6212">-0.14655391800000001</cx:pt>
          <cx:pt idx="6213">-0.146623957</cx:pt>
          <cx:pt idx="6214">-0.14669344000000001</cx:pt>
          <cx:pt idx="6215">-0.146758574</cx:pt>
          <cx:pt idx="6216">-0.14696754400000001</cx:pt>
          <cx:pt idx="6217">-0.14704134199999999</cx:pt>
          <cx:pt idx="6218">-0.147110825</cx:pt>
          <cx:pt idx="6219">-0.14717651500000001</cx:pt>
          <cx:pt idx="6220">-0.147319795</cx:pt>
          <cx:pt idx="6221">-0.14738548600000001</cx:pt>
          <cx:pt idx="6222">-0.14746147500000001</cx:pt>
          <cx:pt idx="6223">-0.147528244</cx:pt>
          <cx:pt idx="6224">-0.1475939</cx:pt>
          <cx:pt idx="6225">-0.147667732</cx:pt>
          <cx:pt idx="6226">-0.14773721500000001</cx:pt>
          <cx:pt idx="6227">-0.14780287</cx:pt>
          <cx:pt idx="6228">-0.14787235300000001</cx:pt>
          <cx:pt idx="6229">-0.147945629</cx:pt>
          <cx:pt idx="6230">-0.14801566799999999</cx:pt>
          <cx:pt idx="6231">-0.14808132399999999</cx:pt>
          <cx:pt idx="6232">-0.14815731300000001</cx:pt>
          <cx:pt idx="6233">-0.14822571700000001</cx:pt>
          <cx:pt idx="6234">-0.14829356499999999</cx:pt>
          <cx:pt idx="6235">-0.14835922100000001</cx:pt>
          <cx:pt idx="6236">-0.14843305300000001</cx:pt>
          <cx:pt idx="6237">-0.14850253599999999</cx:pt>
          <cx:pt idx="6238">-0.14856819099999999</cx:pt>
          <cx:pt idx="6239">-0.148641467</cx:pt>
          <cx:pt idx="6240">-0.14871150599999999</cx:pt>
          <cx:pt idx="6241">-0.148777197</cx:pt>
          <cx:pt idx="6242">-0.148853708</cx:pt>
          <cx:pt idx="6243">-0.14898940299999999</cx:pt>
          <cx:pt idx="6244">-0.14912509800000001</cx:pt>
          <cx:pt idx="6245">-0.14920108800000001</cx:pt>
          <cx:pt idx="6246">-0.149269492</cx:pt>
          <cx:pt idx="6247">-0.14933733900000001</cx:pt>
          <cx:pt idx="6248">-0.14940299500000001</cx:pt>
          <cx:pt idx="6249">-0.14947682700000001</cx:pt>
          <cx:pt idx="6250">-0.14954630999999999</cx:pt>
          <cx:pt idx="6251">-0.149615793</cx:pt>
          <cx:pt idx="6252">-0.14968200500000001</cx:pt>
          <cx:pt idx="6253">-0.14995990200000001</cx:pt>
          <cx:pt idx="6254">-0.15003317699999999</cx:pt>
          <cx:pt idx="6255">-0.15009939</cx:pt>
          <cx:pt idx="6256">-0.15017266500000001</cx:pt>
          <cx:pt idx="6257">-0.15024214799999999</cx:pt>
          <cx:pt idx="6258">-0.15030836</cx:pt>
          <cx:pt idx="6259">-0.15038111400000001</cx:pt>
          <cx:pt idx="6260">-0.15045111899999999</cx:pt>
          <cx:pt idx="6261">-0.15051625199999999</cx:pt>
          <cx:pt idx="6262">-0.15059008500000001</cx:pt>
          <cx:pt idx="6263">-0.15065956699999999</cx:pt>
          <cx:pt idx="6264">-0.15072522299999999</cx:pt>
          <cx:pt idx="6265">-0.15079905499999999</cx:pt>
          <cx:pt idx="6266">-0.150868538</cx:pt>
          <cx:pt idx="6267">-0.15093419399999999</cx:pt>
          <cx:pt idx="6268">-0.151003677</cx:pt>
          <cx:pt idx="6269">-0.15107695199999999</cx:pt>
          <cx:pt idx="6270">-0.151143164</cx:pt>
          <cx:pt idx="6271">-0.15121644000000001</cx:pt>
          <cx:pt idx="6272">-0.15128592299999999</cx:pt>
          <cx:pt idx="6273">-0.151352135</cx:pt>
          <cx:pt idx="6274">-0.15142488800000001</cx:pt>
          <cx:pt idx="6275">-0.15149489299999999</cx:pt>
          <cx:pt idx="6276">-0.15156002700000001</cx:pt>
          <cx:pt idx="6277">-0.15170442000000001</cx:pt>
          <cx:pt idx="6278">-0.15176899699999999</cx:pt>
          <cx:pt idx="6279">-0.15184283000000001</cx:pt>
          <cx:pt idx="6280">-0.15197796799999999</cx:pt>
          <cx:pt idx="6281">-0.152047451</cx:pt>
          <cx:pt idx="6282">-0.15232969699999999</cx:pt>
          <cx:pt idx="6283">-0.152468663</cx:pt>
          <cx:pt idx="6284">-0.15253866799999999</cx:pt>
          <cx:pt idx="6285">-0.15267763300000001</cx:pt>
          <cx:pt idx="6286">-0.152817121</cx:pt>
          <cx:pt idx="6287">-0.15288225499999999</cx:pt>
          <cx:pt idx="6288">-0.15295608699999999</cx:pt>
          <cx:pt idx="6289">-0.15337347200000001</cx:pt>
          <cx:pt idx="6290">-0.15344458999999999</cx:pt>
          <cx:pt idx="6291">-0.153578093</cx:pt>
          <cx:pt idx="6292">-0.153721408</cx:pt>
          <cx:pt idx="6293">-0.15385654600000001</cx:pt>
          <cx:pt idx="6294">-0.15448672899999999</cx:pt>
          <cx:pt idx="6295">-0.154556734</cx:pt>
          <cx:pt idx="6296">-0.15462242400000001</cx:pt>
          <cx:pt idx="6297">-0.15469569899999999</cx:pt>
          <cx:pt idx="6298">-0.154765182</cx:pt>
          <cx:pt idx="6299">-0.15490466999999999</cx:pt>
          <cx:pt idx="6300">-0.154974153</cx:pt>
          <cx:pt idx="6301">-0.155039809</cx:pt>
          <cx:pt idx="6302">-0.15511635500000001</cx:pt>
          <cx:pt idx="6303">-0.15517877399999999</cx:pt>
          <cx:pt idx="6304">-0.155391538</cx:pt>
          <cx:pt idx="6305">-0.15546373399999999</cx:pt>
          <cx:pt idx="6306">-0.15553050299999999</cx:pt>
          <cx:pt idx="6307">-0.155600508</cx:pt>
          <cx:pt idx="6308">-0.15566564199999999</cx:pt>
          <cx:pt idx="6309">-0.15573947399999999</cx:pt>
          <cx:pt idx="6310">-0.15587844000000001</cx:pt>
          <cx:pt idx="6311">-0.156017927</cx:pt>
          <cx:pt idx="6312">-0.15608741000000001</cx:pt>
          <cx:pt idx="6313">-0.15622254899999999</cx:pt>
          <cx:pt idx="6314">-0.15643531199999999</cx:pt>
          <cx:pt idx="6315">-0.156501002</cx:pt>
          <cx:pt idx="6316">-0.156575356</cx:pt>
          <cx:pt idx="6317">-0.156709973</cx:pt>
          <cx:pt idx="6318">-0.156918944</cx:pt>
          <cx:pt idx="6319">-0.157061702</cx:pt>
          <cx:pt idx="6320">-0.15712735799999999</cx:pt>
          <cx:pt idx="6321">-0.15720390400000001</cx:pt>
          <cx:pt idx="6322">-0.157336328</cx:pt>
          <cx:pt idx="6323">-0.15740960400000001</cx:pt>
          <cx:pt idx="6324">-0.15755128299999999</cx:pt>
          <cx:pt idx="6325">-0.158174959</cx:pt>
          <cx:pt idx="6326">-0.15831009800000001</cx:pt>
          <cx:pt idx="6327">-0.15837958099999999</cx:pt>
          <cx:pt idx="6328">-0.159006493</cx:pt>
          <cx:pt idx="6329">-0.15907976800000001</cx:pt>
          <cx:pt idx="6330">-0.159148172</cx:pt>
          <cx:pt idx="6331">-0.15914925099999999</cx:pt>
          <cx:pt idx="6332">-0.159215463</cx:pt>
          <cx:pt idx="6333">-0.159427704</cx:pt>
          <cx:pt idx="6334">-0.15991130100000001</cx:pt>
          <cx:pt idx="6335">-0.16039820299999999</cx:pt>
          <cx:pt idx="6336">-0.160472001</cx:pt>
          <cx:pt idx="6337">-0.16060769599999999</cx:pt>
          <cx:pt idx="6338">-0.16061041000000001</cx:pt>
          <cx:pt idx="6339">-0.16067609999999999</cx:pt>
          <cx:pt idx="6340">-0.16074829700000001</cx:pt>
          <cx:pt idx="6341">-0.16074993200000001</cx:pt>
          <cx:pt idx="6342">-0.16123680000000001</cx:pt>
          <cx:pt idx="6343">-0.161441421</cx:pt>
          <cx:pt idx="6344">-0.161515253</cx:pt>
          <cx:pt idx="6345">-0.16179370700000001</cx:pt>
          <cx:pt idx="6346">-0.16186315500000001</cx:pt>
          <cx:pt idx="6347">-0.162002121</cx:pt>
          <cx:pt idx="6348">-0.16214160899999999</cx:pt>
          <cx:pt idx="6349">-0.162697959</cx:pt>
          <cx:pt idx="6350">-0.16276744200000001</cx:pt>
          <cx:pt idx="6351">-0.16283365399999999</cx:pt>
          <cx:pt idx="6352">-0.16290692900000001</cx:pt>
          <cx:pt idx="6353">-0.16352952700000001</cx:pt>
          <cx:pt idx="6354">-0.16360280199999999</cx:pt>
          <cx:pt idx="6355">-0.163950704</cx:pt>
          <cx:pt idx="6356">-0.16401695099999999</cx:pt>
          <cx:pt idx="6357">-0.16408966999999999</cx:pt>
          <cx:pt idx="6358">-0.164437049</cx:pt>
          <cx:pt idx="6359">-0.16457330100000001</cx:pt>
          <cx:pt idx="6360">-0.164643863</cx:pt>
          <cx:pt idx="6361">-0.164712789</cx:pt>
          <cx:pt idx="6362">-0.16478498599999999</cx:pt>
          <cx:pt idx="6363">-0.16485443399999999</cx:pt>
          <cx:pt idx="6364">-0.16492120299999999</cx:pt>
          <cx:pt idx="6365">-0.16499124300000001</cx:pt>
          <cx:pt idx="6366">-0.165203449</cx:pt>
          <cx:pt idx="6367">-0.16534133600000001</cx:pt>
          <cx:pt idx="6368">-0.16541081899999999</cx:pt>
          <cx:pt idx="6369">-0.16547811000000001</cx:pt>
          <cx:pt idx="6370">-0.16555465599999999</cx:pt>
          <cx:pt idx="6371">-0.165619233</cx:pt>
          <cx:pt idx="6372">-0.165687637</cx:pt>
          <cx:pt idx="6373">-0.16569035100000001</cx:pt>
          <cx:pt idx="6374">-0.16582820400000001</cx:pt>
          <cx:pt idx="6375">-0.16582928199999999</cx:pt>
          <cx:pt idx="6376">-0.165896608</cx:pt>
          <cx:pt idx="6377">-0.16596497700000001</cx:pt>
          <cx:pt idx="6378">-0.16603717400000001</cx:pt>
          <cx:pt idx="6379">-0.16610665699999999</cx:pt>
          <cx:pt idx="6380">-0.166176662</cx:pt>
          <cx:pt idx="6381">-0.16617721899999999</cx:pt>
          <cx:pt idx="6382">-0.16631399299999999</cx:pt>
          <cx:pt idx="6383">-0.16645459400000001</cx:pt>
          <cx:pt idx="6384">-0.166524598</cx:pt>
          <cx:pt idx="6385">-0.166730298</cx:pt>
          <cx:pt idx="6386">-0.166802495</cx:pt>
          <cx:pt idx="6387">-0.16687089999999999</cx:pt>
          <cx:pt idx="6388">-0.166939269</cx:pt>
          <cx:pt idx="6389">-0.167011466</cx:pt>
          <cx:pt idx="6390">-0.16715095399999999</cx:pt>
          <cx:pt idx="6391">-0.16715151</cx:pt>
          <cx:pt idx="6392">-0.167220436</cx:pt>
          <cx:pt idx="6393">-0.16728720499999999</cx:pt>
          <cx:pt idx="6394">-0.16735724499999999</cx:pt>
          <cx:pt idx="6395">-0.167499447</cx:pt>
          <cx:pt idx="6396">-0.16791683099999999</cx:pt>
          <cx:pt idx="6397">-0.167983044</cx:pt>
          <cx:pt idx="6398">-0.16805631900000001</cx:pt>
          <cx:pt idx="6399">-0.168265846</cx:pt>
          <cx:pt idx="6400">-0.16846994600000001</cx:pt>
          <cx:pt idx="6401">-0.16861051199999999</cx:pt>
          <cx:pt idx="6402">-0.168612704</cx:pt>
          <cx:pt idx="6403">-0.16867891600000001</cx:pt>
          <cx:pt idx="6404">-0.168752192</cx:pt>
          <cx:pt idx="6405">-0.16881784699999999</cx:pt>
          <cx:pt idx="6406">-0.168891123</cx:pt>
          <cx:pt idx="6407">-0.16896060600000001</cx:pt>
          <cx:pt idx="6408">-0.169026818</cx:pt>
          <cx:pt idx="6409">-0.16910009300000001</cx:pt>
          <cx:pt idx="6410">-0.16916957599999999</cx:pt>
          <cx:pt idx="6411">-0.169865449</cx:pt>
          <cx:pt idx="6412">-0.169931105</cx:pt>
          <cx:pt idx="6413">-0.17000438000000001</cx:pt>
          <cx:pt idx="6414">-0.17007442</cx:pt>
          <cx:pt idx="6415">-0.170700775</cx:pt>
          <cx:pt idx="6416">-0.17076646500000001</cx:pt>
          <cx:pt idx="6417">-0.17111436699999999</cx:pt>
          <cx:pt idx="6418">-0.17118656400000001</cx:pt>
          <cx:pt idx="6419">-0.17125712500000001</cx:pt>
          <cx:pt idx="6420">-0.17160398299999999</cx:pt>
          <cx:pt idx="6421">-0.171672353</cx:pt>
          <cx:pt idx="6422">-0.17167454500000001</cx:pt>
          <cx:pt idx="6423">-0.17174075699999999</cx:pt>
          <cx:pt idx="6424">-0.17181076200000001</cx:pt>
          <cx:pt idx="6425">-0.17181403200000001</cx:pt>
          <cx:pt idx="6426">-0.171951885</cx:pt>
          <cx:pt idx="6427">-0.172022446</cx:pt>
          <cx:pt idx="6428">-0.17243878700000001</cx:pt>
          <cx:pt idx="6429">-0.17250715599999999</cx:pt>
          <cx:pt idx="6430">-0.17250987000000001</cx:pt>
          <cx:pt idx="6431">-0.17258043200000001</cx:pt>
          <cx:pt idx="6432">-0.17258098899999999</cx:pt>
          <cx:pt idx="6433">-0.17264612200000001</cx:pt>
          <cx:pt idx="6434">-0.17271452700000001</cx:pt>
          <cx:pt idx="6435">-0.17278668899999999</cx:pt>
          <cx:pt idx="6436">-0.172857807</cx:pt>
          <cx:pt idx="6437">-0.17292349700000001</cx:pt>
          <cx:pt idx="6438">-0.17299677299999999</cx:pt>
          <cx:pt idx="6439">-0.17306622099999999</cx:pt>
          <cx:pt idx="6440">-0.173205743</cx:pt>
          <cx:pt idx="6441">-0.173344674</cx:pt>
          <cx:pt idx="6442">-0.17362476299999999</cx:pt>
          <cx:pt idx="6443">-0.173901581</cx:pt>
          <cx:pt idx="6444">-0.17417624200000001</cx:pt>
          <cx:pt idx="6445">-0.174388449</cx:pt>
          <cx:pt idx="6446">-0.17445793200000001</cx:pt>
          <cx:pt idx="6447">-0.174945356</cx:pt>
          <cx:pt idx="6448">-0.175011046</cx:pt>
          <cx:pt idx="6449">-0.175080494</cx:pt>
          <cx:pt idx="6450">-0.17515376999999999</cx:pt>
          <cx:pt idx="6451">-0.17522380900000001</cx:pt>
          <cx:pt idx="6452">-0.17528946500000001</cx:pt>
          <cx:pt idx="6453">-0.17536273999999999</cx:pt>
          <cx:pt idx="6454">-0.175432223</cx:pt>
          <cx:pt idx="6455">-0.17549843500000001</cx:pt>
          <cx:pt idx="6456">-0.17557171099999999</cx:pt>
          <cx:pt idx="6457">-0.175637401</cx:pt>
          <cx:pt idx="6458">-0.17571067700000001</cx:pt>
          <cx:pt idx="6459">-0.175849642</cx:pt>
          <cx:pt idx="6460">-0.17591964700000001</cx:pt>
          <cx:pt idx="6461">-0.17598533799999999</cx:pt>
          <cx:pt idx="6462">-0.176054821</cx:pt>
          <cx:pt idx="6463">-0.17612809600000001</cx:pt>
          <cx:pt idx="6464">-0.176198101</cx:pt>
          <cx:pt idx="6465">-0.176267584</cx:pt>
          <cx:pt idx="6466">-0.17633706699999999</cx:pt>
          <cx:pt idx="6467">-0.17640272200000001</cx:pt>
          <cx:pt idx="6468">-0.176475998</cx:pt>
          <cx:pt idx="6469">-0.17654603699999999</cx:pt>
          <cx:pt idx="6470">-0.17661169299999999</cx:pt>
          <cx:pt idx="6471">-0.176684968</cx:pt>
          <cx:pt idx="6472">-0.17675608600000001</cx:pt>
          <cx:pt idx="6473">-0.17696178600000001</cx:pt>
          <cx:pt idx="6474">-0.17786770900000001</cx:pt>
          <cx:pt idx="6475">-0.17835405400000001</cx:pt>
          <cx:pt idx="6476">-0.17877523100000001</cx:pt>
          <cx:pt idx="6477">-0.179050971</cx:pt>
          <cx:pt idx="6478">-0.179398907</cx:pt>
          <cx:pt idx="6479">-0.17981629199999999</cx:pt>
          <cx:pt idx="6480">-0.179882504</cx:pt>
          <cx:pt idx="6481">-0.17995470099999999</cx:pt>
          <cx:pt idx="6482">-0.180024184</cx:pt>
          <cx:pt idx="6483">-0.180090953</cx:pt>
          <cx:pt idx="6484">-0.18023642500000001</cx:pt>
          <cx:pt idx="6485">-0.18030208</cx:pt>
          <cx:pt idx="6486">-0.180303194</cx:pt>
          <cx:pt idx="6487">-0.18043888899999999</cx:pt>
          <cx:pt idx="6488">-0.180583248</cx:pt>
          <cx:pt idx="6489">-0.180721135</cx:pt>
          <cx:pt idx="6490">-0.18085627400000001</cx:pt>
          <cx:pt idx="6491">-0.181343698</cx:pt>
          <cx:pt idx="6492">-0.181625387</cx:pt>
          <cx:pt idx="6493">-0.182042806</cx:pt>
          <cx:pt idx="6494">-0.18210901900000001</cx:pt>
          <cx:pt idx="6495">-0.18218229399999999</cx:pt>
          <cx:pt idx="6496">-0.18322606899999999</cx:pt>
          <cx:pt idx="6497">-0.183295551</cx:pt>
          <cx:pt idx="6498">-0.18384863100000001</cx:pt>
          <cx:pt idx="6499">-0.18399139</cx:pt>
          <cx:pt idx="6500">-0.18461777900000001</cx:pt>
          <cx:pt idx="6501">-0.18468726199999999</cx:pt>
          <cx:pt idx="6502">-0.185592071</cx:pt>
          <cx:pt idx="6503">-0.18580159800000001</cx:pt>
          <cx:pt idx="6504">-0.186284117</cx:pt>
          <cx:pt idx="6505">-0.186493087</cx:pt>
          <cx:pt idx="6506">-0.18656636300000001</cx:pt>
          <cx:pt idx="6507">-0.186705328</cx:pt>
          <cx:pt idx="6508">-0.18684425900000001</cx:pt>
          <cx:pt idx="6509">-0.18698378199999999</cx:pt>
          <cx:pt idx="6510">-0.188023729</cx:pt>
          <cx:pt idx="6511">-0.18809700500000001</cx:pt>
          <cx:pt idx="6512">-0.18816432999999999</cx:pt>
          <cx:pt idx="6513">-0.1882327</cx:pt>
          <cx:pt idx="6514">-0.18837166599999999</cx:pt>
          <cx:pt idx="6515">-0.18844386199999999</cx:pt>
          <cx:pt idx="6516">-0.188444941</cx:pt>
          <cx:pt idx="6517">-0.188513867</cx:pt>
          <cx:pt idx="6518">-0.18907133100000001</cx:pt>
          <cx:pt idx="6519">-0.19011510500000001</cx:pt>
          <cx:pt idx="6520">-0.19018131799999999</cx:pt>
          <cx:pt idx="6521">-0.19053141100000001</cx:pt>
          <cx:pt idx="6522">-0.190599781</cx:pt>
          <cx:pt idx="6523">-0.19066818499999999</cx:pt>
          <cx:pt idx="6524">-0.19073819</cx:pt>
          <cx:pt idx="6525">-0.19129781100000001</cx:pt>
          <cx:pt idx="6526">-0.192481073</cx:pt>
          <cx:pt idx="6527">-0.192829009</cx:pt>
          <cx:pt idx="6528">-0.19324639399999999</cx:pt>
          <cx:pt idx="6529">-0.193595409</cx:pt>
          <cx:pt idx="6530">-0.19429016800000001</cx:pt>
          <cx:pt idx="6531">-0.19484707600000001</cx:pt>
          <cx:pt idx="6532">-0.19491655799999999</cx:pt>
          <cx:pt idx="6533">-0.19512173699999999</cx:pt>
          <cx:pt idx="6534">-0.195195012</cx:pt>
          <cx:pt idx="6535">-0.19526122400000001</cx:pt>
          <cx:pt idx="6536">-0.195331229</cx:pt>
          <cx:pt idx="6537">-0.19533394300000001</cx:pt>
          <cx:pt idx="6538">-0.19554454900000001</cx:pt>
          <cx:pt idx="6539">-0.19561239599999999</cx:pt>
          <cx:pt idx="6540">-0.195681879</cx:pt>
          <cx:pt idx="6541">-0.19589085000000001</cx:pt>
          <cx:pt idx="6542">-0.19630826900000001</cx:pt>
          <cx:pt idx="6543">-0.19637771700000001</cx:pt>
          <cx:pt idx="6544">-0.19651724000000001</cx:pt>
          <cx:pt idx="6545">-0.19707358999999999</cx:pt>
          <cx:pt idx="6546">-0.197139803</cx:pt>
          <cx:pt idx="6547">-0.19721307799999999</cx:pt>
          <cx:pt idx="6548">-0.197282561</cx:pt>
          <cx:pt idx="6549">-0.197352044</cx:pt>
          <cx:pt idx="6550">-0.19742097</cx:pt>
          <cx:pt idx="6551">-0.197487739</cx:pt>
          <cx:pt idx="6552">-0.19763209800000001</cx:pt>
          <cx:pt idx="6553">-0.19804788200000001</cx:pt>
          <cx:pt idx="6554">-0.198116286</cx:pt>
          <cx:pt idx="6555">-0.19818465599999999</cx:pt>
          <cx:pt idx="6556">-0.19825306000000001</cx:pt>
          <cx:pt idx="6557">-0.198325257</cx:pt>
          <cx:pt idx="6558">-0.19832633499999999</cx:pt>
          <cx:pt idx="6559">-0.198464744</cx:pt>
          <cx:pt idx="6560">-0.19860750299999999</cx:pt>
          <cx:pt idx="6561">-0.199022173</cx:pt>
          <cx:pt idx="6562">-0.199230622</cx:pt>
          <cx:pt idx="6563">-0.19930062700000001</cx:pt>
          <cx:pt idx="6564">-0.20013216</cx:pt>
          <cx:pt idx="6565">-0.20054957900000001</cx:pt>
          <cx:pt idx="6566">-0.20082803299999999</cx:pt>
          <cx:pt idx="6567">-0.20090075199999999</cx:pt>
          <cx:pt idx="6568">-0.201179205</cx:pt>
          <cx:pt idx="6569">-0.20152714199999999</cx:pt>
          <cx:pt idx="6570">-0.201438269</cx:pt>
          <cx:pt idx="6571">-0.20180719599999999</cx:pt>
          <cx:pt idx="6572">-0.20187232899999999</cx:pt>
          <cx:pt idx="6573">-0.20194452600000001</cx:pt>
          <cx:pt idx="6574">-0.20201456600000001</cx:pt>
          <cx:pt idx="6575">-0.20382581799999999</cx:pt>
          <cx:pt idx="6576">-0.20389474499999999</cx:pt>
          <cx:pt idx="6577">-0.20395987800000001</cx:pt>
          <cx:pt idx="6578">-0.20403207500000001</cx:pt>
          <cx:pt idx="6579">-0.204178626</cx:pt>
          <cx:pt idx="6580">-0.204311085</cx:pt>
          <cx:pt idx="6581">-0.204380012</cx:pt>
          <cx:pt idx="6582">-0.20486743600000001</cx:pt>
          <cx:pt idx="6583">-0.20500636699999999</cx:pt>
          <cx:pt idx="6584">-0.20507585</cx:pt>
          <cx:pt idx="6585">-0.205215337</cx:pt>
          <cx:pt idx="6586">-0.20577224399999999</cx:pt>
          <cx:pt idx="6587">-0.20584064899999999</cx:pt>
          <cx:pt idx="6588">-0.205841727</cx:pt>
          <cx:pt idx="6589">-0.20591336700000001</cx:pt>
          <cx:pt idx="6590">-0.205913924</cx:pt>
          <cx:pt idx="6591">-0.20605014099999999</cx:pt>
          <cx:pt idx="6592">-0.20618962900000001</cx:pt>
          <cx:pt idx="6593">-0.20653756500000001</cx:pt>
          <cx:pt idx="6594">-0.206609762</cx:pt>
          <cx:pt idx="6595">-0.20743858100000001</cx:pt>
          <cx:pt idx="6596">-0.20772194099999999</cx:pt>
          <cx:pt idx="6597">-0.20799764600000001</cx:pt>
          <cx:pt idx="6598">-0.208069843</cx:pt>
          <cx:pt idx="6599">-0.20813768999999999</cx:pt>
          <cx:pt idx="6600">-0.208207173</cx:pt>
          <cx:pt idx="6601">-0.20827609899999999</cx:pt>
          <cx:pt idx="6602">-0.20848562700000001</cx:pt>
          <cx:pt idx="6603">-0.208625114</cx:pt>
          <cx:pt idx="6604">-0.20869459700000001</cx:pt>
          <cx:pt idx="6605">-0.208833563</cx:pt>
          <cx:pt idx="6606">-0.20890356800000001</cx:pt>
          <cx:pt idx="6607">-0.20918094300000001</cx:pt>
          <cx:pt idx="6608">-0.209182543</cx:pt>
          <cx:pt idx="6609">-0.20925039100000001</cx:pt>
          <cx:pt idx="6610">-0.209320952</cx:pt>
          <cx:pt idx="6611">-0.20939043500000001</cx:pt>
          <cx:pt idx="6612">-0.20974108599999999</cx:pt>
          <cx:pt idx="6613">-0.20980948999999999</cx:pt>
          <cx:pt idx="6614">-0.21064318000000001</cx:pt>
          <cx:pt idx="6615">-0.21071266299999999</cx:pt>
          <cx:pt idx="6616">-0.21078485999999999</cx:pt>
          <cx:pt idx="6617">-0.21085326400000001</cx:pt>
          <cx:pt idx="6618">-0.21092111199999999</cx:pt>
          <cx:pt idx="6619">-0.21106059999999999</cx:pt>
          <cx:pt idx="6620">-0.21113116100000001</cx:pt>
          <cx:pt idx="6621">-0.21119629500000001</cx:pt>
          <cx:pt idx="6622">-0.21126956999999999</cx:pt>
          <cx:pt idx="6623">-0.211339053</cx:pt>
          <cx:pt idx="6624">-0.211408501</cx:pt>
          <cx:pt idx="6625">-0.21147474799999999</cx:pt>
          <cx:pt idx="6626">-0.211617472</cx:pt>
          <cx:pt idx="6627">-0.21231334499999999</cx:pt>
          <cx:pt idx="6628">-0.21314814900000001</cx:pt>
          <cx:pt idx="6629">-0.21349497200000001</cx:pt>
          <cx:pt idx="6630">-0.21467607699999999</cx:pt>
          <cx:pt idx="6631">-0.21474879499999999</cx:pt>
          <cx:pt idx="6632">-0.21481720000000001</cx:pt>
          <cx:pt idx="6633">-0.214887204</cx:pt>
          <cx:pt idx="6634">-0.21495668700000001</cx:pt>
          <cx:pt idx="6635">-0.215026727</cx:pt>
          <cx:pt idx="6636">-0.215095653</cx:pt>
          <cx:pt idx="6637">-0.21516621499999999</cx:pt>
          <cx:pt idx="6638">-0.21593153600000001</cx:pt>
          <cx:pt idx="6639">-0.21607158000000001</cx:pt>
          <cx:pt idx="6640">-0.21635111200000001</cx:pt>
          <cx:pt idx="6641">-0.216351669</cx:pt>
          <cx:pt idx="6642">-0.21642003800000001</cx:pt>
          <cx:pt idx="6643">-0.216488443</cx:pt>
          <cx:pt idx="6644">-0.21655792600000001</cx:pt>
          <cx:pt idx="6645">-0.21662737400000001</cx:pt>
          <cx:pt idx="6646">-0.216700649</cx:pt>
          <cx:pt idx="6647">-0.216766339</cx:pt>
          <cx:pt idx="6648">-0.21683634399999999</cx:pt>
          <cx:pt idx="6649">-0.217114798</cx:pt>
          <cx:pt idx="6650">-0.21760170000000001</cx:pt>
          <cx:pt idx="6651">-0.21788011900000001</cx:pt>
          <cx:pt idx="6652">-0.217950158</cx:pt>
          <cx:pt idx="6653">-0.218158572</cx:pt>
          <cx:pt idx="6654">-0.218228055</cx:pt>
          <cx:pt idx="6655">-0.21843866100000001</cx:pt>
          <cx:pt idx="6656">-0.218857159</cx:pt>
          <cx:pt idx="6657">-0.21899337599999999</cx:pt>
          <cx:pt idx="6658">-0.219062859</cx:pt>
          <cx:pt idx="6659">-0.219480278</cx:pt>
          <cx:pt idx="6660">-0.220146116</cx:pt>
          <cx:pt idx="6661">-0.22038508700000001</cx:pt>
          <cx:pt idx="6662">-0.220454013</cx:pt>
          <cx:pt idx="6663">-0.22045456999999999</cx:pt>
          <cx:pt idx="6664">-0.22052676700000001</cx:pt>
          <cx:pt idx="6665">-0.220595136</cx:pt>
          <cx:pt idx="6666">-0.22066353999999999</cx:pt>
          <cx:pt idx="6667">-0.220733023</cx:pt>
          <cx:pt idx="6668">-0.22087901800000001</cx:pt>
          <cx:pt idx="6669">-0.22122312699999999</cx:pt>
          <cx:pt idx="6670">-0.22149834400000001</cx:pt>
          <cx:pt idx="6671">-0.22157054100000001</cx:pt>
          <cx:pt idx="6672">-0.22163891099999999</cx:pt>
          <cx:pt idx="6673">-0.22184735899999999</cx:pt>
          <cx:pt idx="6674">-0.22212470000000001</cx:pt>
          <cx:pt idx="6675">-0.22226637899999999</cx:pt>
          <cx:pt idx="6676">-0.22233530500000001</cx:pt>
          <cx:pt idx="6677">-0.22296329600000001</cx:pt>
          <cx:pt idx="6678">-0.22303225700000001</cx:pt>
          <cx:pt idx="6679">-0.223098991</cx:pt>
          <cx:pt idx="6680">-0.22316955299999999</cx:pt>
          <cx:pt idx="6681">-0.22323795699999999</cx:pt>
          <cx:pt idx="6682">-0.223307962</cx:pt>
          <cx:pt idx="6683">-0.22337744500000001</cx:pt>
          <cx:pt idx="6684">-0.22344692699999999</cx:pt>
          <cx:pt idx="6685">-0.22358589300000001</cx:pt>
          <cx:pt idx="6686">-0.224629668</cx:pt>
          <cx:pt idx="6687">-0.225054115</cx:pt>
          <cx:pt idx="6688">-0.22525710199999999</cx:pt>
          <cx:pt idx="6689">-0.225397703</cx:pt>
          <cx:pt idx="6690">-0.22560395899999999</cx:pt>
          <cx:pt idx="6691">-0.22567288599999999</cx:pt>
          <cx:pt idx="6692">-0.22574560399999999</cx:pt>
          <cx:pt idx="6693">-0.226021901</cx:pt>
          <cx:pt idx="6694">-0.22609030499999999</cx:pt>
          <cx:pt idx="6695">-0.22636872399999999</cx:pt>
          <cx:pt idx="6696">-0.226438207</cx:pt>
          <cx:pt idx="6697">-0.22664825599999999</cx:pt>
          <cx:pt idx="6698">-0.22671665999999999</cx:pt>
          <cx:pt idx="6699">-0.22692347299999999</cx:pt>
          <cx:pt idx="6700">-0.22706567499999999</cx:pt>
          <cx:pt idx="6701">-0.22706623200000001</cx:pt>
          <cx:pt idx="6702">-0.22713407899999999</cx:pt>
          <cx:pt idx="6703">-0.22727301</cx:pt>
          <cx:pt idx="6704">-0.22727408900000001</cx:pt>
          <cx:pt idx="6705">-0.227552542</cx:pt>
          <cx:pt idx="6706">-0.22831786300000001</cx:pt>
          <cx:pt idx="6707">-0.22838842500000001</cx:pt>
          <cx:pt idx="6708">-0.22873528300000001</cx:pt>
          <cx:pt idx="6709">-0.228805288</cx:pt>
          <cx:pt idx="6710">-0.22887369199999999</cx:pt>
          <cx:pt idx="6711">-0.22887477000000001</cx:pt>
          <cx:pt idx="6712">-0.229013736</cx:pt>
          <cx:pt idx="6713">-0.22908429799999999</cx:pt>
          <cx:pt idx="6714">-0.22915322399999999</cx:pt>
          <cx:pt idx="6715">-0.229432199</cx:pt>
          <cx:pt idx="6716">-0.23012695899999999</cx:pt>
          <cx:pt idx="6717">-0.23082283200000001</cx:pt>
          <cx:pt idx="6718">-0.23089283699999999</cx:pt>
          <cx:pt idx="6719">-0.23096124100000001</cx:pt>
          <cx:pt idx="6720">-0.23103343800000001</cx:pt>
          <cx:pt idx="6721">-0.23110128499999999</cx:pt>
          <cx:pt idx="6722">-0.23117073299999999</cx:pt>
          <cx:pt idx="6723">-0.23124077300000001</cx:pt>
          <cx:pt idx="6724">-0.23131025599999999</cx:pt>
          <cx:pt idx="6725">-0.23193661099999999</cx:pt>
          <cx:pt idx="6726">-0.232006094</cx:pt>
          <cx:pt idx="6727">-0.23207557700000001</cx:pt>
          <cx:pt idx="6728">-0.23242079900000001</cx:pt>
          <cx:pt idx="6729">-0.232632484</cx:pt>
          <cx:pt idx="6730">-0.23270085300000001</cx:pt>
          <cx:pt idx="6731">-0.233467288</cx:pt>
          <cx:pt idx="6732">-0.233745706</cx:pt>
          <cx:pt idx="6733">-0.233954155</cx:pt>
          <cx:pt idx="6734">-0.23430205700000001</cx:pt>
          <cx:pt idx="6735">-0.234372096</cx:pt>
          <cx:pt idx="6736">-0.23499900800000001</cx:pt>
          <cx:pt idx="6737">-0.23534583100000001</cx:pt>
          <cx:pt idx="6738">-0.23625175300000001</cx:pt>
          <cx:pt idx="6739">-0.23715440500000001</cx:pt>
          <cx:pt idx="6740">-0.23722712300000001</cx:pt>
          <cx:pt idx="6741">-0.23729608399999999</cx:pt>
          <cx:pt idx="6742">-0.23736121800000001</cx:pt>
          <cx:pt idx="6743">-0.23743338</cx:pt>
          <cx:pt idx="6744">-0.23750234100000001</cx:pt>
          <cx:pt idx="6745">-0.23764506499999999</cx:pt>
          <cx:pt idx="6746">-0.23771131200000001</cx:pt>
          <cx:pt idx="6747">-0.23799136600000001</cx:pt>
          <cx:pt idx="6748">-0.23805977</cx:pt>
          <cx:pt idx="6749">-0.23840878500000001</cx:pt>
          <cx:pt idx="6750">-0.238546116</cx:pt>
          <cx:pt idx="6751">-0.23861396300000001</cx:pt>
          <cx:pt idx="6752">-0.238687239</cx:pt>
          <cx:pt idx="6753">-0.238825648</cx:pt>
          <cx:pt idx="6754">-0.23889401699999999</cx:pt>
          <cx:pt idx="6755">-0.239034618</cx:pt>
          <cx:pt idx="6756">-0.23917354900000001</cx:pt>
          <cx:pt idx="6757">-0.23959096899999999</cx:pt>
          <cx:pt idx="6758">-0.239799383</cx:pt>
          <cx:pt idx="6759">-0.239869422</cx:pt>
          <cx:pt idx="6760">-0.23993890500000001</cx:pt>
          <cx:pt idx="6761">-0.24001054499999999</cx:pt>
          <cx:pt idx="6762">-0.24007947099999999</cx:pt>
          <cx:pt idx="6763">-0.240147319</cx:pt>
          <cx:pt idx="6764">-0.24021732400000001</cx:pt>
          <cx:pt idx="6765">-0.240285728</cx:pt>
          <cx:pt idx="6766">-0.24042740800000001</cx:pt>
          <cx:pt idx="6767">-0.24049577699999999</cx:pt>
          <cx:pt idx="6768">-0.24056526</cx:pt>
          <cx:pt idx="6769">-0.24071236800000001</cx:pt>
          <cx:pt idx="6770">-0.24077367399999999</cx:pt>
          <cx:pt idx="6771">-0.240982645</cx:pt>
          <cx:pt idx="6772">-0.24119165000000001</cx:pt>
          <cx:pt idx="6773">-0.24153955199999999</cx:pt>
          <cx:pt idx="6774">-0.241609035</cx:pt>
          <cx:pt idx="6775">-0.24167851800000001</cx:pt>
          <cx:pt idx="6776">-0.24175502900000001</cx:pt>
          <cx:pt idx="6777">-0.24195697099999999</cx:pt>
          <cx:pt idx="6778">-0.24216702000000001</cx:pt>
          <cx:pt idx="6779">-0.242373277</cx:pt>
          <cx:pt idx="6780">-0.24237435600000001</cx:pt>
          <cx:pt idx="6781">-0.242514957</cx:pt>
          <cx:pt idx="6782">-0.24258332599999999</cx:pt>
          <cx:pt idx="6783">-0.24293126300000001</cx:pt>
          <cx:pt idx="6784">-0.243210238</cx:pt>
          <cx:pt idx="6785">-0.244043963</cx:pt>
          <cx:pt idx="6786">-0.24411396799999999</cx:pt>
          <cx:pt idx="6787">-0.24418564300000001</cx:pt>
          <cx:pt idx="6788">-0.244254569</cx:pt>
          <cx:pt idx="6789">-0.244602506</cx:pt>
          <cx:pt idx="6790">-0.24488311600000001</cx:pt>
          <cx:pt idx="6791">-0.24495204300000001</cx:pt>
          <cx:pt idx="6792">-0.24529726499999999</cx:pt>
          <cx:pt idx="6793">-0.24536619100000001</cx:pt>
          <cx:pt idx="6794">-0.24550460099999999</cx:pt>
          <cx:pt idx="6795">-0.24571193599999999</cx:pt>
          <cx:pt idx="6796">-0.24578413299999999</cx:pt>
          <cx:pt idx="6797">-0.245853616</cx:pt>
          <cx:pt idx="6798">-0.24606150800000001</cx:pt>
          <cx:pt idx="6799">-0.24613206900000001</cx:pt>
          <cx:pt idx="6800">-0.24620151700000001</cx:pt>
          <cx:pt idx="6801">-0.24655053199999999</cx:pt>
          <cx:pt idx="6802">-0.247246405</cx:pt>
          <cx:pt idx="6803">-0.24794116499999999</cx:pt>
          <cx:pt idx="6804">-0.248080096</cx:pt>
          <cx:pt idx="6805">-0.248150657</cx:pt>
          <cx:pt idx="6806">-0.248219618</cx:pt>
          <cx:pt idx="6807">-0.24870704199999999</cx:pt>
          <cx:pt idx="6808">-0.24898493899999999</cx:pt>
          <cx:pt idx="6809">-0.24912442700000001</cx:pt>
          <cx:pt idx="6810">-0.25002871300000001</cx:pt>
          <cx:pt idx="6811">-0.25058558600000003</cx:pt>
          <cx:pt idx="6812">-0.25065235499999999</cx:pt>
          <cx:pt idx="6813">-0.25072510799999997</cx:pt>
          <cx:pt idx="6814">-0.25079347800000001</cx:pt>
          <cx:pt idx="6815">-0.25086403899999998</cx:pt>
          <cx:pt idx="6816">-0.25093352200000002</cx:pt>
          <cx:pt idx="6817">-0.25100408400000002</cx:pt>
          <cx:pt idx="6818">-0.251211976</cx:pt>
          <cx:pt idx="6819">-0.25218953799999999</cx:pt>
          <cx:pt idx="6820">-0.25225846400000002</cx:pt>
          <cx:pt idx="6821">-0.25253636099999999</cx:pt>
          <cx:pt idx="6822">-0.25267313499999999</cx:pt>
          <cx:pt idx="6823">-0.25336900699999998</cx:pt>
          <cx:pt idx="6824">-0.25350741700000001</cx:pt>
          <cx:pt idx="6825">-0.25364853999999998</cx:pt>
          <cx:pt idx="6826">-0.25378639200000003</cx:pt>
          <cx:pt idx="6827">-0.25385587500000001</cx:pt>
          <cx:pt idx="6828">-0.254062132</cx:pt>
          <cx:pt idx="6829">-0.25427110200000003</cx:pt>
          <cx:pt idx="6830">-0.25434114200000002</cx:pt>
          <cx:pt idx="6831">-0.25441006799999999</cx:pt>
          <cx:pt idx="6832">-0.254412782</cx:pt>
          <cx:pt idx="6833">-0.25455119100000001</cx:pt>
          <cx:pt idx="6834">-0.25462391000000001</cx:pt>
          <cx:pt idx="6835">-0.25469231399999998</cx:pt>
          <cx:pt idx="6836">-0.25475797</cx:pt>
          <cx:pt idx="6837">-0.25489909300000002</cx:pt>
          <cx:pt idx="6838">-0.25489964900000001</cx:pt>
          <cx:pt idx="6839">-0.254971846</cx:pt>
          <cx:pt idx="6840">-0.25504077200000003</cx:pt>
          <cx:pt idx="6841">-0.25510862000000001</cx:pt>
          <cx:pt idx="6842">-0.25517810299999999</cx:pt>
          <cx:pt idx="6843">-0.25532521000000002</cx:pt>
          <cx:pt idx="6844">-0.25538978699999998</cx:pt>
          <cx:pt idx="6845">-0.255456556</cx:pt>
          <cx:pt idx="6846">-0.25559548700000001</cx:pt>
          <cx:pt idx="6847">-0.25594398099999999</cx:pt>
          <cx:pt idx="6848">-0.256367872</cx:pt>
          <cx:pt idx="6849">-0.25650033100000003</cx:pt>
          <cx:pt idx="6850">-0.256780385</cx:pt>
          <cx:pt idx="6851">-0.25684934599999998</cx:pt>
          <cx:pt idx="6852">-0.25705939500000002</cx:pt>
          <cx:pt idx="6853">-0.25768251399999997</cx:pt>
          <cx:pt idx="6854">-0.25775199700000001</cx:pt>
          <cx:pt idx="6855">-0.25782255900000001</cx:pt>
          <cx:pt idx="6856">-0.25789200699999998</cx:pt>
          <cx:pt idx="6857">-0.25879956399999998</cx:pt>
          <cx:pt idx="6858">-0.25928427500000001</cx:pt>
          <cx:pt idx="6859">-0.25928479700000001</cx:pt>
          <cx:pt idx="6860">-0.25935264400000002</cx:pt>
          <cx:pt idx="6861">-0.25942320600000002</cx:pt>
          <cx:pt idx="6862">-0.25949160999999998</cx:pt>
          <cx:pt idx="6863">-0.25970113700000003</cx:pt>
          <cx:pt idx="6864">-0.25991118600000002</cx:pt>
          <cx:pt idx="6865">-0.259979556</cx:pt>
          <cx:pt idx="6866">-0.26005011700000003</cx:pt>
          <cx:pt idx="6867">-0.260119078</cx:pt>
          <cx:pt idx="6868">-0.26019123999999999</cx:pt>
          <cx:pt idx="6869">-0.26025964499999998</cx:pt>
          <cx:pt idx="6870">-0.26032857100000001</cx:pt>
          <cx:pt idx="6871">-0.26039697499999997</cx:pt>
          <cx:pt idx="6872">-0.260536463</cx:pt>
          <cx:pt idx="6873">-0.26060594599999998</cx:pt>
          <cx:pt idx="6874">-0.26067542900000001</cx:pt>
          <cx:pt idx="6875">-0.26074598999999998</cx:pt>
          <cx:pt idx="6876">-0.26081547300000002</cx:pt>
          <cx:pt idx="6877">-0.26095548299999999</cx:pt>
          <cx:pt idx="6878">-0.26102444400000002</cx:pt>
          <cx:pt idx="6879">-0.26109281299999998</cx:pt>
          <cx:pt idx="6880">-0.26137234500000001</cx:pt>
          <cx:pt idx="6881">-0.26144075</cx:pt>
          <cx:pt idx="6882">-0.26157752400000001</cx:pt>
          <cx:pt idx="6883">-0.26185869099999998</cx:pt>
          <cx:pt idx="6884">-0.26269457299999999</cx:pt>
          <cx:pt idx="6885">-0.262833539</cx:pt>
          <cx:pt idx="6886">-0.263040318</cx:pt>
          <cx:pt idx="6887">-0.26310872200000002</cx:pt>
          <cx:pt idx="6888">-0.26311087900000002</cx:pt>
          <cx:pt idx="6889">-0.26318091900000001</cx:pt>
          <cx:pt idx="6890">-0.26318144100000002</cx:pt>
          <cx:pt idx="6891">-0.26325040199999999</cx:pt>
          <cx:pt idx="6892">-0.263389333</cx:pt>
          <cx:pt idx="6893">-0.26457207300000002</cx:pt>
          <cx:pt idx="6894">-0.264712118</cx:pt>
          <cx:pt idx="6895">-0.26491945300000003</cx:pt>
          <cx:pt idx="6896">-0.26513058099999998</cx:pt>
          <cx:pt idx="6897">-0.26519954200000001</cx:pt>
          <cx:pt idx="6898">-0.26554744299999999</cx:pt>
          <cx:pt idx="6899">-0.26576239800000001</cx:pt>
          <cx:pt idx="6900">-0.26582481800000002</cx:pt>
          <cx:pt idx="6901">-0.26652229199999999</cx:pt>
          <cx:pt idx="6902">-0.26672962700000002</cx:pt>
          <cx:pt idx="6903">-0.26693915400000001</cx:pt>
          <cx:pt idx="6904">-0.26707756300000002</cx:pt>
          <cx:pt idx="6905">-0.26721652899999998</cx:pt>
          <cx:pt idx="6906">-0.26728437700000002</cx:pt>
          <cx:pt idx="6907">-0.26728597700000001</cx:pt>
          <cx:pt idx="6908">-0.26749494800000001</cx:pt>
          <cx:pt idx="6909">-0.26763447000000001</cx:pt>
          <cx:pt idx="6910">-0.267913446</cx:pt>
          <cx:pt idx="6911">-0.26839759899999999</cx:pt>
          <cx:pt idx="6912">-0.268399791</cx:pt>
          <cx:pt idx="6913">-0.26847035299999999</cx:pt>
          <cx:pt idx="6914">-0.26867553100000002</cx:pt>
          <cx:pt idx="6915">-0.26874769300000001</cx:pt>
          <cx:pt idx="6916">-0.26895395</cx:pt>
          <cx:pt idx="6917">-0.26895614200000001</cx:pt>
          <cx:pt idx="6918">-0.26902614600000002</cx:pt>
          <cx:pt idx="6919">-0.26902670299999998</cx:pt>
          <cx:pt idx="6920">-0.26909455100000002</cx:pt>
          <cx:pt idx="6921">-0.269095629</cx:pt>
          <cx:pt idx="6922">-0.26972146299999999</cx:pt>
          <cx:pt idx="6923">-0.26979146700000001</cx:pt>
          <cx:pt idx="6924">-0.27083579899999999</cx:pt>
          <cx:pt idx="6925">-0.27118317800000002</cx:pt>
          <cx:pt idx="6926">-0.27173952899999998</cx:pt>
          <cx:pt idx="6927">-0.27201498200000002</cx:pt>
          <cx:pt idx="6928">-0.27215747000000001</cx:pt>
          <cx:pt idx="6929">-0.27222695299999999</cx:pt>
          <cx:pt idx="6930">-0.27229643599999998</cx:pt>
          <cx:pt idx="6931">-0.27250540600000001</cx:pt>
          <cx:pt idx="6932">-0.27271382</cx:pt>
        </cx:lvl>
      </cx:numDim>
    </cx:data>
    <cx:data id="3">
      <cx:numDim type="val">
        <cx:f>'Box Plots'!$D$151:$D$7083</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2.4360849999999998</cx:pt>
          <cx:pt idx="414">-2.4359830659999999</cx:pt>
          <cx:pt idx="415">-2.4358230170000001</cx:pt>
          <cx:pt idx="416">-2.4357496940000001</cx:pt>
          <cx:pt idx="417">-2.4357357309999998</cx:pt>
          <cx:pt idx="418">-2.4352991679999998</cx:pt>
          <cx:pt idx="419">-2.4349787279999999</cx:pt>
          <cx:pt idx="420">-2.4348721370000002</cx:pt>
          <cx:pt idx="421">-2.434629793</cx:pt>
          <cx:pt idx="422">-2.43461492</cx:pt>
          <cx:pt idx="423">-2.434556921</cx:pt>
          <cx:pt idx="424">-2.4344841580000001</cx:pt>
          <cx:pt idx="425">-2.4343095780000001</cx:pt>
          <cx:pt idx="426">-2.4342805240000001</cx:pt>
          <cx:pt idx="427">-2.4340912970000002</cx:pt>
          <cx:pt idx="428">-2.433945553</cx:pt>
          <cx:pt idx="429">-2.4338292049999999</cx:pt>
          <cx:pt idx="430">-2.4338002599999999</cx:pt>
          <cx:pt idx="431">-2.433290934</cx:pt>
          <cx:pt idx="432">-2.4331599389999998</cx:pt>
          <cx:pt idx="433">-2.4331017070000001</cx:pt>
          <cx:pt idx="434">-2.4330144210000002</cx:pt>
          <cx:pt idx="435">-2.4329851339999999</cx:pt>
          <cx:pt idx="436">-2.4329126040000002</cx:pt>
          <cx:pt idx="437">-2.4327523210000002</cx:pt>
          <cx:pt idx="438">-2.4326796750000002</cx:pt>
          <cx:pt idx="439">-2.4325050949999998</cx:pt>
          <cx:pt idx="440">-2.4324178089999999</cx:pt>
          <cx:pt idx="441">-2.4323738819999998</cx:pt>
          <cx:pt idx="442">-2.432272057</cx:pt>
          <cx:pt idx="443">-2.4322576429999998</cx:pt>
          <cx:pt idx="444">-2.432228356</cx:pt>
          <cx:pt idx="445">-2.4318210800000002</cx:pt>
          <cx:pt idx="446">-2.4317920260000001</cx:pt>
          <cx:pt idx="447">-2.4317629639999998</cx:pt>
          <cx:pt idx="448">-2.431690202</cx:pt>
          <cx:pt idx="449">-2.4316319690000001</cx:pt>
          <cx:pt idx="450">-2.4316174460000002</cx:pt>
          <cx:pt idx="451">-2.4316027990000002</cx:pt>
          <cx:pt idx="452">-2.43144275</cx:pt>
          <cx:pt idx="453">-2.4313991650000002</cx:pt>
          <cx:pt idx="454">-2.4311371820000001</cx:pt>
          <cx:pt idx="455">-2.4310644190000001</cx:pt>
          <cx:pt idx="456">-2.4309043699999999</cx:pt>
          <cx:pt idx="457">-2.4308898390000002</cx:pt>
          <cx:pt idx="458">-2.43029311</cx:pt>
          <cx:pt idx="459">-2.43027858</cx:pt>
          <cx:pt idx="460">-2.430264056</cx:pt>
          <cx:pt idx="461">-2.4301473659999999</cx:pt>
          <cx:pt idx="462">-2.4301185300000001</cx:pt>
          <cx:pt idx="463">-2.429972786</cx:pt>
          <cx:pt idx="464">-2.4299584809999999</cx:pt>
          <cx:pt idx="465">-2.4298710780000001</cx:pt>
          <cx:pt idx="466">-2.4297692610000001</cx:pt>
          <cx:pt idx="467">-2.4296819680000001</cx:pt>
          <cx:pt idx="468">-2.4296237359999999</cx:pt>
          <cx:pt idx="469">-2.4295946810000002</cx:pt>
          <cx:pt idx="470">-2.4295652780000001</cx:pt>
          <cx:pt idx="471">-2.4292454050000001</cx:pt>
          <cx:pt idx="472">-2.4292307649999998</cx:pt>
          <cx:pt idx="473">-2.4290416540000002</cx:pt>
          <cx:pt idx="474">-2.4289979530000001</cx:pt>
          <cx:pt idx="475">-2.428342883</cx:pt>
          <cx:pt idx="476">-2.4282848769999998</cx:pt>
          <cx:pt idx="477">-2.4282267609999999</cx:pt>
          <cx:pt idx="478">-2.4282117790000002</cx:pt>
          <cx:pt idx="479">-2.427775558</cx:pt>
          <cx:pt idx="480">-2.4276446800000002</cx:pt>
          <cx:pt idx="481">-2.42739722</cx:pt>
          <cx:pt idx="482">-2.4272368360000001</cx:pt>
          <cx:pt idx="483">-2.427207884</cx:pt>
          <cx:pt idx="484">-2.4271641829999999</cx:pt>
          <cx:pt idx="485">-2.4270910849999998</cx:pt>
          <cx:pt idx="486">-2.4270186640000002</cx:pt>
          <cx:pt idx="487">-2.426960657</cx:pt>
          <cx:pt idx="488">-2.4269455660000001</cx:pt>
          <cx:pt idx="489">-2.4269167299999999</cx:pt>
          <cx:pt idx="490">-2.426902433</cx:pt>
          <cx:pt idx="491">-2.4266839180000002</cx:pt>
          <cx:pt idx="492">-2.4266255769999998</cx:pt>
          <cx:pt idx="493">-2.4265530470000001</cx:pt>
          <cx:pt idx="494">-2.4254322369999999</cx:pt>
          <cx:pt idx="495">-2.424893966</cx:pt>
          <cx:pt idx="496">-2.4248651369999998</cx:pt>
          <cx:pt idx="497">-2.4248501550000001</cx:pt>
          <cx:pt idx="498">-2.42483585</cx:pt>
          <cx:pt idx="499">-2.424661161</cx:pt>
          <cx:pt idx="500">-2.4246323250000001</cx:pt>
          <cx:pt idx="501">-2.4245595689999999</cx:pt>
          <cx:pt idx="502">-2.4242970189999999</cx:pt>
          <cx:pt idx="503">-2.424195653</cx:pt>
          <cx:pt idx="504">-2.4240645490000001</cx:pt>
          <cx:pt idx="505">-2.4238753220000002</cx:pt>
          <cx:pt idx="506">-2.4237882609999999</cx:pt>
          <cx:pt idx="507">-2.4237732790000002</cx:pt>
          <cx:pt idx="508">-2.423715273</cx:pt>
          <cx:pt idx="509">-2.4236715709999999</cx:pt>
          <cx:pt idx="510">-2.4234389850000002</cx:pt>
          <cx:pt idx="511">-2.4233954</cx:pt>
          <cx:pt idx="512">-2.4232931240000002</cx:pt>
          <cx:pt idx="513">-2.4232207030000001</cx:pt>
          <cx:pt idx="514">-2.4228859649999999</cx:pt>
          <cx:pt idx="515">-2.4220565409999999</cx:pt>
          <cx:pt idx="516">-2.4220272540000001</cx:pt>
          <cx:pt idx="517">-2.4220128390000002</cx:pt>
          <cx:pt idx="518">-2.421939509</cx:pt>
          <cx:pt idx="519">-2.4218815020000002</cx:pt>
          <cx:pt idx="520">-2.421837692</cx:pt>
          <cx:pt idx="521">-2.421546647</cx:pt>
          <cx:pt idx="522">-2.4214884149999998</cx:pt>
          <cx:pt idx="523">-2.4214447140000002</cx:pt>
          <cx:pt idx="524">-2.4213867150000001</cx:pt>
          <cx:pt idx="525">-2.4213579950000002</cx:pt>
          <cx:pt idx="526">-2.4213427799999998</cx:pt>
          <cx:pt idx="527">-2.421226774</cx:pt>
          <cx:pt idx="528">-2.421197378</cx:pt>
          <cx:pt idx="529">-2.420979097</cx:pt>
          <cx:pt idx="530">-2.4209062179999998</cx:pt>
          <cx:pt idx="531">-2.4206736379999998</cx:pt>
          <cx:pt idx="532">-2.4205280029999998</cx:pt>
          <cx:pt idx="533">-2.4199022129999999</cx:pt>
          <cx:pt idx="534">-2.4198005130000002</cx:pt>
          <cx:pt idx="535">-2.419102418</cx:pt>
          <cx:pt idx="536">-2.4190004850000002</cx:pt>
          <cx:pt idx="537">-2.4189569</cx:pt>
          <cx:pt idx="538">-2.4188113740000001</cx:pt>
          <cx:pt idx="539">-2.4187238619999998</cx:pt>
          <cx:pt idx="540">-2.418709448</cx:pt>
          <cx:pt idx="541">-2.4178945469999999</cx:pt>
          <cx:pt idx="542">-2.4171812450000001</cx:pt>
          <cx:pt idx="543">-2.4170796540000001</cx:pt>
          <cx:pt idx="544">-2.416934135</cx:pt>
          <cx:pt idx="545">-2.4166721519999999</cx:pt>
          <cx:pt idx="546">-2.4165988220000001</cx:pt>
          <cx:pt idx="547">-2.4165846329999998</cx:pt>
          <cx:pt idx="548">-2.4165703349999998</cx:pt>
          <cx:pt idx="549">-2.4165552369999999</cx:pt>
          <cx:pt idx="550">-2.4164971209999999</cx:pt>
          <cx:pt idx="551">-2.4163811079999999</cx:pt>
          <cx:pt idx="552">-2.4161767900000002</cx:pt>
          <cx:pt idx="553">-2.4161626009999999</cx:pt>
          <cx:pt idx="554">-2.4160607839999999</cx:pt>
          <cx:pt idx="555">-2.4158714479999999</cx:pt>
          <cx:pt idx="556">-2.415857033</cx:pt>
          <cx:pt idx="557">-2.4158277460000002</cx:pt>
          <cx:pt idx="558">-2.4156680389999998</cx:pt>
          <cx:pt idx="559">-2.4156384100000001</cx:pt>
          <cx:pt idx="560">-2.4156096900000001</cx:pt>
          <cx:pt idx="561">-2.415551684</cx:pt>
          <cx:pt idx="562">-2.4154491899999999</cx:pt>
          <cx:pt idx="563">-2.415420245</cx:pt>
          <cx:pt idx="564">-2.4152454319999999</cx:pt>
          <cx:pt idx="565">-2.415230792</cx:pt>
          <cx:pt idx="566">-2.4149689259999998</cx:pt>
          <cx:pt idx="567">-2.414910919</cx:pt>
          <cx:pt idx="568">-2.4148966139999999</cx:pt>
          <cx:pt idx="569">-2.413746749</cx:pt>
          <cx:pt idx="570">-2.4136010049999999</cx:pt>
          <cx:pt idx="571">-2.4135867000000002</cx:pt>
          <cx:pt idx="572">-2.4133251690000002</cx:pt>
          <cx:pt idx="573">-2.4133099609999999</cx:pt>
          <cx:pt idx="574">-2.4132519549999998</cx:pt>
          <cx:pt idx="575">-2.4131357229999999</cx:pt>
          <cx:pt idx="576">-2.4131064360000001</cx:pt>
          <cx:pt idx="577">-2.4130047280000002</cx:pt>
          <cx:pt idx="578">-2.4125536420000002</cx:pt>
          <cx:pt idx="579">-2.4123931340000002</cx:pt>
          <cx:pt idx="580">-2.4123786030000001</cx:pt>
          <cx:pt idx="581">-2.4120445419999998</cx:pt>
          <cx:pt idx="582">-2.411986084</cx:pt>
          <cx:pt idx="583">-2.4119278519999998</cx:pt>
          <cx:pt idx="584">-2.4119128700000001</cx:pt>
          <cx:pt idx="585">-2.4117531630000002</cx:pt>
          <cx:pt idx="586">-2.4117382900000002</cx:pt>
          <cx:pt idx="587">-2.41166576</cx:pt>
          <cx:pt idx="588">-2.4116514549999999</cx:pt>
          <cx:pt idx="589">-2.411621942</cx:pt>
          <cx:pt idx="590">-2.411578124</cx:pt>
          <cx:pt idx="591">-2.4115200090000002</cx:pt>
          <cx:pt idx="592">-2.4112439530000001</cx:pt>
          <cx:pt idx="593">-2.4109238479999999</cx:pt>
          <cx:pt idx="594">-2.4108943350000001</cx:pt>
          <cx:pt idx="595">-2.410196022</cx:pt>
          <cx:pt idx="596">-2.4098901050000001</cx:pt>
          <cx:pt idx="597">-2.4098467459999999</cx:pt>
          <cx:pt idx="598">-2.409424714</cx:pt>
          <cx:pt idx="599">-2.4089733949999999</cx:pt>
          <cx:pt idx="600">-2.408944333</cx:pt>
          <cx:pt idx="601">-2.4089157299999999</cx:pt>
          <cx:pt idx="602">-2.4087553389999998</cx:pt>
          <cx:pt idx="603">-2.4087408080000001</cx:pt>
          <cx:pt idx="604">-2.4086822410000002</cx:pt>
          <cx:pt idx="605">-2.4085371740000001</cx:pt>
          <cx:pt idx="606">-2.408522869</cx:pt>
          <cx:pt idx="607">-2.408260319</cx:pt>
          <cx:pt idx="608">-2.4081732580000001</cx:pt>
          <cx:pt idx="609">-2.408158501</cx:pt>
          <cx:pt idx="610">-2.4079110419999998</cx:pt>
          <cx:pt idx="611">-2.4064123589999999</cx:pt>
          <cx:pt idx="612">-2.4059616080000001</cx:pt>
          <cx:pt idx="613">-2.4059465169999998</cx:pt>
          <cx:pt idx="614">-2.4051319580000001</cx:pt>
          <cx:pt idx="615">-2.405117202</cx:pt>
          <cx:pt idx="616">-2.4046368290000002</cx:pt>
          <cx:pt idx="617">-2.404592327</cx:pt>
          <cx:pt idx="618">-2.4045785959999999</cx:pt>
          <cx:pt idx="619">-2.404549877</cx:pt>
          <cx:pt idx="620">-2.4045061749999999</cx:pt>
          <cx:pt idx="621">-2.4044474920000001</cx:pt>
          <cx:pt idx="622">-2.4036617690000002</cx:pt>
          <cx:pt idx="623">-2.4036330499999998</cx:pt>
          <cx:pt idx="624">-2.4036180680000001</cx:pt>
          <cx:pt idx="625">-2.4035164760000001</cx:pt>
          <cx:pt idx="626">-2.4033709509999999</cx:pt>
          <cx:pt idx="627">-2.4033564200000002</cx:pt>
          <cx:pt idx="628">-2.4033270240000002</cx:pt>
          <cx:pt idx="629">-2.4032980789999998</cx:pt>
          <cx:pt idx="630">-2.4032837730000001</cx:pt>
          <cx:pt idx="631">-2.4032543770000001</cx:pt>
          <cx:pt idx="632">-2.4032252070000002</cx:pt>
          <cx:pt idx="633">-2.4029778639999999</cx:pt>
          <cx:pt idx="634">-2.4029479</cx:pt>
          <cx:pt idx="635">-2.4028904610000001</cx:pt>
          <cx:pt idx="636">-2.4028178140000001</cx:pt>
          <cx:pt idx="637">-2.4027886440000001</cx:pt>
          <cx:pt idx="638">-2.4027599240000002</cx:pt>
          <cx:pt idx="639">-2.4026568560000001</cx:pt>
          <cx:pt idx="640">-2.4025703620000001</cx:pt>
          <cx:pt idx="641">-2.4024676359999999</cx:pt>
          <cx:pt idx="642">-2.4023670629999998</cx:pt>
          <cx:pt idx="643">-2.4023375499999999</cx:pt>
          <cx:pt idx="644">-2.4023233620000002</cx:pt>
          <cx:pt idx="645">-2.4023082630000001</cx:pt>
          <cx:pt idx="646">-2.401653987</cx:pt>
          <cx:pt idx="647">-2.4014788390000001</cx:pt>
          <cx:pt idx="648">-2.4014496680000001</cx:pt>
          <cx:pt idx="649">-2.4013471669999999</cx:pt>
          <cx:pt idx="650">-2.4012023259999999</cx:pt>
          <cx:pt idx="651">-2.3999076260000001</cx:pt>
          <cx:pt idx="652">-2.399703868</cx:pt>
          <cx:pt idx="653">-2.3996882099999999</cx:pt>
          <cx:pt idx="654">-2.399528954</cx:pt>
          <cx:pt idx="655">-2.3994710640000001</cx:pt>
          <cx:pt idx="656">-2.399441886</cx:pt>
          <cx:pt idx="657">-2.3984228999999999</cx:pt>
          <cx:pt idx="658">-2.3981755640000002</cx:pt>
          <cx:pt idx="659">-2.398015515</cx:pt>
          <cx:pt idx="660">-2.3980013260000002</cx:pt>
          <cx:pt idx="661">-2.3977975680000001</cx:pt>
          <cx:pt idx="662">-2.3977680549999998</cx:pt>
          <cx:pt idx="663">-2.3975344500000002</cx:pt>
          <cx:pt idx="664">-2.3974325169999999</cx:pt>
          <cx:pt idx="665">-2.3973750850000002</cx:pt>
          <cx:pt idx="666">-2.3972444319999999</cx:pt>
          <cx:pt idx="667">-2.3971568040000002</cx:pt>
          <cx:pt idx="668">-2.3970978870000001</cx:pt>
          <cx:pt idx="669">-2.397069852</cx:pt>
          <cx:pt idx="670">-2.3967352229999999</cx:pt>
          <cx:pt idx="671">-2.3966478200000001</cx:pt>
          <cx:pt idx="672">-2.3965885689999999</cx:pt>
          <cx:pt idx="673">-2.3958183960000001</cx:pt>
          <cx:pt idx="674">-2.3958035230000001</cx:pt>
          <cx:pt idx="675">-2.3957889990000001</cx:pt>
          <cx:pt idx="676">-2.3956434739999999</cx:pt>
          <cx:pt idx="677">-2.3956141870000001</cx:pt>
          <cx:pt idx="678">-2.3955698089999999</cx:pt>
          <cx:pt idx="679">-2.3955127119999999</cx:pt>
          <cx:pt idx="680">-2.3952351790000002</cx:pt>
          <cx:pt idx="681">-2.3951485699999999</cx:pt>
          <cx:pt idx="682">-2.395119625</cx:pt>
          <cx:pt idx="683">-2.395089654</cx:pt>
          <cx:pt idx="684">-2.3950613920000001</cx:pt>
          <cx:pt idx="685">-2.394930397</cx:pt>
          <cx:pt idx="686">-2.3947403839999999</cx:pt>
          <cx:pt idx="687">-2.3945668229999999</cx:pt>
          <cx:pt idx="688">-2.394508707</cx:pt>
          <cx:pt idx="689">-2.3944784019999998</cx:pt>
          <cx:pt idx="690">-2.3942601200000002</cx:pt>
          <cx:pt idx="691">-2.3942319680000002</cx:pt>
          <cx:pt idx="692">-2.394173962</cx:pt>
          <cx:pt idx="693">-2.3941583030000002</cx:pt>
          <cx:pt idx="694">-2.3941007480000001</cx:pt>
          <cx:pt idx="695">-2.3940864500000001</cx:pt>
          <cx:pt idx="696">-2.394072145</cx:pt>
          <cx:pt idx="697">-2.3940418389999998</cx:pt>
          <cx:pt idx="698">-2.3939847420000002</cx:pt>
          <cx:pt idx="699">-2.3939545450000002</cx:pt>
          <cx:pt idx="700">-2.3939408150000001</cx:pt>
          <cx:pt idx="701">-2.39392651</cx:pt>
          <cx:pt idx="702">-2.393897113</cx:pt>
          <cx:pt idx="703">-2.3938235570000002</cx:pt>
          <cx:pt idx="704">-2.3937664600000002</cx:pt>
          <cx:pt idx="705">-2.3937082279999999</cx:pt>
          <cx:pt idx="706">-2.3936936969999998</cx:pt>
          <cx:pt idx="707">-2.3936059529999998</cx:pt>
          <cx:pt idx="708">-2.3935615750000001</cx:pt>
          <cx:pt idx="709">-2.3935481790000002</cx:pt>
          <cx:pt idx="710">-2.3933587260000002</cx:pt>
          <cx:pt idx="711">-2.3932426109999998</cx:pt>
          <cx:pt idx="712">-2.3932132080000001</cx:pt>
          <cx:pt idx="713">-2.3931258049999999</cx:pt>
          <cx:pt idx="714">-2.393067689</cx:pt>
          <cx:pt idx="715">-2.3929504320000001</cx:pt>
          <cx:pt idx="716">-2.392587534</cx:pt>
          <cx:pt idx="717">-2.3925001309999998</cx:pt>
          <cx:pt idx="718">-2.3924420159999999</cx:pt>
          <cx:pt idx="719">-2.3919472210000001</cx:pt>
          <cx:pt idx="720">-2.3919329230000002</cx:pt>
          <cx:pt idx="721">-2.3919172569999998</cx:pt>
          <cx:pt idx="722">-2.3917142999999998</cx:pt>
          <cx:pt idx="723">-2.3916999940000001</cx:pt>
          <cx:pt idx="724">-2.3916843280000002</cx:pt>
          <cx:pt idx="725">-2.3915388100000001</cx:pt>
          <cx:pt idx="726">-2.3915107739999999</cx:pt>
          <cx:pt idx="727">-2.391422462</cx:pt>
          <cx:pt idx="728">-2.3910885099999999</cx:pt>
          <cx:pt idx="729">-2.391001223</cx:pt>
          <cx:pt idx="730">-2.3909421979999999</cx:pt>
          <cx:pt idx="731">-2.3908984969999998</cx:pt>
          <cx:pt idx="732">-2.390884759</cx:pt>
          <cx:pt idx="733">-2.3908410579999999</cx:pt>
          <cx:pt idx="734">-2.390782942</cx:pt>
          <cx:pt idx="735">-2.3907538800000001</cx:pt>
          <cx:pt idx="736">-2.3907239169999999</cx:pt>
          <cx:pt idx="737">-2.3906958810000001</cx:pt>
          <cx:pt idx="738">-2.390258292</cx:pt>
          <cx:pt idx="739">-2.3900554509999998</cx:pt>
          <cx:pt idx="740">-2.390041037</cx:pt>
          <cx:pt idx="741">-2.3900253710000001</cx:pt>
          <cx:pt idx="742">-2.389953518</cx:pt>
          <cx:pt idx="743">-2.3898798530000001</cx:pt>
          <cx:pt idx="744">-2.389662473</cx:pt>
          <cx:pt idx="745">-2.389633194</cx:pt>
          <cx:pt idx="746">-2.3895888080000001</cx:pt>
          <cx:pt idx="747">-2.3895452229999998</cx:pt>
          <cx:pt idx="748">-2.3895171799999999</cx:pt>
          <cx:pt idx="749">-2.3894007230000001</cx:pt>
          <cx:pt idx="750">-2.3893859669999999</cx:pt>
          <cx:pt idx="751">-2.3893705270000001</cx:pt>
          <cx:pt idx="752">-2.3888612010000001</cx:pt>
          <cx:pt idx="753">-2.3888037689999999</cx:pt>
          <cx:pt idx="754">-2.3887739149999998</cx:pt>
          <cx:pt idx="755">-2.3886582440000002</cx:pt>
          <cx:pt idx="756">-2.3885846879999999</cx:pt>
          <cx:pt idx="757">-2.3885701639999999</cx:pt>
          <cx:pt idx="758">-2.3885411030000001</cx:pt>
          <cx:pt idx="759">-2.3885128419999999</cx:pt>
          <cx:pt idx="760">-2.3884828709999999</cx:pt>
          <cx:pt idx="761">-2.3884691400000002</cx:pt>
          <cx:pt idx="762">-2.3884548350000001</cx:pt>
          <cx:pt idx="763">-2.387872754</cx:pt>
          <cx:pt idx="764">-2.3878425569999999</cx:pt>
          <cx:pt idx="765">-2.3877552710000001</cx:pt>
          <cx:pt idx="766">-2.387741417</cx:pt>
          <cx:pt idx="767">-2.387638806</cx:pt>
          <cx:pt idx="768">-2.3873779590000002</cx:pt>
          <cx:pt idx="769">-2.3873622929999998</cx:pt>
          <cx:pt idx="770">-2.387043104</cx:pt>
          <cx:pt idx="771">-2.3866201619999998</cx:pt>
          <cx:pt idx="772">-2.386591101</cx:pt>
          <cx:pt idx="773">-2.3863737290000002</cx:pt>
          <cx:pt idx="774">-2.3862418239999998</cx:pt>
          <cx:pt idx="775">-2.3861989229999998</cx:pt>
          <cx:pt idx="776">-2.3861842759999998</cx:pt>
          <cx:pt idx="777">-2.386154538</cx:pt>
          <cx:pt idx="778">-2.3856742739999999</cx:pt>
          <cx:pt idx="779">-2.38539776</cx:pt>
          <cx:pt idx="780">-2.3853404380000001</cx:pt>
          <cx:pt idx="781">-2.3852968529999998</cx:pt>
          <cx:pt idx="782">-2.3851940100000002</cx:pt>
          <cx:pt idx="783">-2.3851656320000001</cx:pt>
          <cx:pt idx="784">-2.3851075169999998</cx:pt>
          <cx:pt idx="785">-2.3848602900000002</cx:pt>
          <cx:pt idx="786">-2.3847574470000001</cx:pt>
          <cx:pt idx="787">-2.3845101039999999</cx:pt>
          <cx:pt idx="788">-2.384393647</cx:pt>
          <cx:pt idx="789">-2.3843799090000002</cx:pt>
          <cx:pt idx="790">-2.3842343910000001</cx:pt>
          <cx:pt idx="791">-2.3842190670000001</cx:pt>
          <cx:pt idx="792">-2.3842045359999999</cx:pt>
          <cx:pt idx="793">-2.3840889820000002</cx:pt>
          <cx:pt idx="794">-2.383971608</cx:pt>
          <cx:pt idx="795">-2.383695211</cx:pt>
          <cx:pt idx="796">-2.3834049670000002</cx:pt>
          <cx:pt idx="797">-2.3833175639999999</cx:pt>
          <cx:pt idx="798">-2.3832440080000001</cx:pt>
          <cx:pt idx="799">-2.3832157399999998</cx:pt>
          <cx:pt idx="800">-2.3831712450000002</cx:pt>
          <cx:pt idx="801">-2.3830411599999999</cx:pt>
          <cx:pt idx="802">-2.3829384330000001</cx:pt>
          <cx:pt idx="803">-2.3828366160000001</cx:pt>
          <cx:pt idx="804">-2.3827929139999999</cx:pt>
          <cx:pt idx="805">-2.3827346820000002</cx:pt>
          <cx:pt idx="806">-2.3827210609999998</cx:pt>
          <cx:pt idx="807">-2.3825164010000002</cx:pt>
          <cx:pt idx="808">-2.3822407970000001</cx:pt>
          <cx:pt idx="809">-2.3822108329999998</cx:pt>
          <cx:pt idx="810">-2.3820798380000001</cx:pt>
          <cx:pt idx="811">-2.382065307</cx:pt>
          <cx:pt idx="812">-2.3820078759999999</cx:pt>
          <cx:pt idx="813">-2.3819204730000001</cx:pt>
          <cx:pt idx="814">-2.3818479360000002</cx:pt>
          <cx:pt idx="815">-2.3816294290000002</cx:pt>
          <cx:pt idx="816">-2.381614898</cx:pt>
          <cx:pt idx="817">-2.3812365670000002</cx:pt>
          <cx:pt idx="818">-2.3806828630000001</cx:pt>
          <cx:pt idx="819">-2.3805236070000002</cx:pt>
          <cx:pt idx="820">-2.3804499350000001</cx:pt>
          <cx:pt idx="821">-2.3804063499999999</cx:pt>
          <cx:pt idx="822">-2.3802316540000001</cx:pt>
          <cx:pt idx="823">-2.3802180320000002</cx:pt>
          <cx:pt idx="824">-2.3801159900000002</cx:pt>
          <cx:pt idx="825">-2.3800577569999999</cx:pt>
          <cx:pt idx="826">-2.3800280190000001</cx:pt>
          <cx:pt idx="827">-2.3800133720000001</cx:pt>
          <cx:pt idx="828">-2.3799997510000002</cx:pt>
          <cx:pt idx="829">-2.3799697869999998</cx:pt>
          <cx:pt idx="830">-2.3799260860000002</cx:pt>
          <cx:pt idx="831">-2.3797805670000001</cx:pt>
          <cx:pt idx="832">-2.3794759019999998</cx:pt>
          <cx:pt idx="833">-2.379256711</cx:pt>
          <cx:pt idx="834">-2.3790820140000002</cx:pt>
          <cx:pt idx="835">-2.3789656670000001</cx:pt>
          <cx:pt idx="836">-2.378951936</cx:pt>
          <cx:pt idx="837">-2.3786746299999999</cx:pt>
          <cx:pt idx="838">-2.3786607829999999</cx:pt>
          <cx:pt idx="839">-2.3786309280000002</cx:pt>
          <cx:pt idx="840">-2.377961553</cx:pt>
          <cx:pt idx="841">-2.377743272</cx:pt>
          <cx:pt idx="842">-2.3777294250000001</cx:pt>
          <cx:pt idx="843">-2.377714101</cx:pt>
          <cx:pt idx="844">-2.377641455</cx:pt>
          <cx:pt idx="845">-2.3775832229999998</cx:pt>
          <cx:pt idx="846">-2.3775685750000002</cx:pt>
          <cx:pt idx="847">-2.3773502940000002</cx:pt>
          <cx:pt idx="848">-2.3770738969999998</cx:pt>
          <cx:pt idx="849">-2.3770011339999999</cx:pt>
          <cx:pt idx="850">-2.376840976</cx:pt>
          <cx:pt idx="851">-2.3765208699999998</cx:pt>
          <cx:pt idx="852">-2.376419737</cx:pt>
          <cx:pt idx="853">-2.3763898819999998</cx:pt>
          <cx:pt idx="854">-2.3760697839999998</cx:pt>
          <cx:pt idx="855">-2.3760260820000001</cx:pt>
          <cx:pt idx="856">-2.3759977050000001</cx:pt>
          <cx:pt idx="857">-2.37569213</cx:pt>
          <cx:pt idx="858">-2.375255567</cx:pt>
          <cx:pt idx="859">-2.3752402429999999</cx:pt>
          <cx:pt idx="860">-2.3752118659999999</cx:pt>
          <cx:pt idx="861">-2.3751820110000001</cx:pt>
          <cx:pt idx="862">-2.3751092549999999</cx:pt>
          <cx:pt idx="863">-2.3750801940000001</cx:pt>
          <cx:pt idx="864">-2.375065663</cx:pt>
          <cx:pt idx="865">-2.3746872159999999</cx:pt>
          <cx:pt idx="866">-2.374498789</cx:pt>
          <cx:pt idx="867">-2.3744835819999999</cx:pt>
          <cx:pt idx="868">-2.3744689349999999</cx:pt>
          <cx:pt idx="869">-2.3739305549999998</cx:pt>
          <cx:pt idx="870">-2.3738577919999999</cx:pt>
          <cx:pt idx="871">-2.3738432679999999</cx:pt>
          <cx:pt idx="872">-2.3736832190000001</cx:pt>
          <cx:pt idx="873">-2.3736685720000001</cx:pt>
          <cx:pt idx="874">-2.3733484730000001</cx:pt>
          <cx:pt idx="875">-2.3732611800000001</cx:pt>
          <cx:pt idx="876">-2.3732465399999998</cx:pt>
          <cx:pt idx="877">-2.3731737769999999</cx:pt>
          <cx:pt idx="878">-2.3729701429999999</cx:pt>
          <cx:pt idx="879">-2.3729264410000002</cx:pt>
          <cx:pt idx="880">-2.372912704</cx:pt>
          <cx:pt idx="881">-2.3728099770000002</cx:pt>
          <cx:pt idx="882">-2.3727226830000001</cx:pt>
          <cx:pt idx="883">-2.372548111</cx:pt>
          <cx:pt idx="884">-2.3725044089999998</cx:pt>
          <cx:pt idx="885">-2.372475348</cx:pt>
          <cx:pt idx="886">-2.3724025850000001</cx:pt>
          <cx:pt idx="887">-2.3723443529999999</cx:pt>
          <cx:pt idx="888">-2.372140602</cx:pt>
          <cx:pt idx="889">-2.3721115479999999</cx:pt>
          <cx:pt idx="890">-2.3720970170000002</cx:pt>
          <cx:pt idx="891">-2.372024138</cx:pt>
          <cx:pt idx="892">-2.372009614</cx:pt>
          <cx:pt idx="893">-2.3718786189999999</cx:pt>
          <cx:pt idx="894">-2.3718640889999998</cx:pt>
          <cx:pt idx="895">-2.3713555629999998</cx:pt>
          <cx:pt idx="896">-2.3708599750000001</cx:pt>
          <cx:pt idx="897">-2.3707872120000002</cx:pt>
          <cx:pt idx="898">-2.3707144570000001</cx:pt>
          <cx:pt idx="899">-2.3706999259999999</cx:pt>
          <cx:pt idx="900">-2.3706416940000001</cx:pt>
          <cx:pt idx="901">-2.3704379430000002</cx:pt>
          <cx:pt idx="902">-2.3701905999999999</cx:pt>
          <cx:pt idx="903">-2.3701033140000001</cx:pt>
          <cx:pt idx="904">-2.3699868500000001</cx:pt>
          <cx:pt idx="905">-2.3699723189999999</cx:pt>
          <cx:pt idx="906">-2.3699577879999998</cx:pt>
          <cx:pt idx="907">-2.3694346159999999</cx:pt>
          <cx:pt idx="908">-2.3694192919999999</cx:pt>
          <cx:pt idx="909">-2.3693902379999998</cx:pt>
          <cx:pt idx="910">-2.369244712</cx:pt>
          <cx:pt idx="911">-2.369113724</cx:pt>
          <cx:pt idx="912">-2.3690700229999999</cx:pt>
          <cx:pt idx="913">-2.368778979</cx:pt>
          <cx:pt idx="914">-2.3687644479999999</cx:pt>
          <cx:pt idx="915">-2.3687506009999999</cx:pt>
          <cx:pt idx="916">-2.3687208630000001</cx:pt>
          <cx:pt idx="917">-2.3680223169999999</cx:pt>
          <cx:pt idx="918">-2.3677603340000002</cx:pt>
          <cx:pt idx="919">-2.3676730410000002</cx:pt>
          <cx:pt idx="920">-2.3676293390000001</cx:pt>
          <cx:pt idx="921">-2.3674837050000002</cx:pt>
          <cx:pt idx="922">-2.3672947099999999</cx:pt>
          <cx:pt idx="923">-2.3672800700000001</cx:pt>
          <cx:pt idx="924">-2.3672219550000002</cx:pt>
          <cx:pt idx="925">-2.3672074240000001</cx:pt>
          <cx:pt idx="926">-2.3670043500000002</cx:pt>
          <cx:pt idx="927">-2.3669599720000001</cx:pt>
          <cx:pt idx="928">-2.3669309100000002</cx:pt>
          <cx:pt idx="929">-2.366872678</cx:pt>
          <cx:pt idx="930">-2.3668144459999998</cx:pt>
          <cx:pt idx="931">-2.366770861</cx:pt>
          <cx:pt idx="932">-2.3667126289999998</cx:pt>
          <cx:pt idx="933">-2.3666106949999999</cx:pt>
          <cx:pt idx="934">-2.3665961649999998</cx:pt>
          <cx:pt idx="935">-2.3664943479999998</cx:pt>
          <cx:pt idx="936">-2.3663488290000001</cx:pt>
          <cx:pt idx="937">-2.3662905969999999</cx:pt>
          <cx:pt idx="938">-2.3662760660000002</cx:pt>
          <cx:pt idx="939">-2.366116017</cx:pt>
          <cx:pt idx="940">-2.3660723159999999</cx:pt>
          <cx:pt idx="941">-2.3660576679999998</cx:pt>
          <cx:pt idx="942">-2.3659558509999998</cx:pt>
          <cx:pt idx="943">-2.3657085160000002</cx:pt>
          <cx:pt idx="944">-2.3656939850000001</cx:pt>
          <cx:pt idx="945">-2.3656793380000001</cx:pt>
          <cx:pt idx="946">-2.3656212220000001</cx:pt>
          <cx:pt idx="947">-2.3655775210000001</cx:pt>
          <cx:pt idx="948">-2.3654029410000001</cx:pt>
          <cx:pt idx="949">-2.3653737700000002</cx:pt>
          <cx:pt idx="950">-2.3652864760000001</cx:pt>
          <cx:pt idx="951">-2.365257422</cx:pt>
          <cx:pt idx="952">-2.3648789749999999</cx:pt>
          <cx:pt idx="953">-2.3648208589999999</cx:pt>
          <cx:pt idx="954">-2.364791689</cx:pt>
          <cx:pt idx="955">-2.3647334569999998</cx:pt>
          <cx:pt idx="956">-2.364704395</cx:pt>
          <cx:pt idx="957">-2.3645151750000002</cx:pt>
          <cx:pt idx="958">-2.3643841800000001</cx:pt>
          <cx:pt idx="959">-2.3643696489999999</cx:pt>
          <cx:pt idx="960">-2.3640203799999999</cx:pt>
          <cx:pt idx="961">-2.363947617</cx:pt>
          <cx:pt idx="962">-2.3639185629999999</cx:pt>
          <cx:pt idx="963">-2.3638603310000001</cx:pt>
          <cx:pt idx="964">-2.3633364750000001</cx:pt>
          <cx:pt idx="965">-2.3630599609999998</cx:pt>
          <cx:pt idx="966">-2.3629144430000002</cx:pt>
          <cx:pt idx="967">-2.3620703779999999</cx:pt>
          <cx:pt idx="968">-2.3615028210000002</cx:pt>
          <cx:pt idx="969">-2.3613427709999999</cx:pt>
          <cx:pt idx="970">-2.3611827220000001</cx:pt>
          <cx:pt idx="971">-2.3611680819999998</cx:pt>
          <cx:pt idx="972">-2.3610079169999998</cx:pt>
          <cx:pt idx="973">-2.360818922</cx:pt>
          <cx:pt idx="974">-2.3606296950000001</cx:pt>
          <cx:pt idx="975">-2.360600641</cx:pt>
          <cx:pt idx="976">-2.3605715790000001</cx:pt>
          <cx:pt idx="977">-2.3605569389999999</cx:pt>
          <cx:pt idx="978">-2.3604696459999999</cx:pt>
          <cx:pt idx="979">-2.3600620280000002</cx:pt>
          <cx:pt idx="980">-2.360047614</cx:pt>
          <cx:pt idx="981">-2.360004022</cx:pt>
          <cx:pt idx="982">-2.3597275149999999</cx:pt>
          <cx:pt idx="983">-2.3594655329999998</cx:pt>
          <cx:pt idx="984">-2.3592472510000002</cx:pt>
          <cx:pt idx="985">-2.359189019</cx:pt>
          <cx:pt idx="986">-2.358112143</cx:pt>
          <cx:pt idx="987">-2.3579520860000001</cx:pt>
          <cx:pt idx="988">-2.3579375630000001</cx:pt>
          <cx:pt idx="989">-2.3578502690000001</cx:pt>
          <cx:pt idx="990">-2.3575010000000001</cx:pt>
          <cx:pt idx="991">-2.3564967979999998</cx:pt>
          <cx:pt idx="992">-2.356453208</cx:pt>
          <cx:pt idx="993">-2.3562785179999999</cx:pt>
          <cx:pt idx="994">-2.3561038270000001</cx:pt>
          <cx:pt idx="995">-2.3560602579999999</cx:pt>
          <cx:pt idx="996">-2.3551871559999999</cx:pt>
          <cx:pt idx="997">-2.3541833040000002</cx:pt>
          <cx:pt idx="998">-2.3540522049999999</cx:pt>
          <cx:pt idx="999">-2.3535713970000001</cx:pt>
          <cx:pt idx="1000">-2.353266284</cx:pt>
          <cx:pt idx="1001">-2.3532226930000002</cx:pt>
          <cx:pt idx="1002">-2.3528733129999999</cx:pt>
          <cx:pt idx="1003">-2.351171049</cx:pt>
          <cx:pt idx="1004">-2.3509956820000002</cx:pt>
          <cx:pt idx="1005">-2.35095279</cx:pt>
          <cx:pt idx="1006">-2.3488129600000001</cx:pt>
          <cx:pt idx="1007">-2.3484206649999999</cx:pt>
          <cx:pt idx="1008">-2.3483331559999998</cx:pt>
          <cx:pt idx="1009">-2.3478094349999998</cx:pt>
          <cx:pt idx="1010">-2.3469799230000001</cx:pt>
          <cx:pt idx="1011">-2.3466744830000001</cx:pt>
          <cx:pt idx="1012">-2.3465427069999998</cx:pt>
          <cx:pt idx="1013">-2.346280835</cx:pt>
          <cx:pt idx="1014">-2.3459760709999999</cx:pt>
          <cx:pt idx="1015">-2.3458007040000002</cx:pt>
          <cx:pt idx="1016">-2.3453641639999998</cx:pt>
          <cx:pt idx="1017">-2.34532125</cx:pt>
          <cx:pt idx="1018">-2.3452773320000002</cx:pt>
          <cx:pt idx="1019">-2.3443164150000002</cx:pt>
          <cx:pt idx="1020">-2.3442291900000001</cx:pt>
          <cx:pt idx="1021">-2.3441415939999999</cx:pt>
          <cx:pt idx="1022">-2.3440107569999999</cx:pt>
          <cx:pt idx="1023">-2.3436611140000001</cx:pt>
          <cx:pt idx="1024">-2.3434426799999999</cx:pt>
          <cx:pt idx="1025">-2.3431806119999998</cx:pt>
          <cx:pt idx="1026">-2.343136672</cx:pt>
          <cx:pt idx="1027">-2.3418287769999999</cx:pt>
          <cx:pt idx="1028">-2.341738801</cx:pt>
          <cx:pt idx="1029">-2.341523096</cx:pt>
          <cx:pt idx="1030">-2.3408258850000001</cx:pt>
          <cx:pt idx="1031">-2.3393404389999999</cx:pt>
          <cx:pt idx="1032">-2.3385975640000001</cx:pt>
          <cx:pt idx="1033">-2.3385539729999998</cx:pt>
          <cx:pt idx="1034">-2.3383356480000002</cx:pt>
          <cx:pt idx="1035">-2.3372875940000002</cx:pt>
          <cx:pt idx="1036">-2.3365453949999999</cx:pt>
          <cx:pt idx="1037">-2.3358028690000001</cx:pt>
          <cx:pt idx="1038">-2.335715666</cx:pt>
          <cx:pt idx="1039">-2.3351042820000001</cx:pt>
          <cx:pt idx="1040">-2.3345804079999999</cx:pt>
          <cx:pt idx="1041">-2.3342745530000002</cx:pt>
          <cx:pt idx="1042">-2.334099819</cx:pt>
          <cx:pt idx="1043">-2.333969025</cx:pt>
          <cx:pt idx="1044">-2.3337507</cx:pt>
          <cx:pt idx="1045">-2.3336222860000002</cx:pt>
          <cx:pt idx="1046">-2.3333603479999998</cx:pt>
          <cx:pt idx="1047">-2.332835819</cx:pt>
          <cx:pt idx="1048">-2.332222384</cx:pt>
          <cx:pt idx="1049">-2.3314397599999999</cx:pt>
          <cx:pt idx="1050">-2.3313515530000002</cx:pt>
          <cx:pt idx="1051">-2.3313086379999999</cx:pt>
          <cx:pt idx="1052">-2.33117719</cx:pt>
          <cx:pt idx="1053">-2.3309149690000002</cx:pt>
          <cx:pt idx="1054">-2.3306527479999999</cx:pt>
          <cx:pt idx="1055">-2.3303472639999998</cx:pt>
          <cx:pt idx="1056">-2.330257703</cx:pt>
          <cx:pt idx="1057">-2.3302161419999998</cx:pt>
          <cx:pt idx="1058">-2.3300421290000002</cx:pt>
          <cx:pt idx="1059">-2.3299954820000002</cx:pt>
          <cx:pt idx="1060">-2.3299110070000002</cx:pt>
          <cx:pt idx="1061">-2.3295152859999999</cx:pt>
          <cx:pt idx="1062">-2.3290378399999998</cx:pt>
          <cx:pt idx="1063">-2.3289939</cx:pt>
          <cx:pt idx="1064">-2.3286857090000002</cx:pt>
          <cx:pt idx="1065">-2.3286444980000001</cx:pt>
          <cx:pt idx="1066">-2.3264629100000001</cx:pt>
          <cx:pt idx="1067">-2.3261996639999998</cx:pt>
          <cx:pt idx="1068">-2.3259827359999998</cx:pt>
          <cx:pt idx="1069">-2.3253711130000001</cx:pt>
          <cx:pt idx="1070">-2.324103992</cx:pt>
          <cx:pt idx="1071">-2.3237549390000001</cx:pt>
          <cx:pt idx="1072">-2.3236650289999998</cx:pt>
          <cx:pt idx="1073">-2.3224013129999999</cx:pt>
          <cx:pt idx="1074">-2.3223155069999999</cx:pt>
          <cx:pt idx="1075">-2.3216589609999998</cx:pt>
          <cx:pt idx="1076">-2.3212673430000001</cx:pt>
          <cx:pt idx="1077">-2.3212203470000001</cx:pt>
          <cx:pt idx="1078">-2.321179136</cx:pt>
          <cx:pt idx="1079">-2.3210480360000001</cx:pt>
          <cx:pt idx="1080">-2.320873674</cx:pt>
          <cx:pt idx="1081">-2.3207858159999999</cx:pt>
          <cx:pt idx="1082">-2.3183857510000001</cx:pt>
          <cx:pt idx="1083">-2.3181664660000001</cx:pt>
          <cx:pt idx="1084">-2.3178177619999998</cx:pt>
          <cx:pt idx="1085">-2.317555563</cx:pt>
          <cx:pt idx="1086">-2.317338635</cx:pt>
          <cx:pt idx="1087">-2.3172933640000002</cx:pt>
          <cx:pt idx="1088">-2.3172065320000002</cx:pt>
          <cx:pt idx="1089">-2.3171622429999998</cx:pt>
          <cx:pt idx="1090">-2.3168571509999998</cx:pt>
          <cx:pt idx="1091">-2.3162891409999999</cx:pt>
          <cx:pt idx="1092">-2.3161560109999999</cx:pt>
          <cx:pt idx="1093">-2.3158968679999998</cx:pt>
          <cx:pt idx="1094">-2.315721828</cx:pt>
          <cx:pt idx="1095">-2.3156360220000001</cx:pt>
          <cx:pt idx="1096">-2.3154140089999999</cx:pt>
          <cx:pt idx="1097">-2.3151984560000001</cx:pt>
          <cx:pt idx="1098">-2.3150673350000002</cx:pt>
          <cx:pt idx="1099">-2.3145432860000001</cx:pt>
          <cx:pt idx="1100">-2.3139769779999999</cx:pt>
          <cx:pt idx="1101">-2.313932034</cx:pt>
          <cx:pt idx="1102">-2.3136698349999998</cx:pt>
          <cx:pt idx="1103">-2.3131478159999999</cx:pt>
          <cx:pt idx="1104">-2.3130166939999999</cx:pt>
          <cx:pt idx="1105">-2.3129281590000002</cx:pt>
          <cx:pt idx="1106">-2.3127946810000002</cx:pt>
          <cx:pt idx="1107">-2.3125365630000001</cx:pt>
          <cx:pt idx="1108">-2.311400935</cx:pt>
          <cx:pt idx="1109">-2.3111380370000001</cx:pt>
          <cx:pt idx="1110">-2.3108772129999999</cx:pt>
          <cx:pt idx="1111">-2.3107896829999999</cx:pt>
          <cx:pt idx="1112">-2.3105278330000001</cx:pt>
          <cx:pt idx="1113">-2.310308526</cx:pt>
          <cx:pt idx="1114">-2.3102652849999998</cx:pt>
          <cx:pt idx="1115">-2.3101791290000002</cx:pt>
          <cx:pt idx="1116">-2.3101338579999999</cx:pt>
          <cx:pt idx="1117">-2.3100905940000001</cx:pt>
          <cx:pt idx="1118">-2.309869607</cx:pt>
          <cx:pt idx="1119">-2.3098287449999999</cx:pt>
          <cx:pt idx="1120">-2.30978583</cx:pt>
          <cx:pt idx="1121">-2.3094364719999998</cx:pt>
          <cx:pt idx="1122">-2.3091739229999999</cx:pt>
          <cx:pt idx="1123">-2.3088242160000001</cx:pt>
          <cx:pt idx="1124">-2.308432947</cx:pt>
          <cx:pt idx="1125">-2.3076460000000001</cx:pt>
          <cx:pt idx="1126">-2.3069043470000001</cx:pt>
          <cx:pt idx="1127">-2.3068573510000001</cx:pt>
          <cx:pt idx="1128">-2.3064208110000002</cx:pt>
          <cx:pt idx="1129">-2.3063799490000001</cx:pt>
          <cx:pt idx="1130">-2.3062049309999999</cx:pt>
          <cx:pt idx="1131">-2.3050274150000001</cx:pt>
          <cx:pt idx="1132">-2.3049838239999998</cx:pt>
          <cx:pt idx="1133">-2.3048520259999998</cx:pt>
          <cx:pt idx="1134">-2.304285063</cx:pt>
          <cx:pt idx="1135">-2.3041968779999999</cx:pt>
          <cx:pt idx="1136">-2.304065778</cx:pt>
          <cx:pt idx="1137">-2.303674182</cx:pt>
          <cx:pt idx="1138">-2.3036268369999999</cx:pt>
          <cx:pt idx="1139">-2.3032805340000002</cx:pt>
          <cx:pt idx="1140">-2.3027128939999999</cx:pt>
          <cx:pt idx="1141">-2.3020138060000002</cx:pt>
          <cx:pt idx="1142">-2.3002676019999999</cx:pt>
          <cx:pt idx="1143">-2.3000037</cx:pt>
          <cx:pt idx="1144">-2.2994394659999999</cx:pt>
          <cx:pt idx="1145">-2.2993512589999998</cx:pt>
          <cx:pt idx="1146">-2.299308366</cx:pt>
          <cx:pt idx="1147">-2.2983920229999999</cx:pt>
          <cx:pt idx="1148">-2.2981727379999999</cx:pt>
          <cx:pt idx="1149">-2.2978206289999998</cx:pt>
          <cx:pt idx="1150">-2.2968198320000002</cx:pt>
          <cx:pt idx="1151">-2.2962518439999999</cx:pt>
          <cx:pt idx="1152">-2.2956416389999998</cx:pt>
          <cx:pt idx="1153">-2.2944593420000001</cx:pt>
          <cx:pt idx="1154">-2.294417803</cx:pt>
          <cx:pt idx="1155">-2.2935450510000002</cx:pt>
          <cx:pt idx="1156">-2.293455163</cx:pt>
          <cx:pt idx="1157">-2.29332439</cx:pt>
          <cx:pt idx="1158">-2.2931966959999999</cx:pt>
          <cx:pt idx="1159">-2.2927601559999999</cx:pt>
          <cx:pt idx="1160">-2.2927162380000001</cx:pt>
          <cx:pt idx="1161">-2.2925847890000002</cx:pt>
          <cx:pt idx="1162">-2.2911416679999999</cx:pt>
          <cx:pt idx="1163">-2.2906639169999998</cx:pt>
          <cx:pt idx="1164">-2.2895262359999999</cx:pt>
          <cx:pt idx="1165">-2.2882165940000001</cx:pt>
          <cx:pt idx="1166">-2.2824137699999998</cx:pt>
          <cx:pt idx="1167">-2.2823255840000001</cx:pt>
          <cx:pt idx="1168">-2.2822356959999999</cx:pt>
          <cx:pt idx="1169">-2.2804894920000001</cx:pt>
          <cx:pt idx="1170">-2.278918</cx:pt>
          <cx:pt idx="1171">-2.2788755969999999</cx:pt>
          <cx:pt idx="1172">-2.2781119580000002</cx:pt>
          <cx:pt idx="1173">-2.2780898239999998</cx:pt>
          <cx:pt idx="1174">-2.2780462309999998</cx:pt>
          <cx:pt idx="1175">-2.2779153019999998</cx:pt>
          <cx:pt idx="1176">-2.2778921410000001</cx:pt>
          <cx:pt idx="1177">-2.2777186450000002</cx:pt>
          <cx:pt idx="1178">-2.277149949</cx:pt>
          <cx:pt idx="1179">-2.2770638010000002</cx:pt>
          <cx:pt idx="1180">-2.2770423430000002</cx:pt>
          <cx:pt idx="1181">-2.2769110640000001</cx:pt>
          <cx:pt idx="1182">-2.2767801350000001</cx:pt>
          <cx:pt idx="1183">-2.2767363789999999</cx:pt>
          <cx:pt idx="1184">-2.2757747080000001</cx:pt>
          <cx:pt idx="1185">-2.2754037039999999</cx:pt>
          <cx:pt idx="1186">-2.2738990619999999</cx:pt>
          <cx:pt idx="1187">-2.2732862709999999</cx:pt>
          <cx:pt idx="1188">-2.2732001130000001</cx:pt>
          <cx:pt idx="1189">-2.2730897790000002</cx:pt>
          <cx:pt idx="1190">-2.2715631759999999</cx:pt>
          <cx:pt idx="1191">-2.271519246</cx:pt>
          <cx:pt idx="1192">-2.2714744640000002</cx:pt>
          <cx:pt idx="1193">-2.2713011320000001</cx:pt>
          <cx:pt idx="1194">-2.2712355799999999</cx:pt>
          <cx:pt idx="1195">-2.2712137939999999</cx:pt>
          <cx:pt idx="1196">-2.2710596930000002</cx:pt>
          <cx:pt idx="1197">-2.2709299540000001</cx:pt>
          <cx:pt idx="1198">-2.2707773919999998</cx:pt>
          <cx:pt idx="1199">-2.2699258910000002</cx:pt>
          <cx:pt idx="1200">-2.2697731650000001</cx:pt>
          <cx:pt idx="1201">-2.269576684</cx:pt>
          <cx:pt idx="1202">-2.2690515790000001</cx:pt>
          <cx:pt idx="1203">-2.2689436239999998</cx:pt>
          <cx:pt idx="1204">-2.2689218389999999</cx:pt>
          <cx:pt idx="1205">-2.26844168</cx:pt>
          <cx:pt idx="1206">-2.2683977500000001</cx:pt>
          <cx:pt idx="1207">-2.268310413</cx:pt>
          <cx:pt idx="1208">-2.267348916</cx:pt>
          <cx:pt idx="1209">-2.2664115950000001</cx:pt>
          <cx:pt idx="1210">-2.2663458799999998</cx:pt>
          <cx:pt idx="1211">-2.2661046050000002</cx:pt>
          <cx:pt idx="1212">-2.2658645310000001</cx:pt>
          <cx:pt idx="1213">-2.2655153129999999</cx:pt>
          <cx:pt idx="1214">-2.265209687</cx:pt>
          <cx:pt idx="1215">-2.265166105</cx:pt>
          <cx:pt idx="1216">-2.2649040610000002</cx:pt>
          <cx:pt idx="1217">-2.2648604680000002</cx:pt>
          <cx:pt idx="1218">-2.2648180770000002</cx:pt>
          <cx:pt idx="1219">-2.264511261</cx:pt>
          <cx:pt idx="1220">-2.2644892900000002</cx:pt>
          <cx:pt idx="1221">-2.2643597139999998</cx:pt>
          <cx:pt idx="1222">-2.2639449549999999</cx:pt>
          <cx:pt idx="1223">-2.2639217939999998</cx:pt>
          <cx:pt idx="1224">-2.2637472719999998</cx:pt>
          <cx:pt idx="1225">-2.2632669500000002</cx:pt>
          <cx:pt idx="1226">-2.2630280659999999</cx:pt>
          <cx:pt idx="1227">-2.2630049159999999</cx:pt>
          <cx:pt idx="1228">-2.2629189209999998</cx:pt>
          <cx:pt idx="1229">-2.2627212499999998</cx:pt>
          <cx:pt idx="1230">-2.2626556980000001</cx:pt>
          <cx:pt idx="1231">-2.26246057</cx:pt>
          <cx:pt idx="1232">-2.2616747959999999</cx:pt>
          <cx:pt idx="1233">-2.2614125760000001</cx:pt>
          <cx:pt idx="1234">-2.261302417</cx:pt>
          <cx:pt idx="1235">-2.2609749950000002</cx:pt>
          <cx:pt idx="1236">-2.2608888359999999</cx:pt>
          <cx:pt idx="1237">-2.2607361109999999</cx:pt>
          <cx:pt idx="1238">-2.2595791479999998</cx:pt>
          <cx:pt idx="1239">-2.259099</cx:pt>
          <cx:pt idx="1240">-2.2576800029999999</cx:pt>
          <cx:pt idx="1241">-2.2575916399999998</cx:pt>
          <cx:pt idx="1242">-2.2575041169999999</cx:pt>
          <cx:pt idx="1243">-2.2574824950000001</cx:pt>
          <cx:pt idx="1244">-2.2573963369999999</cx:pt>
          <cx:pt idx="1245">-2.257373351</cx:pt>
          <cx:pt idx="1246">-2.2573307850000002</cx:pt>
          <cx:pt idx="1247">-2.2571344670000002</cx:pt>
          <cx:pt idx="1248">-2.2567414920000002</cx:pt>
          <cx:pt idx="1249">-2.2555615549999999</cx:pt>
          <cx:pt idx="1250">-2.255255918</cx:pt>
          <cx:pt idx="1251">-2.2550812320000002</cx:pt>
          <cx:pt idx="1252">-2.254862943</cx:pt>
          <cx:pt idx="1253">-2.2548193620000001</cx:pt>
          <cx:pt idx="1254">-2.254776959</cx:pt>
          <cx:pt idx="1255">-2.2547114069999998</cx:pt>
          <cx:pt idx="1256">-2.2544919399999999</cx:pt>
          <cx:pt idx="1257">-2.2544481730000001</cx:pt>
          <cx:pt idx="1258">-2.2544263880000002</cx:pt>
          <cx:pt idx="1259">-2.2542298949999999</cx:pt>
          <cx:pt idx="1260">-2.2540989659999999</cx:pt>
          <cx:pt idx="1261">-2.2539462289999999</cx:pt>
          <cx:pt idx="1262">-2.2537945289999999</cx:pt>
          <cx:pt idx="1263">-2.253771543</cx:pt>
          <cx:pt idx="1264">-2.2537279510000001</cx:pt>
          <cx:pt idx="1265">-2.2536417929999999</cx:pt>
          <cx:pt idx="1266">-2.2535762410000002</cx:pt>
          <cx:pt idx="1267">-2.2534441209999998</cx:pt>
          <cx:pt idx="1268">-2.2528548289999999</cx:pt>
          <cx:pt idx="1269">-2.2527674809999998</cx:pt>
          <cx:pt idx="1270">-2.252637741</cx:pt>
          <cx:pt idx="1271">-2.252614581</cx:pt>
          <cx:pt idx="1272">-2.2523089540000001</cx:pt>
          <cx:pt idx="1273">-2.2515887220000002</cx:pt>
          <cx:pt idx="1274">-2.2514359960000001</cx:pt>
          <cx:pt idx="1275">-2.2514140359999999</cx:pt>
          <cx:pt idx="1276">-2.2512177179999999</cx:pt>
          <cx:pt idx="1277">-2.2511095999999999</cx:pt>
          <cx:pt idx="1278">-2.2510648180000001</cx:pt>
          <cx:pt idx="1279">-2.2509120920000001</cx:pt>
          <cx:pt idx="1280">-2.250802948</cx:pt>
          <cx:pt idx="1281">-2.2507809879999998</cx:pt>
          <cx:pt idx="1282">-2.2506064549999998</cx:pt>
          <cx:pt idx="1283">-2.250520308</cx:pt>
          <cx:pt idx="1284">-2.2503892030000001</cx:pt>
          <cx:pt idx="1285">-2.2500619450000001</cx:pt>
          <cx:pt idx="1286">-2.2499952030000001</cx:pt>
          <cx:pt idx="1287">-2.2498654629999999</cx:pt>
          <cx:pt idx="1288">-2.249733333</cx:pt>
          <cx:pt idx="1289">-2.2495804330000002</cx:pt>
          <cx:pt idx="1290">-2.2495150549999998</cx:pt>
          <cx:pt idx="1291">-2.249187633</cx:pt>
          <cx:pt idx="1292">-2.2491438769999998</cx:pt>
          <cx:pt idx="1293">-2.2490347329999998</cx:pt>
          <cx:pt idx="1294">-2.2489693439999998</cx:pt>
          <cx:pt idx="1295">-2.2488830219999998</cx:pt>
          <cx:pt idx="1296">-2.248816455</cx:pt>
          <cx:pt idx="1297">-2.2483362960000002</cx:pt>
          <cx:pt idx="1298">-2.2480742619999998</cx:pt>
          <cx:pt idx="1299">-2.2480306699999999</cx:pt>
          <cx:pt idx="1300">-2.246371763</cx:pt>
          <cx:pt idx="1301">-2.2462188630000002</cx:pt>
          <cx:pt idx="1302">-2.245476681</cx:pt>
          <cx:pt idx="1303">-2.245433089</cx:pt>
          <cx:pt idx="1304">-2.245345741</cx:pt>
          <cx:pt idx="1305">-2.245323945</cx:pt>
          <cx:pt idx="1306">-2.2452801889999998</cx:pt>
          <cx:pt idx="1307">-2.244778245</cx:pt>
          <cx:pt idx="1308">-2.244756449</cx:pt>
          <cx:pt idx="1309">-2.2446473149999999</cx:pt>
          <cx:pt idx="1310">-2.244232545</cx:pt>
          <cx:pt idx="1311">-2.2440796440000002</cx:pt>
          <cx:pt idx="1312">-2.2440360519999998</cx:pt>
          <cx:pt idx="1313">-2.24383957</cx:pt>
          <cx:pt idx="1314">-2.243817774</cx:pt>
          <cx:pt idx="1315">-2.242682608</cx:pt>
          <cx:pt idx="1316">-2.242639015</cx:pt>
          <cx:pt idx="1317">-2.24248629</cx:pt>
          <cx:pt idx="1318">-2.2424425339999998</cx:pt>
          <cx:pt idx="1319">-2.2422898080000002</cx:pt>
          <cx:pt idx="1320">-2.242246041</cx:pt>
          <cx:pt idx="1321">-2.2421806640000002</cx:pt>
          <cx:pt idx="1322">-2.241700341</cx:pt>
          <cx:pt idx="1323">-2.2416785450000001</cx:pt>
          <cx:pt idx="1324">-2.241591197</cx:pt>
          <cx:pt idx="1325">-2.241547615</cx:pt>
          <cx:pt idx="1326">-2.2408054229999999</cx:pt>
          <cx:pt idx="1327">-2.2407836269999999</cx:pt>
          <cx:pt idx="1328">-2.2405435530000002</cx:pt>
          <cx:pt idx="1329">-2.2404562050000001</cx:pt>
          <cx:pt idx="1330">-2.2403033040000002</cx:pt>
          <cx:pt idx="1331">-2.2399978530000002</cx:pt>
          <cx:pt idx="1332">-2.2396266640000002</cx:pt>
          <cx:pt idx="1333">-2.2394521420000002</cx:pt>
          <cx:pt idx="1334">-2.239430182</cx:pt>
          <cx:pt idx="1335">-2.2384043230000001</cx:pt>
          <cx:pt idx="1336">-2.238186045</cx:pt>
          <cx:pt idx="1337">-2.2381422899999999</cx:pt>
          <cx:pt idx="1338">-2.2380986969999999</cx:pt>
          <cx:pt idx="1339">-2.2379457970000001</cx:pt>
          <cx:pt idx="1340">-2.2378804190000001</cx:pt>
          <cx:pt idx="1341">-2.2378368270000002</cx:pt>
          <cx:pt idx="1342">-2.2377712750000001</cx:pt>
          <cx:pt idx="1343">-2.2377276830000001</cx:pt>
          <cx:pt idx="1344">-2.2375965789999999</cx:pt>
          <cx:pt idx="1345">-2.2373565050000002</cx:pt>
          <cx:pt idx="1346">-2.2368763569999999</cx:pt>
          <cx:pt idx="1347">-2.2367672120000002</cx:pt>
          <cx:pt idx="1348">-2.2366361079999999</cx:pt>
          <cx:pt idx="1349">-2.2362868900000001</cx:pt>
          <cx:pt idx="1350">-2.2362433089999998</cx:pt>
          <cx:pt idx="1351">-2.2361777570000001</cx:pt>
          <cx:pt idx="1352">-2.2360904079999999</cx:pt>
          <cx:pt idx="1353">-2.235937683</cx:pt>
          <cx:pt idx="1354">-2.2358721309999998</cx:pt>
          <cx:pt idx="1355">-2.235806578</cx:pt>
          <cx:pt idx="1356">-2.2357629860000001</cx:pt>
          <cx:pt idx="1357">-2.2357411900000002</cx:pt>
          <cx:pt idx="1358">-2.2350427530000001</cx:pt>
          <cx:pt idx="1359">-2.234977201</cx:pt>
          <cx:pt idx="1360">-2.2348025159999998</cx:pt>
          <cx:pt idx="1361">-2.2347589239999999</cx:pt>
          <cx:pt idx="1362">-2.234431501</cx:pt>
          <cx:pt idx="1363">-2.2341040790000002</cx:pt>
          <cx:pt idx="1364">-2.2334928270000001</cx:pt>
          <cx:pt idx="1365">-2.2329908829999998</cx:pt>
          <cx:pt idx="1366">-2.232968912</cx:pt>
          <cx:pt idx="1367">-2.2316811940000001</cx:pt>
          <cx:pt idx="1368">-2.2313100050000001</cx:pt>
          <cx:pt idx="1369">-2.2312664240000002</cx:pt>
          <cx:pt idx="1370">-2.231069931</cx:pt>
          <cx:pt idx="1371">-2.2310260120000001</cx:pt>
          <cx:pt idx="1372">-2.2308298579999999</cx:pt>
          <cx:pt idx="1373">-2.2307425090000002</cx:pt>
          <cx:pt idx="1374">-2.230676957</cx:pt>
          <cx:pt idx="1375">-2.2306551720000001</cx:pt>
          <cx:pt idx="1376">-2.2306333760000001</cx:pt>
          <cx:pt idx="1377">-2.2296946910000002</cx:pt>
          <cx:pt idx="1378">-2.2288433649999999</cx:pt>
          <cx:pt idx="1379">-2.2287124239999998</cx:pt>
          <cx:pt idx="1380">-2.2286688429999999</cx:pt>
          <cx:pt idx="1381">-2.2284502160000002</cx:pt>
          <cx:pt idx="1382">-2.2283194499999999</cx:pt>
          <cx:pt idx="1383">-2.2270317319999999</cx:pt>
          <cx:pt idx="1384">-2.2267261060000001</cx:pt>
          <cx:pt idx="1385">-2.2261803950000001</cx:pt>
          <cx:pt idx="1386">-2.2259401579999998</cx:pt>
          <cx:pt idx="1387">-2.2259183610000002</cx:pt>
          <cx:pt idx="1388">-2.2258747689999998</cx:pt>
          <cx:pt idx="1389">-2.2255909389999999</cx:pt>
          <cx:pt idx="1390">-2.225547347</cx:pt>
          <cx:pt idx="1391">-2.2254599989999999</cx:pt>
          <cx:pt idx="1392">-2.2253726509999998</cx:pt>
          <cx:pt idx="1393">-2.225365676</cx:pt>
          <cx:pt idx="1394">-2.2249142989999999</cx:pt>
          <cx:pt idx="1395">-2.2248269509999998</cx:pt>
          <cx:pt idx="1396">-2.2247109960000002</cx:pt>
          <cx:pt idx="1397">-2.2246960210000002</cx:pt>
          <cx:pt idx="1398">-2.2245650800000001</cx:pt>
          <cx:pt idx="1399">-2.224521325</cx:pt>
          <cx:pt idx="1400">-2.2242373199999999</cx:pt>
          <cx:pt idx="1401">-2.2237134049999998</cx:pt>
          <cx:pt idx="1402">-2.2236919579999999</cx:pt>
          <cx:pt idx="1403">-2.2232116359999998</cx:pt>
          <cx:pt idx="1404">-2.2226003840000002</cx:pt>
          <cx:pt idx="1405">-2.2223167180000001</cx:pt>
          <cx:pt idx="1406">-2.2222511659999999</cx:pt>
          <cx:pt idx="1407">-2.2222293689999999</cx:pt>
          <cx:pt idx="1408">-2.2219892950000002</cx:pt>
          <cx:pt idx="1409">-2.2219019470000001</cx:pt>
          <cx:pt idx="1410">-2.2213562470000001</cx:pt>
          <cx:pt idx="1411">-2.2213126550000002</cx:pt>
          <cx:pt idx="1412">-2.2211815509999999</cx:pt>
          <cx:pt idx="1413">-2.221137959</cx:pt>
          <cx:pt idx="1414">-2.2210070289999999</cx:pt>
          <cx:pt idx="1415">-2.2208101980000001</cx:pt>
          <cx:pt idx="1416">-2.2204175620000002</cx:pt>
          <cx:pt idx="1417">-2.218453029</cx:pt>
          <cx:pt idx="1418">-2.218431244</cx:pt>
          <cx:pt idx="1419">-2.2183874769999998</cx:pt>
          <cx:pt idx="1420">-2.2183003029999999</cx:pt>
          <cx:pt idx="1421">-2.2182565470000002</cx:pt>
          <cx:pt idx="1422">-2.2171869329999998</cx:pt>
          <cx:pt idx="1423">-2.2171215549999999</cx:pt>
          <cx:pt idx="1424">-2.2170995840000001</cx:pt>
          <cx:pt idx="1425">-2.2167721619999998</cx:pt>
          <cx:pt idx="1426">-2.2161828699999999</cx:pt>
          <cx:pt idx="1427">-2.2135852890000001</cx:pt>
          <cx:pt idx="1428">-2.2123191929999999</cx:pt>
          <cx:pt idx="1429">-2.2119044219999999</cx:pt>
          <cx:pt idx="1430">-2.2117734819999999</cx:pt>
          <cx:pt idx="1431">-2.2113587219999999</cx:pt>
          <cx:pt idx="1432">-2.2107474589999998</cx:pt>
          <cx:pt idx="1433">-2.2098959589999998</cx:pt>
          <cx:pt idx="1434">-2.2091973579999999</cx:pt>
          <cx:pt idx="1435">-2.209154104</cx:pt>
          <cx:pt idx="1436">-2.2088484780000002</cx:pt>
          <cx:pt idx="1437">-2.208651658</cx:pt>
          <cx:pt idx="1438">-2.2086082409999999</cx:pt>
          <cx:pt idx="1439">-2.207538451</cx:pt>
          <cx:pt idx="1440">-2.2074950339999999</cx:pt>
          <cx:pt idx="1441">-2.207429307</cx:pt>
          <cx:pt idx="1442">-2.2073637549999998</cx:pt>
          <cx:pt idx="1443">-2.2072987159999999</cx:pt>
          <cx:pt idx="1444">-2.2069712940000001</cx:pt>
          <cx:pt idx="1445">-2.2068183929999998</cx:pt>
          <cx:pt idx="1446">-2.2067965969999999</cx:pt>
          <cx:pt idx="1447">-2.206490971</cx:pt>
          <cx:pt idx="1448">-2.206338245</cx:pt>
          <cx:pt idx="1449">-2.2062291009999999</cx:pt>
          <cx:pt idx="1450">-2.2060104850000002</cx:pt>
          <cx:pt idx="1451">-2.2056178489999998</cx:pt>
          <cx:pt idx="1452">-2.2053340189999999</cx:pt>
          <cx:pt idx="1453">-2.205268631</cx:pt>
          <cx:pt idx="1454">-2.2052248749999999</cx:pt>
          <cx:pt idx="1455">-2.2039151860000001</cx:pt>
          <cx:pt idx="1456">-2.2034786190000002</cx:pt>
          <cx:pt idx="1457">-2.2023654229999998</cx:pt>
          <cx:pt idx="1458">-2.2023436269999999</cx:pt>
          <cx:pt idx="1459">-2.2022777370000002</cx:pt>
          <cx:pt idx="1460">-2.2016887829999998</cx:pt>
          <cx:pt idx="1461">-2.2016450270000001</cx:pt>
          <cx:pt idx="1462">-2.2006627609999998</cx:pt>
          <cx:pt idx="1463">-2.2005318200000001</cx:pt>
          <cx:pt idx="1464">-2.2005100350000002</cx:pt>
          <cx:pt idx="1465">-2.2003571339999999</cx:pt>
          <cx:pt idx="1466">-2.2003349999999999</cx:pt>
          <cx:pt idx="1467">-1.5005196940000001</cx:pt>
          <cx:pt idx="1468">-0.82779112200000005</cx:pt>
          <cx:pt idx="1469">-0.79982204000000001</cx:pt>
          <cx:pt idx="1470">-0.65976654199999996</cx:pt>
          <cx:pt idx="1471">-0.043634394999999999</cx:pt>
          <cx:pt idx="1472">0.012513855000000001</cx:pt>
          <cx:pt idx="1473">0.54452866600000005</cx:pt>
          <cx:pt idx="1474">0.57272183799999998</cx:pt>
          <cx:pt idx="1475">0.65618091099999998</cx:pt>
          <cx:pt idx="1476">2.365418204</cx:pt>
          <cx:pt idx="1477">5.0263746229999997</cx:pt>
          <cx:pt idx="1478">6.1183873389999999</cx:pt>
          <cx:pt idx="1479">8.0511251949999991</cx:pt>
          <cx:pt idx="1480">9.2840477490000008</cx:pt>
          <cx:pt idx="1481">9.3395517399999992</cx:pt>
          <cx:pt idx="1482">9.5357554879999995</cx:pt>
          <cx:pt idx="1483">9.7887657449999992</cx:pt>
          <cx:pt idx="1484">9.8442557320000006</cx:pt>
          <cx:pt idx="1485">10.404463720000001</cx:pt>
          <cx:pt idx="1486">11.60898302</cx:pt>
          <cx:pt idx="1487">11.748590330000001</cx:pt>
          <cx:pt idx="1488">11.88864583</cx:pt>
          <cx:pt idx="1489">11.972553080000001</cx:pt>
          <cx:pt idx="1490">13.79320452</cx:pt>
          <cx:pt idx="1491">13.87775603</cx:pt>
          <cx:pt idx="1492">14.04578061</cx:pt>
          <cx:pt idx="1493">14.101494690000001</cx:pt>
          <cx:pt idx="1494">14.577585340000001</cx:pt>
          <cx:pt idx="1495">14.605988590000001</cx:pt>
          <cx:pt idx="1496">16.12426022</cx:pt>
          <cx:pt idx="1497">16.25819529</cx:pt>
          <cx:pt idx="1498">16.286150370000001</cx:pt>
          <cx:pt idx="1499">16.566695530000001</cx:pt>
          <cx:pt idx="1500">16.650812869999999</cx:pt>
          <cx:pt idx="1501">16.762465110000001</cx:pt>
          <cx:pt idx="1502">17.88286708</cx:pt>
          <cx:pt idx="1503">18.05132583</cx:pt>
          <cx:pt idx="1504">18.162964070000001</cx:pt>
          <cx:pt idx="1505">18.387136890000001</cx:pt>
          <cx:pt idx="1506">18.415764240000001</cx:pt>
          <cx:pt idx="1507">18.891630800000001</cx:pt>
          <cx:pt idx="1508">19.003703210000001</cx:pt>
          <cx:pt idx="1509">19.479793860000001</cx:pt>
          <cx:pt idx="1510">21.776325880000002</cx:pt>
          <cx:pt idx="1511">22.476575350000001</cx:pt>
          <cx:pt idx="1512">22.672989189999999</cx:pt>
          <cx:pt idx="1513">22.73001979</cx:pt>
          <cx:pt idx="1514">23.036783339999999</cx:pt>
          <cx:pt idx="1515">25.58587743</cx:pt>
          <cx:pt idx="1516">25.727235449999998</cx:pt>
          <cx:pt idx="1517">25.754980440000001</cx:pt>
          <cx:pt idx="1518">26.454585659999999</cx:pt>
          <cx:pt idx="1519">26.902273059999999</cx:pt>
          <cx:pt idx="1520">27.294890639999998</cx:pt>
          <cx:pt idx="1521">27.406752959999999</cx:pt>
          <cx:pt idx="1522">28.247057940000001</cx:pt>
          <cx:pt idx="1523">28.275895370000001</cx:pt>
          <cx:pt idx="1524">28.303430280000001</cx:pt>
          <cx:pt idx="1525">28.807476009999998</cx:pt>
          <cx:pt idx="1526">28.92044477</cx:pt>
          <cx:pt idx="1527">29.759433229999999</cx:pt>
          <cx:pt idx="1528">30.319851289999999</cx:pt>
          <cx:pt idx="1529">30.347610299999999</cx:pt>
          <cx:pt idx="1530">30.404626889999999</cx:pt>
          <cx:pt idx="1531">30.459682699999998</cx:pt>
          <cx:pt idx="1532">31.83245067</cx:pt>
          <cx:pt idx="1533">31.888164750000001</cx:pt>
          <cx:pt idx="1534">32.616817480000002</cx:pt>
          <cx:pt idx="1535">33.345484220000003</cx:pt>
          <cx:pt idx="1536">33.569867129999999</cx:pt>
          <cx:pt idx="1537">34.270116610000002</cx:pt>
          <cx:pt idx="1538">34.522258520000001</cx:pt>
          <cx:pt idx="1539">34.80192134</cx:pt>
          <cx:pt idx="1540">34.857635420000001</cx:pt>
          <cx:pt idx="1541">34.941976830000002</cx:pt>
          <cx:pt idx="1542">35.082452500000002</cx:pt>
          <cx:pt idx="1543">35.1654774</cx:pt>
          <cx:pt idx="1544">37.409138460000001</cx:pt>
          <cx:pt idx="1545">37.574754089999999</cx:pt>
          <cx:pt idx="1546">37.882820160000001</cx:pt>
          <cx:pt idx="1547">37.91188168</cx:pt>
          <cx:pt idx="1548">38.050830730000001</cx:pt>
          <cx:pt idx="1549">40.126033049999997</cx:pt>
          <cx:pt idx="1550">40.291648670000001</cx:pt>
          <cx:pt idx="1551">40.935973990000001</cx:pt>
          <cx:pt idx="1552">40.964811419999997</cx:pt>
          <cx:pt idx="1553">41.020091319999999</cx:pt>
          <cx:pt idx="1554">41.356994819999997</cx:pt>
          <cx:pt idx="1555">42.169330709999997</cx:pt>
          <cx:pt idx="1556">42.448559359999997</cx:pt>
          <cx:pt idx="1557">42.561304030000002</cx:pt>
          <cx:pt idx="1558">42.645631450000003</cx:pt>
          <cx:pt idx="1559">42.729748780000001</cx:pt>
          <cx:pt idx="1560">43.401609010000001</cx:pt>
          <cx:pt idx="1561">43.541216329999997</cx:pt>
          <cx:pt idx="1562">43.57005376</cx:pt>
          <cx:pt idx="1563">43.989113809999999</cx:pt>
          <cx:pt idx="1564">44.102292660000003</cx:pt>
          <cx:pt idx="1565">44.131578259999998</cx:pt>
          <cx:pt idx="1566">44.185541649999998</cx:pt>
          <cx:pt idx="1567">45.585830520000002</cx:pt>
          <cx:pt idx="1568">45.614667939999997</cx:pt>
          <cx:pt idx="1569">45.950493020000003</cx:pt>
          <cx:pt idx="1570">46.594370159999997</cx:pt>
          <cx:pt idx="1571">46.791008079999997</cx:pt>
          <cx:pt idx="1572">47.016707510000003</cx:pt>
          <cx:pt idx="1573">47.043149990000003</cx:pt>
          <cx:pt idx="1574">47.070670890000002</cx:pt>
          <cx:pt idx="1575">47.127267320000001</cx:pt>
          <cx:pt idx="1576">47.182981400000003</cx:pt>
          <cx:pt idx="1577">48.9197396</cx:pt>
          <cx:pt idx="1578">50.404369889999998</cx:pt>
          <cx:pt idx="1579">50.992532949999998</cx:pt>
          <cx:pt idx="1580">51.104185200000003</cx:pt>
          <cx:pt idx="1581">51.328792200000002</cx:pt>
          <cx:pt idx="1582">52.0286075</cx:pt>
          <cx:pt idx="1583">53.205381809999999</cx:pt>
          <cx:pt idx="1584">53.263056659999997</cx:pt>
          <cx:pt idx="1585">53.401795630000002</cx:pt>
          <cx:pt idx="1586">54.129804110000002</cx:pt>
          <cx:pt idx="1587">54.157325020000002</cx:pt>
          <cx:pt idx="1588">55.278175160000004</cx:pt>
          <cx:pt idx="1589">55.642179400000003</cx:pt>
          <cx:pt idx="1590">56.061897719999997</cx:pt>
          <cx:pt idx="1591">56.230132380000001</cx:pt>
          <cx:pt idx="1592">56.763015539999998</cx:pt>
          <cx:pt idx="1593">56.958785110000001</cx:pt>
          <cx:pt idx="1594">56.986320020000001</cx:pt>
          <cx:pt idx="1595">58.498905389999997</cx:pt>
          <cx:pt idx="1596">59.227123949999999</cx:pt>
          <cx:pt idx="1597">59.311675459999996</cx:pt>
          <cx:pt idx="1598">59.36761362</cx:pt>
          <cx:pt idx="1599">60.26363267</cx:pt>
          <cx:pt idx="1600">61.666330500000001</cx:pt>
          <cx:pt idx="1601">61.832590379999999</cx:pt>
          <cx:pt idx="1602">62.50663548</cx:pt>
          <cx:pt idx="1603">62.672895359999998</cx:pt>
          <cx:pt idx="1604">63.157725470000003</cx:pt>
          <cx:pt idx="1605">63.765552329999998</cx:pt>
          <cx:pt idx="1606">65.081513790000002</cx:pt>
          <cx:pt idx="1607">65.278151699999995</cx:pt>
          <cx:pt idx="1608">65.390014030000003</cx:pt>
          <cx:pt idx="1609">65.642155939999995</cx:pt>
          <cx:pt idx="1610">66.67844058</cx:pt>
          <cx:pt idx="1611">67.434404130000004</cx:pt>
          <cx:pt idx="1612">67.464558080000003</cx:pt>
          <cx:pt idx="1613">68.470702770000003</cx:pt>
          <cx:pt idx="1614">68.807606269999994</cx:pt>
          <cx:pt idx="1615">69.479676580000003</cx:pt>
          <cx:pt idx="1616">69.955319059999994</cx:pt>
          <cx:pt idx="1617">69.985472999999999</cx:pt>
          <cx:pt idx="1618">70.069590340000005</cx:pt>
          <cx:pt idx="1619">71.049950809999999</cx:pt>
          <cx:pt idx="1620">71.692525430000003</cx:pt>
          <cx:pt idx="1621">72.000801589999995</cx:pt>
          <cx:pt idx="1622">72.142383690000003</cx:pt>
          <cx:pt idx="1623">72.226290939999998</cx:pt>
          <cx:pt idx="1624">72.618474340000006</cx:pt>
          <cx:pt idx="1625">72.868865560000003</cx:pt>
          <cx:pt idx="1626">72.952758810000006</cx:pt>
          <cx:pt idx="1627">73.010657749999993</cx:pt>
          <cx:pt idx="1628">73.094565000000003</cx:pt>
          <cx:pt idx="1629">73.178682330000001</cx:pt>
          <cx:pt idx="1630">73.206637409999999</cx:pt>
          <cx:pt idx="1631">74.24314613</cx:pt>
          <cx:pt idx="1632">74.299084289999996</cx:pt>
          <cx:pt idx="1633">74.8313232</cx:pt>
          <cx:pt idx="1634">74.969838080000002</cx:pt>
          <cx:pt idx="1635">75.64365909</cx:pt>
          <cx:pt idx="1636">75.78196389</cx:pt>
          <cx:pt idx="1637">75.811669670000001</cx:pt>
          <cx:pt idx="1638">75.923756080000004</cx:pt>
          <cx:pt idx="1639">76.118209129999997</cx:pt>
          <cx:pt idx="1640">76.398096039999999</cx:pt>
          <cx:pt idx="1641">78.976909910000003</cx:pt>
          <cx:pt idx="1642">79.143183800000003</cx:pt>
          <cx:pt idx="1643">79.172889569999995</cx:pt>
          <cx:pt idx="1644">79.283673460000003</cx:pt>
          <cx:pt idx="1645">81.329814260000006</cx:pt>
          <cx:pt idx="1646">82.840873029999997</cx:pt>
          <cx:pt idx="1647">82.952735349999998</cx:pt>
          <cx:pt idx="1648">83.681178000000003</cx:pt>
          <cx:pt idx="1649">83.738642769999998</cx:pt>
          <cx:pt idx="1650">87.043252240000001</cx:pt>
          <cx:pt idx="1651">88.611495660000003</cx:pt>
          <cx:pt idx="1652">89.56392907</cx:pt>
          <cx:pt idx="1653">89.705539180000002</cx:pt>
          <cx:pt idx="1654">89.789684530000002</cx:pt>
          <cx:pt idx="1655">89.816126999999994</cx:pt>
          <cx:pt idx="1656">89.899389999999997</cx:pt>
          <cx:pt idx="1657">131.8629</cx:pt>
          <cx:pt idx="1658">112.3742</cx:pt>
          <cx:pt idx="1659">84.870069999999998</cx:pt>
          <cx:pt idx="1660">100.5016852</cx:pt>
          <cx:pt idx="1661">119.3682</cx:pt>
          <cx:pt idx="1662">106.3233</cx:pt>
          <cx:pt idx="1663">112.2155745</cx:pt>
          <cx:pt idx="1664">118.1108</cx:pt>
          <cx:pt idx="1665">103.4943</cx:pt>
          <cx:pt idx="1666">121.2542</cx:pt>
          <cx:pt idx="1667">98.229230000000001</cx:pt>
          <cx:pt idx="1668">127.6194</cx:pt>
          <cx:pt idx="1669">107.9736</cx:pt>
          <cx:pt idx="1670">92.178309999999996</cx:pt>
          <cx:pt idx="1671">115.5176</cx:pt>
          <cx:pt idx="1672">104.4032692</cx:pt>
          <cx:pt idx="1673">93.199889999999996</cx:pt>
          <cx:pt idx="1674">119.211</cx:pt>
          <cx:pt idx="1675">88.406300000000002</cx:pt>
          <cx:pt idx="1676">121.4113</cx:pt>
          <cx:pt idx="1677">94.064319999999995</cx:pt>
          <cx:pt idx="1678">113.408852</cx:pt>
          <cx:pt idx="1679">113.553</cx:pt>
          <cx:pt idx="1680">125.4191</cx:pt>
          <cx:pt idx="1681">121.089055</cx:pt>
          <cx:pt idx="1682">112.2957</cx:pt>
          <cx:pt idx="1683">123.29730000000001</cx:pt>
          <cx:pt idx="1684">109.6238</cx:pt>
          <cx:pt idx="1685">126.5192</cx:pt>
          <cx:pt idx="1686">139.4855</cx:pt>
          <cx:pt idx="1687">117.08920000000001</cx:pt>
          <cx:pt idx="1688">131.31280000000001</cx:pt>
          <cx:pt idx="1689">141.60730000000001</cx:pt>
          <cx:pt idx="1690">115.0461</cx:pt>
          <cx:pt idx="1691">147.501</cx:pt>
          <cx:pt idx="1692">124.08320000000001</cx:pt>
          <cx:pt idx="1693">142.3931</cx:pt>
          <cx:pt idx="1694">124.2403</cx:pt>
          <cx:pt idx="1695">164.86789999999999</cx:pt>
          <cx:pt idx="1696">136.9708</cx:pt>
          <cx:pt idx="1697">159.85859160000001</cx:pt>
          <cx:pt idx="1698">162.9819</cx:pt>
          <cx:pt idx="1699">135.4778</cx:pt>
          <cx:pt idx="1700">149.0727</cx:pt>
          <cx:pt idx="1701">137.83529999999999</cx:pt>
          <cx:pt idx="1702">149.46559999999999</cx:pt>
          <cx:pt idx="1703">128.4838</cx:pt>
          <cx:pt idx="1704">153.47329999999999</cx:pt>
          <cx:pt idx="1705">164.71080000000001</cx:pt>
          <cx:pt idx="1706">143.9648</cx:pt>
          <cx:pt idx="1707">161.0959</cx:pt>
          <cx:pt idx="1708">142.31450000000001</cx:pt>
          <cx:pt idx="1709">154.9724928</cx:pt>
          <cx:pt idx="1710">173.35489999999999</cx:pt>
          <cx:pt idx="1711">150.25139999999999</cx:pt>
          <cx:pt idx="1712">177.36269999999999</cx:pt>
          <cx:pt idx="1713">152.2946</cx:pt>
          <cx:pt idx="1714">172.33340000000001</cx:pt>
          <cx:pt idx="1715">146.7938</cx:pt>
          <cx:pt idx="1716">173.905</cx:pt>
          <cx:pt idx="1717">158.26689999999999</cx:pt>
          <cx:pt idx="1718">130.21270000000001</cx:pt>
          <cx:pt idx="1719">133.66626400000001</cx:pt>
          <cx:pt idx="1720">141.84299999999999</cx:pt>
          <cx:pt idx="1721">125.5762</cx:pt>
          <cx:pt idx="1722">0.94300059999999997</cx:pt>
          <cx:pt idx="1723">3.8688593610000002</cx:pt>
          <cx:pt idx="1724">12.691854429999999</cx:pt>
          <cx:pt idx="1725">91.827763770000004</cx:pt>
          <cx:pt idx="1726">103.55464120000001</cx:pt>
          <cx:pt idx="1727">106.48050000000001</cx:pt>
          <cx:pt idx="1728">122.1972</cx:pt>
          <cx:pt idx="1729">188.44290000000001</cx:pt>
          <cx:pt idx="1730">163.61060000000001</cx:pt>
          <cx:pt idx="1731">138.30670000000001</cx:pt>
          <cx:pt idx="1732">162.589</cx:pt>
          <cx:pt idx="1733">156.98129040000001</cx:pt>
          <cx:pt idx="1734">144.20050000000001</cx:pt>
          <cx:pt idx="1735">156.85239999999999</cx:pt>
          <cx:pt idx="1736">168.87569999999999</cx:pt>
          <cx:pt idx="1737">138.85679999999999</cx:pt>
          <cx:pt idx="1738">154.25919999999999</cx:pt>
          <cx:pt idx="1739">174.84800000000001</cx:pt>
          <cx:pt idx="1740">136.49930000000001</cx:pt>
          <cx:pt idx="1741">156.77379999999999</cx:pt>
          <cx:pt idx="1742">175.3981</cx:pt>
          <cx:pt idx="1743">143.80760000000001</cx:pt>
          <cx:pt idx="1744">165.4966</cx:pt>
          <cx:pt idx="1745">177.67699999999999</cx:pt>
          <cx:pt idx="1746">143.1003</cx:pt>
          <cx:pt idx="1747">172.25479999999999</cx:pt>
          <cx:pt idx="1748">162.11750000000001</cx:pt>
          <cx:pt idx="1749">147.8939</cx:pt>
          <cx:pt idx="1750">171.7047</cx:pt>
          <cx:pt idx="1751">159.60290000000001</cx:pt>
          <cx:pt idx="1752">143.80760000000001</cx:pt>
          <cx:pt idx="1753">174.6123</cx:pt>
          <cx:pt idx="1754">163.2963</cx:pt>
          <cx:pt idx="1755">144.90780000000001</cx:pt>
          <cx:pt idx="1756">183.64940000000001</cx:pt>
          <cx:pt idx="1757">160.15299999999999</cx:pt>
          <cx:pt idx="1758">179.0915</cx:pt>
          <cx:pt idx="1759">152.76609999999999</cx:pt>
          <cx:pt idx="1760">173.5907</cx:pt>
          <cx:pt idx="1761">157.71680000000001</cx:pt>
          <cx:pt idx="1762">176.4983</cx:pt>
          <cx:pt idx="1763">160.86019999999999</cx:pt>
          <cx:pt idx="1764">174.06219999999999</cx:pt>
          <cx:pt idx="1765">162.82480000000001</cx:pt>
          <cx:pt idx="1766">176.18389999999999</cx:pt>
          <cx:pt idx="1767">161.96029999999999</cx:pt>
          <cx:pt idx="1768">176.1054</cx:pt>
          <cx:pt idx="1769">163.13910000000001</cx:pt>
          <cx:pt idx="1770">177.36269999999999</cx:pt>
          <cx:pt idx="1771">159.36709999999999</cx:pt>
          <cx:pt idx="1772">181.76339999999999</cx:pt>
          <cx:pt idx="1773">170.36879999999999</cx:pt>
          <cx:pt idx="1774">180.74180000000001</cx:pt>
          <cx:pt idx="1775">163.76779999999999</cx:pt>
          <cx:pt idx="1776">186.3212</cx:pt>
          <cx:pt idx="1777">163.6892</cx:pt>
          <cx:pt idx="1778">177.67699999999999</cx:pt>
          <cx:pt idx="1779">188.67869999999999</cx:pt>
          <cx:pt idx="1780">159.6814</cx:pt>
          <cx:pt idx="1781">182.7064</cx:pt>
          <cx:pt idx="1782">165.02510000000001</cx:pt>
          <cx:pt idx="1783">191.42910000000001</cx:pt>
          <cx:pt idx="1784">168.4828</cx:pt>
          <cx:pt idx="1785">196.45849999999999</cx:pt>
          <cx:pt idx="1786">176.26249999999999</cx:pt>
          <cx:pt idx="1787">190.26024820000001</cx:pt>
          <cx:pt idx="1788">197.7158</cx:pt>
          <cx:pt idx="1789">172.88339999999999</cx:pt>
          <cx:pt idx="1790">200.93770000000001</cx:pt>
          <cx:pt idx="1791">175.94820000000001</cx:pt>
          <cx:pt idx="1792">199.68039999999999</cx:pt>
          <cx:pt idx="1793">166.36099999999999</cx:pt>
          <cx:pt idx="1794">181.6062</cx:pt>
          <cx:pt idx="1795">197.3229</cx:pt>
          <cx:pt idx="1796">170.2116</cx:pt>
          <cx:pt idx="1797">199.36609999999999</cx:pt>
          <cx:pt idx="1798">175.3981</cx:pt>
          <cx:pt idx="1799">207.69589999999999</cx:pt>
          <cx:pt idx="1800">197.0784692</cx:pt>
          <cx:pt idx="1801">171.94040000000001</cx:pt>
          <cx:pt idx="1802">185.77109999999999</cx:pt>
          <cx:pt idx="1803">207.53870000000001</cx:pt>
          <cx:pt idx="1804">173.04060000000001</cx:pt>
          <cx:pt idx="1805">186.7927</cx:pt>
          <cx:pt idx="1806">204.6311</cx:pt>
          <cx:pt idx="1807">171.7833</cx:pt>
          <cx:pt idx="1808">194.101</cx:pt>
          <cx:pt idx="1809">173.74780000000001</cx:pt>
          <cx:pt idx="1810">209.0318</cx:pt>
          <cx:pt idx="1811">191.58629999999999</cx:pt>
          <cx:pt idx="1812">178.3843</cx:pt>
          <cx:pt idx="1813">213.58959999999999</cx:pt>
          <cx:pt idx="1814">182.54920000000001</cx:pt>
          <cx:pt idx="1815">188.15485870000001</cx:pt>
          <cx:pt idx="1816">217.99029999999999</cx:pt>
          <cx:pt idx="1817">176.57689999999999</cx:pt>
          <cx:pt idx="1818">193.62950000000001</cx:pt>
          <cx:pt idx="1819">210.05340000000001</cx:pt>
          <cx:pt idx="1820">176.1054</cx:pt>
          <cx:pt idx="1821">216.18279999999999</cx:pt>
          <cx:pt idx="1822">266.8691</cx:pt>
          <cx:pt idx="1823">212.8038</cx:pt>
          <cx:pt idx="1824">266.79059999999998</cx:pt>
          <cx:pt idx="1825">231.50659999999999</cx:pt>
          <cx:pt idx="1826">261.13260000000002</cx:pt>
          <cx:pt idx="1827">229.5421</cx:pt>
          <cx:pt idx="1828">247.852</cx:pt>
          <cx:pt idx="1829">244.86396350000001</cx:pt>
          <cx:pt idx="1830">238.88332879999999</cx:pt>
          <cx:pt idx="1831">229.77780000000001</cx:pt>
          <cx:pt idx="1832">258.93220000000002</cx:pt>
          <cx:pt idx="1833">234.41419999999999</cx:pt>
          <cx:pt idx="1834">243.02631289999999</cx:pt>
          <cx:pt idx="1835">251.70259999999999</cx:pt>
          <cx:pt idx="1836">218.77610000000001</cx:pt>
          <cx:pt idx="1837">250.0523</cx:pt>
          <cx:pt idx="1838">235.0429</cx:pt>
          <cx:pt idx="1839">251.33732180000001</cx:pt>
          <cx:pt idx="1840">251.46690000000001</cx:pt>
          <cx:pt idx="1841">239.5222</cx:pt>
          <cx:pt idx="1842">252.88130000000001</cx:pt>
          <cx:pt idx="1843">242.35120000000001</cx:pt>
          <cx:pt idx="1844">253.6671</cx:pt>
          <cx:pt idx="1845">237.00749999999999</cx:pt>
          <cx:pt idx="1846">247.9306</cx:pt>
          <cx:pt idx="1847">236.2216</cx:pt>
          <cx:pt idx="1848">253.58860000000001</cx:pt>
          <cx:pt idx="1849">228.4419</cx:pt>
          <cx:pt idx="1850">256.18180000000001</cx:pt>
          <cx:pt idx="1851">238.50059999999999</cx:pt>
          <cx:pt idx="1852">254.61019999999999</cx:pt>
          <cx:pt idx="1853">227.65610000000001</cx:pt>
          <cx:pt idx="1854">248.40209999999999</cx:pt>
          <cx:pt idx="1855">221.2122</cx:pt>
          <cx:pt idx="1856">262.70420000000001</cx:pt>
          <cx:pt idx="1857">235.8287</cx:pt>
          <cx:pt idx="1858">248.92250960000001</cx:pt>
          <cx:pt idx="1859">262.2328</cx:pt>
          <cx:pt idx="1860">225.1414</cx:pt>
          <cx:pt idx="1861">249.58080000000001</cx:pt>
          <cx:pt idx="1862">234.41419999999999</cx:pt>
          <cx:pt idx="1863">254.8459</cx:pt>
          <cx:pt idx="1864">227.18459999999999</cx:pt>
          <cx:pt idx="1865">245.2587</cx:pt>
          <cx:pt idx="1866">229.6207</cx:pt>
          <cx:pt idx="1867">254.76730000000001</cx:pt>
          <cx:pt idx="1868">236.69309999999999</cx:pt>
          <cx:pt idx="1869">247.38050000000001</cx:pt>
          <cx:pt idx="1870">233.86420000000001</cx:pt>
          <cx:pt idx="1871">255.78890000000001</cx:pt>
          <cx:pt idx="1872">233.70699999999999</cx:pt>
          <cx:pt idx="1873">254.8459</cx:pt>
          <cx:pt idx="1874">234.88570000000001</cx:pt>
          <cx:pt idx="1875">249.738</cx:pt>
          <cx:pt idx="1876">238.10769999999999</cx:pt>
          <cx:pt idx="1877">255.5532</cx:pt>
          <cx:pt idx="1878">242.0368</cx:pt>
          <cx:pt idx="1879">251.5528219</cx:pt>
          <cx:pt idx="1880">261.28969999999998</cx:pt>
          <cx:pt idx="1881">237.79329999999999</cx:pt>
          <cx:pt idx="1882">251.9383</cx:pt>
          <cx:pt idx="1883">228.28469999999999</cx:pt>
          <cx:pt idx="1884">264.11869999999999</cx:pt>
          <cx:pt idx="1885">238.422</cx:pt>
          <cx:pt idx="1886">267.73360000000002</cx:pt>
          <cx:pt idx="1887">225.6129</cx:pt>
          <cx:pt idx="1888">253.0385</cx:pt>
          <cx:pt idx="1889">224.5127</cx:pt>
          <cx:pt idx="1890">265.76900000000001</cx:pt>
          <cx:pt idx="1891">237.55760000000001</cx:pt>
          <cx:pt idx="1892">261.76119999999997</cx:pt>
          <cx:pt idx="1893">220.97649999999999</cx:pt>
          <cx:pt idx="1894">252.01689999999999</cx:pt>
          <cx:pt idx="1895">239.9151</cx:pt>
          <cx:pt idx="1896">259.6395</cx:pt>
          <cx:pt idx="1897">235.8287</cx:pt>
          <cx:pt idx="1898">250.20949999999999</cx:pt>
          <cx:pt idx="1899">236.06450000000001</cx:pt>
          <cx:pt idx="1900">258.30360000000002</cx:pt>
          <cx:pt idx="1901">235.35720000000001</cx:pt>
          <cx:pt idx="1902">256.0247</cx:pt>
          <cx:pt idx="1903">237.3218</cx:pt>
          <cx:pt idx="1904">255.6317</cx:pt>
          <cx:pt idx="1905">229.5421</cx:pt>
          <cx:pt idx="1906">261.28969999999998</cx:pt>
          <cx:pt idx="1907">240.9366</cx:pt>
          <cx:pt idx="1908">248.83621199999999</cx:pt>
          <cx:pt idx="1909">256.7319</cx:pt>
          <cx:pt idx="1910">227.10599999999999</cx:pt>
          <cx:pt idx="1911">252.9599</cx:pt>
          <cx:pt idx="1912">231.11369999999999</cx:pt>
          <cx:pt idx="1913">266.47629999999998</cx:pt>
          <cx:pt idx="1914">224.59129999999999</cx:pt>
          <cx:pt idx="1915">246.51609999999999</cx:pt>
          <cx:pt idx="1916">260.7396</cx:pt>
          <cx:pt idx="1917">228.36330000000001</cx:pt>
          <cx:pt idx="1918">257.98930000000001</cx:pt>
          <cx:pt idx="1919">233.9427</cx:pt>
          <cx:pt idx="1920">257.83210000000003</cx:pt>
          <cx:pt idx="1921">228.36330000000001</cx:pt>
          <cx:pt idx="1922">247.69479999999999</cx:pt>
          <cx:pt idx="1923">236.7236595</cx:pt>
          <cx:pt idx="1924">230.87799999999999</cx:pt>
          <cx:pt idx="1925">257.20339999999999</cx:pt>
          <cx:pt idx="1926">242.11539999999999</cx:pt>
          <cx:pt idx="1927">246.29585879999999</cx:pt>
          <cx:pt idx="1928">254.68870000000001</cx:pt>
          <cx:pt idx="1929">233.2355</cx:pt>
          <cx:pt idx="1930">254.68870000000001</cx:pt>
          <cx:pt idx="1931">233.70699999999999</cx:pt>
          <cx:pt idx="1932">254.06010000000001</cx:pt>
          <cx:pt idx="1933">240.2294</cx:pt>
          <cx:pt idx="1934">252.09549999999999</cx:pt>
          <cx:pt idx="1935">230.79939999999999</cx:pt>
          <cx:pt idx="1936">266.39760000000001</cx:pt>
          <cx:pt idx="1937">242.90119999999999</cx:pt>
          <cx:pt idx="1938">266.39760000000001</cx:pt>
          <cx:pt idx="1939">230.87799999999999</cx:pt>
          <cx:pt idx="1940">249.0308</cx:pt>
          <cx:pt idx="1941">230.0136</cx:pt>
          <cx:pt idx="1942">264.74740000000003</cx:pt>
          <cx:pt idx="1943">237.55760000000001</cx:pt>
          <cx:pt idx="1944">263.2543</cx:pt>
          <cx:pt idx="1945">229.2277</cx:pt>
          <cx:pt idx="1946">252.56700000000001</cx:pt>
          <cx:pt idx="1947">227.97040000000001</cx:pt>
          <cx:pt idx="1948">260.58249999999998</cx:pt>
          <cx:pt idx="1949">238.89349999999999</cx:pt>
          <cx:pt idx="1950">249.738</cx:pt>
          <cx:pt idx="1951">225.6129</cx:pt>
          <cx:pt idx="1952">254.61019999999999</cx:pt>
          <cx:pt idx="1953">241.01519999999999</cx:pt>
          <cx:pt idx="1954">245.01128969999999</cx:pt>
          <cx:pt idx="1955">252.88130000000001</cx:pt>
          <cx:pt idx="1956">239.99359999999999</cx:pt>
          <cx:pt idx="1957">258.85359999999997</cx:pt>
          <cx:pt idx="1958">235.7501</cx:pt>
          <cx:pt idx="1959">251.8597</cx:pt>
          <cx:pt idx="1960">242.2507646</cx:pt>
          <cx:pt idx="1961">232.5283</cx:pt>
          <cx:pt idx="1962">265.61180000000002</cx:pt>
          <cx:pt idx="1963">242.35120000000001</cx:pt>
          <cx:pt idx="1964">268.99090000000001</cx:pt>
          <cx:pt idx="1965">231.50659999999999</cx:pt>
          <cx:pt idx="1966">251.78120000000001</cx:pt>
          <cx:pt idx="1967">233.86420000000001</cx:pt>
          <cx:pt idx="1968">268.7552</cx:pt>
          <cx:pt idx="1969">243.29419999999999</cx:pt>
          <cx:pt idx="1970">262.1542</cx:pt>
          <cx:pt idx="1971">223.49109999999999</cx:pt>
          <cx:pt idx="1972">254.61019999999999</cx:pt>
          <cx:pt idx="1973">235.98589999999999</cx:pt>
          <cx:pt idx="1974">261.21120000000002</cx:pt>
          <cx:pt idx="1975">242.4298</cx:pt>
          <cx:pt idx="1976">254.68870000000001</cx:pt>
          <cx:pt idx="1977">232.2139</cx:pt>
          <cx:pt idx="1978">252.01689999999999</cx:pt>
          <cx:pt idx="1979">239.99359999999999</cx:pt>
          <cx:pt idx="1980">256.49619999999999</cx:pt>
          <cx:pt idx="1981">241.09379999999999</cx:pt>
          <cx:pt idx="1982">253.58860000000001</cx:pt>
          <cx:pt idx="1983">248.61084339999999</cx:pt>
          <cx:pt idx="1984">238.422</cx:pt>
          <cx:pt idx="1985">253.82429999999999</cx:pt>
          <cx:pt idx="1986">240.38659999999999</cx:pt>
          <cx:pt idx="1987">254.5316</cx:pt>
          <cx:pt idx="1988">228.04900000000001</cx:pt>
          <cx:pt idx="1989">257.36059999999998</cx:pt>
          <cx:pt idx="1990">229.69919999999999</cx:pt>
          <cx:pt idx="1991">265.53320000000002</cx:pt>
          <cx:pt idx="1992">242.11539999999999</cx:pt>
          <cx:pt idx="1993">265.4547</cx:pt>
          <cx:pt idx="1994">227.7346</cx:pt>
          <cx:pt idx="1995">254.92449999999999</cx:pt>
          <cx:pt idx="1996">232.9212</cx:pt>
          <cx:pt idx="1997">266.16199999999998</cx:pt>
          <cx:pt idx="1998">235.90729999999999</cx:pt>
          <cx:pt idx="1999">261.05399999999997</cx:pt>
          <cx:pt idx="2000">229.14920000000001</cx:pt>
          <cx:pt idx="2001">256.7319</cx:pt>
          <cx:pt idx="2002">231.66390000000001</cx:pt>
          <cx:pt idx="2003">258.14640000000003</cx:pt>
          <cx:pt idx="2004">234.88570000000001</cx:pt>
          <cx:pt idx="2005">246.67320000000001</cx:pt>
          <cx:pt idx="2006">230.95660000000001</cx:pt>
          <cx:pt idx="2007">258.69650000000001</cx:pt>
          <cx:pt idx="2008">246.4375</cx:pt>
          <cx:pt idx="2009">257.36059999999998</cx:pt>
          <cx:pt idx="2010">238.0291</cx:pt>
          <cx:pt idx="2011">256.18180000000001</cx:pt>
          <cx:pt idx="2012">230.7208</cx:pt>
          <cx:pt idx="2013">267.89069999999998</cx:pt>
          <cx:pt idx="2014">240.38659999999999</cx:pt>
          <cx:pt idx="2015">252.2889687</cx:pt>
          <cx:pt idx="2016">264.19729999999998</cx:pt>
          <cx:pt idx="2017">240.38659999999999</cx:pt>
          <cx:pt idx="2018">251.70259999999999</cx:pt>
          <cx:pt idx="2019">241.16985769999999</cx:pt>
          <cx:pt idx="2020">230.79939999999999</cx:pt>
          <cx:pt idx="2021">262.2328</cx:pt>
          <cx:pt idx="2022">240.07220000000001</cx:pt>
          <cx:pt idx="2023">264.11869999999999</cx:pt>
          <cx:pt idx="2024">227.65610000000001</cx:pt>
          <cx:pt idx="2025">250.99529999999999</cx:pt>
          <cx:pt idx="2026">236.8503</cx:pt>
          <cx:pt idx="2027">264.74740000000003</cx:pt>
          <cx:pt idx="2028">238.50059999999999</cx:pt>
          <cx:pt idx="2029">259.6395</cx:pt>
          <cx:pt idx="2030">227.65610000000001</cx:pt>
          <cx:pt idx="2031">258.46080000000001</cx:pt>
          <cx:pt idx="2032">247.852</cx:pt>
          <cx:pt idx="2033">233.6284</cx:pt>
          <cx:pt idx="2034">261.44690000000003</cx:pt>
          <cx:pt idx="2035">244.47290000000001</cx:pt>
          <cx:pt idx="2036">254.61019999999999</cx:pt>
          <cx:pt idx="2037">240.30799999999999</cx:pt>
          <cx:pt idx="2038">255.16030000000001</cx:pt>
          <cx:pt idx="2039">240.9366</cx:pt>
          <cx:pt idx="2040">257.28199999999998</cx:pt>
          <cx:pt idx="2041">232.99969999999999</cx:pt>
          <cx:pt idx="2042">260.11090000000002</cx:pt>
          <cx:pt idx="2043">245.2587</cx:pt>
          <cx:pt idx="2044">255.71029999999999</cx:pt>
          <cx:pt idx="2045">228.36330000000001</cx:pt>
          <cx:pt idx="2046">272.21280000000002</cx:pt>
          <cx:pt idx="2047">243.05840000000001</cx:pt>
          <cx:pt idx="2048">259.16800000000001</cx:pt>
          <cx:pt idx="2049">229.46350000000001</cx:pt>
          <cx:pt idx="2050">255.86750000000001</cx:pt>
          <cx:pt idx="2051">230.24930000000001</cx:pt>
          <cx:pt idx="2052">266.8691</cx:pt>
          <cx:pt idx="2053">234.96430000000001</cx:pt>
          <cx:pt idx="2054">249.738</cx:pt>
          <cx:pt idx="2055">261.21120000000002</cx:pt>
          <cx:pt idx="2056">230.3279</cx:pt>
          <cx:pt idx="2057">256.41759999999999</cx:pt>
          <cx:pt idx="2058">241.48670000000001</cx:pt>
          <cx:pt idx="2059">262.07560000000001</cx:pt>
          <cx:pt idx="2060">235.7501</cx:pt>
          <cx:pt idx="2061">256.81049999999999</cx:pt>
          <cx:pt idx="2062">245.7302</cx:pt>
          <cx:pt idx="2063">255.22523849999999</cx:pt>
          <cx:pt idx="2064">256.41759999999999</cx:pt>
          <cx:pt idx="2065">250.1898004</cx:pt>
          <cx:pt idx="2066">243.76560000000001</cx:pt>
          <cx:pt idx="2067">262.31130000000002</cx:pt>
          <cx:pt idx="2068">234.49279999999999</cx:pt>
          <cx:pt idx="2069">261.44690000000003</cx:pt>
          <cx:pt idx="2070">249.3451</cx:pt>
          <cx:pt idx="2071">227.97040000000001</cx:pt>
          <cx:pt idx="2072">267.81220000000002</cx:pt>
          <cx:pt idx="2073">241.95820000000001</cx:pt>
          <cx:pt idx="2074">267.81220000000002</cx:pt>
          <cx:pt idx="2075">231.821</cx:pt>
          <cx:pt idx="2076">252.7242</cx:pt>
          <cx:pt idx="2077">237.87190000000001</cx:pt>
          <cx:pt idx="2078">263.01859999999999</cx:pt>
          <cx:pt idx="2079">229.69919999999999</cx:pt>
          <cx:pt idx="2080">241.48670000000001</cx:pt>
          <cx:pt idx="2081">263.2543</cx:pt>
          <cx:pt idx="2082">228.67760000000001</cx:pt>
          <cx:pt idx="2083">261.52550000000002</cx:pt>
          <cx:pt idx="2084">238.65770000000001</cx:pt>
          <cx:pt idx="2085">259.01080000000002</cx:pt>
          <cx:pt idx="2086">241.87970000000001</cx:pt>
          <cx:pt idx="2087">257.51769999999999</cx:pt>
          <cx:pt idx="2088">251.618504</cx:pt>
          <cx:pt idx="2089">238.97210000000001</cx:pt>
          <cx:pt idx="2090">252.9599</cx:pt>
          <cx:pt idx="2091">241.251</cx:pt>
          <cx:pt idx="2092">253.27420000000001</cx:pt>
          <cx:pt idx="2093">241.80109999999999</cx:pt>
          <cx:pt idx="2094">253.90289999999999</cx:pt>
          <cx:pt idx="2095">235.51439999999999</cx:pt>
          <cx:pt idx="2096">252.17410000000001</cx:pt>
          <cx:pt idx="2097">228.99199999999999</cx:pt>
          <cx:pt idx="2098">264.35449999999997</cx:pt>
          <cx:pt idx="2099">246.8304</cx:pt>
          <cx:pt idx="2100">233.86420000000001</cx:pt>
          <cx:pt idx="2101">264.82600000000002</cx:pt>
          <cx:pt idx="2102">243.137</cx:pt>
          <cx:pt idx="2103">256.339</cx:pt>
          <cx:pt idx="2104">235.4358</cx:pt>
          <cx:pt idx="2105">260.11090000000002</cx:pt>
          <cx:pt idx="2106">241.95820000000001</cx:pt>
          <cx:pt idx="2107">266.2405</cx:pt>
          <cx:pt idx="2108">232.44970000000001</cx:pt>
          <cx:pt idx="2109">249.26650000000001</cx:pt>
          <cx:pt idx="2110">260.89690000000002</cx:pt>
          <cx:pt idx="2111">231.89959999999999</cx:pt>
          <cx:pt idx="2112">256.81049999999999</cx:pt>
          <cx:pt idx="2113">242.82259999999999</cx:pt>
          <cx:pt idx="2114">254.5316</cx:pt>
          <cx:pt idx="2115">235.27860000000001</cx:pt>
          <cx:pt idx="2116">255.31739999999999</cx:pt>
          <cx:pt idx="2117">237.95050000000001</cx:pt>
          <cx:pt idx="2118">256.81049999999999</cx:pt>
          <cx:pt idx="2119">246.0446</cx:pt>
          <cx:pt idx="2120">261.76119999999997</cx:pt>
          <cx:pt idx="2121">240.07220000000001</cx:pt>
          <cx:pt idx="2122">244.03272480000001</cx:pt>
          <cx:pt idx="2123">252.6456</cx:pt>
          <cx:pt idx="2124">233.5498</cx:pt>
          <cx:pt idx="2125">257.4391</cx:pt>
          <cx:pt idx="2126">232.76400000000001</cx:pt>
          <cx:pt idx="2127">270.32679999999999</cx:pt>
          <cx:pt idx="2128">242.50829999999999</cx:pt>
          <cx:pt idx="2129">264.51170000000002</cx:pt>
          <cx:pt idx="2130">227.4203</cx:pt>
          <cx:pt idx="2131">266.00479999999999</cx:pt>
          <cx:pt idx="2132">247.30189999999999</cx:pt>
          <cx:pt idx="2133">240.6417328</cx:pt>
          <cx:pt idx="2134">227.3417</cx:pt>
          <cx:pt idx="2135">275.98480000000001</cx:pt>
          <cx:pt idx="2136">230.24930000000001</cx:pt>
          <cx:pt idx="2137">248.79499999999999</cx:pt>
          <cx:pt idx="2138">267.41930000000002</cx:pt>
          <cx:pt idx="2139">228.5205</cx:pt>
          <cx:pt idx="2140">263.3329</cx:pt>
          <cx:pt idx="2141">243.4513</cx:pt>
          <cx:pt idx="2142">261.21120000000002</cx:pt>
          <cx:pt idx="2143">231.11369999999999</cx:pt>
          <cx:pt idx="2144">257.83210000000003</cx:pt>
          <cx:pt idx="2145">234.88570000000001</cx:pt>
          <cx:pt idx="2146">260.81819999999999</cx:pt>
          <cx:pt idx="2147">246.28030000000001</cx:pt>
          <cx:pt idx="2148">253.9611491</cx:pt>
          <cx:pt idx="2149">256.57470000000001</cx:pt>
          <cx:pt idx="2150">243.137</cx:pt>
          <cx:pt idx="2151">254.92449999999999</cx:pt>
          <cx:pt idx="2152">241.3295</cx:pt>
          <cx:pt idx="2153">256.88900000000001</cx:pt>
          <cx:pt idx="2154">245.88740000000001</cx:pt>
          <cx:pt idx="2155">260.81819999999999</cx:pt>
          <cx:pt idx="2156">233.39259999999999</cx:pt>
          <cx:pt idx="2157">259.01080000000002</cx:pt>
          <cx:pt idx="2158">244.5515</cx:pt>
          <cx:pt idx="2159">262.1542</cx:pt>
          <cx:pt idx="2160">237.6362</cx:pt>
          <cx:pt idx="2161">259.01080000000002</cx:pt>
          <cx:pt idx="2162">229.935</cx:pt>
          <cx:pt idx="2163">268.51940000000002</cx:pt>
          <cx:pt idx="2164">239.99359999999999</cx:pt>
          <cx:pt idx="2165">266.47629999999998</cx:pt>
          <cx:pt idx="2166">232.5283</cx:pt>
          <cx:pt idx="2167">262.46850000000001</cx:pt>
          <cx:pt idx="2168">248.6378</cx:pt>
          <cx:pt idx="2169">262.5471</cx:pt>
          <cx:pt idx="2170">231.27090000000001</cx:pt>
          <cx:pt idx="2171">248.3235</cx:pt>
          <cx:pt idx="2172">232.99969999999999</cx:pt>
          <cx:pt idx="2173">259.3252</cx:pt>
          <cx:pt idx="2174">245.41589999999999</cx:pt>
          <cx:pt idx="2175">256.0247</cx:pt>
          <cx:pt idx="2176">244.86580000000001</cx:pt>
          <cx:pt idx="2177">255.71029999999999</cx:pt>
          <cx:pt idx="2178">245.2587</cx:pt>
          <cx:pt idx="2179">255.78890000000001</cx:pt>
          <cx:pt idx="2180">242.7441</cx:pt>
          <cx:pt idx="2181">262.62569999999999</cx:pt>
          <cx:pt idx="2182">233.70699999999999</cx:pt>
          <cx:pt idx="2183">249.0308</cx:pt>
          <cx:pt idx="2184">228.75620000000001</cx:pt>
          <cx:pt idx="2185">261.13260000000002</cx:pt>
          <cx:pt idx="2186">247.45910000000001</cx:pt>
          <cx:pt idx="2187">269.61959999999999</cx:pt>
          <cx:pt idx="2188">234.3356</cx:pt>
          <cx:pt idx="2189">253.11709999999999</cx:pt>
          <cx:pt idx="2190">230.6422</cx:pt>
          <cx:pt idx="2191">266.00479999999999</cx:pt>
          <cx:pt idx="2192">235.98589999999999</cx:pt>
          <cx:pt idx="2193">263.41149999999999</cx:pt>
          <cx:pt idx="2194">233.3141</cx:pt>
          <cx:pt idx="2195">253.6671</cx:pt>
          <cx:pt idx="2196">239.60069999999999</cx:pt>
          <cx:pt idx="2197">260.50389999999999</cx:pt>
          <cx:pt idx="2198">243.9228</cx:pt>
          <cx:pt idx="2199">255.86750000000001</cx:pt>
          <cx:pt idx="2200">234.96430000000001</cx:pt>
          <cx:pt idx="2201">256.339</cx:pt>
          <cx:pt idx="2202">244.39429999999999</cx:pt>
          <cx:pt idx="2203">266.8691</cx:pt>
          <cx:pt idx="2204">244.2372</cx:pt>
          <cx:pt idx="2205">256.6533</cx:pt>
          <cx:pt idx="2206">245.18010000000001</cx:pt>
          <cx:pt idx="2207">255.6317</cx:pt>
          <cx:pt idx="2208">237.08609999999999</cx:pt>
          <cx:pt idx="2209">255.78890000000001</cx:pt>
          <cx:pt idx="2210">234.57140000000001</cx:pt>
          <cx:pt idx="2211">259.01080000000002</cx:pt>
          <cx:pt idx="2212">237.2432</cx:pt>
          <cx:pt idx="2213">269.541</cx:pt>
          <cx:pt idx="2214">253.11709999999999</cx:pt>
          <cx:pt idx="2215">229.46350000000001</cx:pt>
          <cx:pt idx="2216">266.8691</cx:pt>
          <cx:pt idx="2217">238.57910000000001</cx:pt>
          <cx:pt idx="2218">252.44056169999999</cx:pt>
          <cx:pt idx="2219">266.08330000000001</cx:pt>
          <cx:pt idx="2220">237.7148</cx:pt>
          <cx:pt idx="2221">255.47460000000001</cx:pt>
          <cx:pt idx="2222">248.2348369</cx:pt>
          <cx:pt idx="2223">240.9366</cx:pt>
          <cx:pt idx="2224">257.51769999999999</cx:pt>
          <cx:pt idx="2225">244.15860000000001</cx:pt>
          <cx:pt idx="2226">254.29580000000001</cx:pt>
          <cx:pt idx="2227">239.9151</cx:pt>
          <cx:pt idx="2228">262.38990000000001</cx:pt>
          <cx:pt idx="2229">251.46690000000001</cx:pt>
          <cx:pt idx="2230">237.3218</cx:pt>
          <cx:pt idx="2231">261.28969999999998</cx:pt>
          <cx:pt idx="2232">249.2575497</cx:pt>
          <cx:pt idx="2233">237.3218</cx:pt>
          <cx:pt idx="2234">262.38990000000001</cx:pt>
          <cx:pt idx="2235">242.4298</cx:pt>
          <cx:pt idx="2236">265.53320000000002</cx:pt>
          <cx:pt idx="2237">230.24930000000001</cx:pt>
          <cx:pt idx="2238">256.96769999999998</cx:pt>
          <cx:pt idx="2239">230.87799999999999</cx:pt>
          <cx:pt idx="2240">274.25599999999997</cx:pt>
          <cx:pt idx="2241">239.8365</cx:pt>
          <cx:pt idx="2242">262.86149999999998</cx:pt>
          <cx:pt idx="2243">234.3356</cx:pt>
          <cx:pt idx="2244">259.9538</cx:pt>
          <cx:pt idx="2245">249.0811296</cx:pt>
          <cx:pt idx="2246">237.95050000000001</cx:pt>
          <cx:pt idx="2247">265.37610000000001</cx:pt>
          <cx:pt idx="2248">232.2139</cx:pt>
          <cx:pt idx="2249">248.87360000000001</cx:pt>
          <cx:pt idx="2250">260.7396</cx:pt>
          <cx:pt idx="2251">233.6284</cx:pt>
          <cx:pt idx="2252">259.16800000000001</cx:pt>
          <cx:pt idx="2253">252.6640299</cx:pt>
          <cx:pt idx="2254">246.35890000000001</cx:pt>
          <cx:pt idx="2255">259.6395</cx:pt>
          <cx:pt idx="2256">244.08000000000001</cx:pt>
          <cx:pt idx="2257">211.625</cx:pt>
          <cx:pt idx="2258">246.20140000000001</cx:pt>
          <cx:pt idx="2259">-2.0431680000000001</cx:pt>
          <cx:pt idx="2260">-1.7768141230000001</cx:pt>
          <cx:pt idx="2261">0.40523893799999999</cx:pt>
          <cx:pt idx="2262">0.58346490600000001</cx:pt>
          <cx:pt idx="2263">1.638636089</cx:pt>
          <cx:pt idx="2264">4.5234798989999998</cx:pt>
          <cx:pt idx="2265">4.7878637199999998</cx:pt>
          <cx:pt idx="2266">6.1032159249999998</cx:pt>
          <cx:pt idx="2267">8.4634949220000006</cx:pt>
          <cx:pt idx="2268">8.7298487999999992</cx:pt>
          <cx:pt idx="2269">8.9880597350000002</cx:pt>
          <cx:pt idx="2270">9.2563836990000006</cx:pt>
          <cx:pt idx="2271">9.5145946339999998</cx:pt>
          <cx:pt idx="2272">10.301310519999999</cx:pt>
          <cx:pt idx="2273">11.354511649999999</cx:pt>
          <cx:pt idx="2274">12.147400429999999</cx:pt>
          <cx:pt idx="2275">13.720963530000001</cx:pt>
          <cx:pt idx="2276">14.767991779999999</cx:pt>
          <cx:pt idx="2277">15.55877914</cx:pt>
          <cx:pt idx="2278">16.868089779999998</cx:pt>
          <cx:pt idx="2279">20.814277659999998</cx:pt>
          <cx:pt idx="2280">21.072357270000001</cx:pt>
          <cx:pt idx="2281">22.125558389999998</cx:pt>
          <cx:pt idx="2282">23.4368391</cx:pt>
          <cx:pt idx="2283">23.967445470000001</cx:pt>
          <cx:pt idx="2284">25.278726169999999</cx:pt>
          <cx:pt idx="2285">26.852289280000001</cx:pt>
          <cx:pt idx="2286">27.643208000000001</cx:pt>
          <cx:pt idx="2287">28.16567139</cx:pt>
          <cx:pt idx="2288">29.478922180000001</cx:pt>
          <cx:pt idx="2289">30.792304300000001</cx:pt>
          <cx:pt idx="2290">32.105686419999998</cx:pt>
          <cx:pt idx="2291">34.205784420000001</cx:pt>
          <cx:pt idx="2292">34.734420739999997</cx:pt>
          <cx:pt idx="2293">47.607535550000001</cx:pt>
          <cx:pt idx="2294">49.181098650000003</cx:pt>
          <cx:pt idx="2295">51.279095249999997</cx:pt>
          <cx:pt idx="2296">51.807731560000001</cx:pt>
          <cx:pt idx="2297">53.381294670000003</cx:pt>
          <cx:pt idx="2298">54.432394379999998</cx:pt>
          <cx:pt idx="2299">55.741573670000001</cx:pt>
          <cx:pt idx="2300">56.536563889999996</cx:pt>
          <cx:pt idx="2301">57.32130969</cx:pt>
          <cx:pt idx="2302">64.676774899999998</cx:pt>
          <cx:pt idx="2303">65.992258430000007</cx:pt>
          <cx:pt idx="2304">66.781075729999998</cx:pt>
          <cx:pt idx="2305">67.827972610000003</cx:pt>
          <cx:pt idx="2306">69.669991049999993</cx:pt>
          <cx:pt idx="2307">71.247625630000002</cx:pt>
          <cx:pt idx="2308">71.501633729999995</cx:pt>
          <cx:pt idx="2309">72.032371459999993</cx:pt>
          <cx:pt idx="2310">73.347723630000004</cx:pt>
          <cx:pt idx="2311">75.714175549999993</cx:pt>
          <cx:pt idx="2312">76.496819939999995</cx:pt>
          <cx:pt idx="2313">84.63913239</cx:pt>
          <cx:pt idx="2314">87.794401579999999</cx:pt>
          <cx:pt idx="2315">90.681346809999994</cx:pt>
          <cx:pt idx="2316">92.256879999999995</cx:pt>
          <cx:pt idx="2317">113.7102</cx:pt>
          <cx:pt idx="2318">118.7411626</cx:pt>
          <cx:pt idx="2319">128.8767</cx:pt>
          <cx:pt idx="2320">114.496</cx:pt>
          <cx:pt idx="2321">120.41792959999999</cx:pt>
          <cx:pt idx="2322">123.4470989</cx:pt>
          <cx:pt idx="2323">126.3621</cx:pt>
          <cx:pt idx="2324">134.61541629999999</cx:pt>
          <cx:pt idx="2325">142.8646</cx:pt>
          <cx:pt idx="2326">128.5624</cx:pt>
          <cx:pt idx="2327">127.1906314</cx:pt>
          <cx:pt idx="2328">125.81886280000001</cx:pt>
          <cx:pt idx="2329">124.44709400000001</cx:pt>
          <cx:pt idx="2330">121.6932532</cx:pt>
          <cx:pt idx="2331">116.195875</cx:pt>
          <cx:pt idx="2332">114.8454007</cx:pt>
          <cx:pt idx="2333">113.4420341</cx:pt>
          <cx:pt idx="2334">109.3377189</cx:pt>
          <cx:pt idx="2335">106.5838779</cx:pt>
          <cx:pt idx="2336">105.2231</cx:pt>
          <cx:pt idx="2337">-1.1717711799999999</cx:pt>
          <cx:pt idx="2338">-1.964585</cx:pt>
          <cx:pt idx="2339">-1.9645706949999999</cx:pt>
          <cx:pt idx="2340">-1.9645559379999999</cx:pt>
          <cx:pt idx="2341">-1.9645415239999999</cx:pt>
          <cx:pt idx="2342">-1.9645414080000001</cx:pt>
          <cx:pt idx="2343">-1.964526993</cx:pt>
          <cx:pt idx="2344">-1.964512346</cx:pt>
          <cx:pt idx="2345">-1.9644541209999999</cx:pt>
          <cx:pt idx="2346">-1.964425176</cx:pt>
          <cx:pt idx="2347">-1.964075899</cx:pt>
          <cx:pt idx="2348">-1.9640031360000001</cx:pt>
          <cx:pt idx="2349">-1.9639886129999999</cx:pt>
          <cx:pt idx="2350">-1.963973856</cx:pt>
          <cx:pt idx="2351">-1.963959435</cx:pt>
          <cx:pt idx="2352">-1.963886563</cx:pt>
          <cx:pt idx="2353">-1.9638721480000001</cx:pt>
          <cx:pt idx="2354">-1.9637703310000001</cx:pt>
          <cx:pt idx="2355">-1.963741153</cx:pt>
          <cx:pt idx="2356">-1.9636829280000001</cx:pt>
          <cx:pt idx="2357">-1.963668397</cx:pt>
          <cx:pt idx="2358">-1.9636538670000001</cx:pt>
          <cx:pt idx="2359">-1.963639336</cx:pt>
          <cx:pt idx="2360">-1.9636244629999999</cx:pt>
          <cx:pt idx="2361">-1.963537402</cx:pt>
          <cx:pt idx="2362">-1.963493701</cx:pt>
          <cx:pt idx="2363">-1.963450116</cx:pt>
          <cx:pt idx="2364">-1.963435469</cx:pt>
          <cx:pt idx="2365">-1.963406523</cx:pt>
          <cx:pt idx="2366">-1.963348291</cx:pt>
          <cx:pt idx="2367">-1.9633191210000001</cx:pt>
          <cx:pt idx="2368">-1.9633045899999999</cx:pt>
          <cx:pt idx="2369">-1.9632610049999999</cx:pt>
          <cx:pt idx="2370">-1.9632171869999999</cx:pt>
          <cx:pt idx="2371">-1.963159071</cx:pt>
          <cx:pt idx="2372">-1.9630861989999999</cx:pt>
          <cx:pt idx="2373">-1.962999022</cx:pt>
          <cx:pt idx="2374">-1.9629262590000001</cx:pt>
          <cx:pt idx="2375">-1.9628535030000001</cx:pt>
          <cx:pt idx="2376">-1.9627952710000001</cx:pt>
          <cx:pt idx="2377">-1.9627806240000001</cx:pt>
          <cx:pt idx="2378">-1.9627515689999999</cx:pt>
          <cx:pt idx="2379">-1.9626934460000001</cx:pt>
          <cx:pt idx="2380">-1.9626642759999999</cx:pt>
          <cx:pt idx="2381">-1.9626496360000001</cx:pt>
          <cx:pt idx="2382">-1.962576989</cx:pt>
          <cx:pt idx="2383">-1.9625477019999999</cx:pt>
          <cx:pt idx="2384">-1.9623877620000001</cx:pt>
          <cx:pt idx="2385">-1.9623587069999999</cx:pt>
          <cx:pt idx="2386">-1.9623003590000001</cx:pt>
          <cx:pt idx="2387">-1.9622713039999999</cx:pt>
          <cx:pt idx="2388">-1.9622422429999999</cx:pt>
          <cx:pt idx="2389">-1.962154956</cx:pt>
          <cx:pt idx="2390">-1.962096724</cx:pt>
          <cx:pt idx="2391">-1.962052906</cx:pt>
          <cx:pt idx="2392">-1.9619803760000001</cx:pt>
          <cx:pt idx="2393">-1.961878217</cx:pt>
          <cx:pt idx="2394">-1.9617620950000001</cx:pt>
          <cx:pt idx="2395">-1.9615728670000001</cx:pt>
          <cx:pt idx="2396">-1.9613543600000001</cx:pt>
          <cx:pt idx="2397">-1.961150835</cx:pt>
          <cx:pt idx="2398">-1.961136078</cx:pt>
          <cx:pt idx="2399">-1.9609759120000001</cx:pt>
          <cx:pt idx="2400">-1.960932444</cx:pt>
          <cx:pt idx="2401">-1.9608596810000001</cx:pt>
          <cx:pt idx="2402">-1.960786809</cx:pt>
          <cx:pt idx="2403">-1.9599864380000001</cx:pt>
          <cx:pt idx="2404">-1.9599573830000001</cx:pt>
          <cx:pt idx="2405">-1.9596813209999999</cx:pt>
          <cx:pt idx="2406">-1.9595208200000001</cx:pt>
          <cx:pt idx="2407">-1.9595062889999999</cx:pt>
          <cx:pt idx="2408">-1.9594630390000001</cx:pt>
          <cx:pt idx="2409">-1.9594189959999999</cx:pt>
          <cx:pt idx="2410">-1.959346349</cx:pt>
          <cx:pt idx="2411">-1.959331709</cx:pt>
          <cx:pt idx="2412">-1.959273593</cx:pt>
          <cx:pt idx="2413">-1.95917166</cx:pt>
          <cx:pt idx="2414">-1.959128067</cx:pt>
          <cx:pt idx="2415">-1.9590988970000001</cx:pt>
          <cx:pt idx="2416">-1.9590697260000001</cx:pt>
          <cx:pt idx="2417">-1.9590407809999999</cx:pt>
          <cx:pt idx="2418">-1.958968018</cx:pt>
          <cx:pt idx="2419">-1.9589243160000001</cx:pt>
          <cx:pt idx="2420">-1.958807626</cx:pt>
          <cx:pt idx="2421">-1.9587642670000001</cx:pt>
          <cx:pt idx="2422">-1.9586478030000001</cx:pt>
          <cx:pt idx="2423">-1.958589345</cx:pt>
          <cx:pt idx="2424">-1.9583275870000001</cx:pt>
          <cx:pt idx="2425">-1.9583131730000001</cx:pt>
          <cx:pt idx="2426">-1.9582840020000001</cx:pt>
          <cx:pt idx="2427">-1.9578183769999999</cx:pt>
          <cx:pt idx="2428">-1.9563484120000001</cx:pt>
          <cx:pt idx="2429">-1.9563339980000001</cx:pt>
          <cx:pt idx="2430">-1.955373577</cx:pt>
          <cx:pt idx="2431">-1.9533650060000001</cx:pt>
          <cx:pt idx="2432">-1.953263298</cx:pt>
          <cx:pt idx="2433">-1.9525795079999999</cx:pt>
          <cx:pt idx="2434">-1.952477349</cx:pt>
          <cx:pt idx="2435">-1.95217189</cx:pt>
          <cx:pt idx="2436">-1.9517353260000001</cx:pt>
          <cx:pt idx="2437">-1.9514588129999999</cx:pt>
          <cx:pt idx="2438">-1.95138605</cx:pt>
          <cx:pt idx="2439">-1.951357104</cx:pt>
          <cx:pt idx="2440">-1.950833255</cx:pt>
          <cx:pt idx="2441">-1.9508184980000001</cx:pt>
          <cx:pt idx="2442">-1.9507457349999999</cx:pt>
          <cx:pt idx="2443">-1.95067298</cx:pt>
          <cx:pt idx="2444">-1.950425753</cx:pt>
          <cx:pt idx="2445">-1.950105421</cx:pt>
          <cx:pt idx="2446">-1.948883025</cx:pt>
          <cx:pt idx="2447">-1.948621267</cx:pt>
          <cx:pt idx="2448">-1.948533748</cx:pt>
          <cx:pt idx="2449">-1.9484464610000001</cx:pt>
          <cx:pt idx="2450">-1.9483736979999999</cx:pt>
          <cx:pt idx="2451">-1.94825735</cx:pt>
          <cx:pt idx="2452">-1.9482281800000001</cx:pt>
          <cx:pt idx="2453">-1.948213765</cx:pt>
          <cx:pt idx="2454">-1.948199118</cx:pt>
          <cx:pt idx="2455">-1.948184704</cx:pt>
          <cx:pt idx="2456">-1.948126246</cx:pt>
          <cx:pt idx="2457">-1.9481261299999999</cx:pt>
          <cx:pt idx="2458">-1.948111599</cx:pt>
          <cx:pt idx="2459">-1.9480827700000001</cx:pt>
          <cx:pt idx="2460">-1.948082654</cx:pt>
          <cx:pt idx="2461">-1.9480535990000001</cx:pt>
          <cx:pt idx="2462">-1.9480391850000001</cx:pt>
          <cx:pt idx="2463">-1.9480244289999999</cx:pt>
          <cx:pt idx="2464">-1.948009898</cx:pt>
          <cx:pt idx="2465">-1.9479664219999999</cx:pt>
          <cx:pt idx="2466">-1.947951891</cx:pt>
          <cx:pt idx="2467">-1.9479227210000001</cx:pt>
          <cx:pt idx="2468">-1.9479079640000001</cx:pt>
          <cx:pt idx="2469">-1.9478206709999999</cx:pt>
          <cx:pt idx="2470">-1.947718853</cx:pt>
          <cx:pt idx="2471">-1.947617036</cx:pt>
          <cx:pt idx="2472">-1.947587865</cx:pt>
          <cx:pt idx="2473">-1.9475589200000001</cx:pt>
          <cx:pt idx="2474">-1.9475442730000001</cx:pt>
          <cx:pt idx="2475">-1.9475153279999999</cx:pt>
          <cx:pt idx="2476">-1.9474861569999999</cx:pt>
          <cx:pt idx="2477">-1.9474567540000001</cx:pt>
          <cx:pt idx="2478">-1.9474279249999999</cx:pt>
          <cx:pt idx="2479">-1.9474132850000001</cx:pt>
          <cx:pt idx="2480">-1.947398754</cx:pt>
          <cx:pt idx="2481">-1.9473842240000001</cx:pt>
          <cx:pt idx="2482">-1.947384107</cx:pt>
          <cx:pt idx="2483">-1.947369693</cx:pt>
          <cx:pt idx="2484">-1.947311461</cx:pt>
          <cx:pt idx="2485">-1.947253119</cx:pt>
          <cx:pt idx="2486">-1.9472530029999999</cx:pt>
          <cx:pt idx="2487">-1.947238705</cx:pt>
          <cx:pt idx="2488">-1.947224174</cx:pt>
          <cx:pt idx="2489">-1.9472096430000001</cx:pt>
          <cx:pt idx="2490">-1.9471805820000001</cx:pt>
          <cx:pt idx="2491">-1.947136771</cx:pt>
          <cx:pt idx="2492">-1.94710771</cx:pt>
          <cx:pt idx="2493">-1.9470931789999999</cx:pt>
          <cx:pt idx="2494">-1.947078656</cx:pt>
          <cx:pt idx="2495">-1.947064125</cx:pt>
          <cx:pt idx="2496">-1.9470640079999999</cx:pt>
          <cx:pt idx="2497">-1.9470347210000001</cx:pt>
          <cx:pt idx="2498">-1.9470203070000001</cx:pt>
          <cx:pt idx="2499">-1.9470057759999999</cx:pt>
          <cx:pt idx="2500">-1.946991245</cx:pt>
          <cx:pt idx="2501">-1.946976722</cx:pt>
          <cx:pt idx="2502">-1.9469623</cx:pt>
          <cx:pt idx="2503">-1.9469330199999999</cx:pt>
          <cx:pt idx="2504">-1.9469184900000001</cx:pt>
          <cx:pt idx="2505">-1.946904075</cx:pt>
          <cx:pt idx="2506">-1.9468603739999999</cx:pt>
          <cx:pt idx="2507">-1.9468457269999999</cx:pt>
          <cx:pt idx="2508">-1.9468019089999999</cx:pt>
          <cx:pt idx="2509">-1.946772964</cx:pt>
          <cx:pt idx="2510">-1.946744019</cx:pt>
          <cx:pt idx="2511">-1.9467147389999999</cx:pt>
          <cx:pt idx="2512">-1.946685794</cx:pt>
          <cx:pt idx="2513">-1.9466566160000001</cx:pt>
          <cx:pt idx="2514">-1.946642092</cx:pt>
          <cx:pt idx="2515">-1.946598158</cx:pt>
          <cx:pt idx="2516">-1.9465692130000001</cx:pt>
          <cx:pt idx="2517">-1.946554798</cx:pt>
          <cx:pt idx="2518">-1.9465402679999999</cx:pt>
          <cx:pt idx="2519">-1.9465255109999999</cx:pt>
          <cx:pt idx="2520">-1.946496566</cx:pt>
          <cx:pt idx="2521">-1.946452981</cx:pt>
          <cx:pt idx="2522">-1.946438334</cx:pt>
          <cx:pt idx="2523">-1.9463946329999999</cx:pt>
          <cx:pt idx="2524">-1.946365345</cx:pt>
          <cx:pt idx="2525">-1.9463510479999999</cx:pt>
          <cx:pt idx="2526">-1.9463218769999999</cx:pt>
          <cx:pt idx="2527">-1.9463074549999999</cx:pt>
          <cx:pt idx="2528">-1.9462054120000001</cx:pt>
          <cx:pt idx="2529">-1.946190882</cx:pt>
          <cx:pt idx="2530">-1.946059894</cx:pt>
          <cx:pt idx="2531">-1.9459433129999999</cx:pt>
          <cx:pt idx="2532">-1.945885423</cx:pt>
          <cx:pt idx="2533">-1.9458708920000001</cx:pt>
          <cx:pt idx="2534">-1.94578338</cx:pt>
          <cx:pt idx="2535">-1.9456816720000001</cx:pt>
          <cx:pt idx="2536">-1.9456669150000001</cx:pt>
          <cx:pt idx="2537">-1.9456233300000001</cx:pt>
          <cx:pt idx="2538">-1.9455943849999999</cx:pt>
          <cx:pt idx="2539">-1.945550567</cx:pt>
          <cx:pt idx="2540">-1.9455361529999999</cx:pt>
          <cx:pt idx="2541">-1.945521622</cx:pt>
          <cx:pt idx="2542">-1.9455067500000001</cx:pt>
          <cx:pt idx="2543">-1.94549211</cx:pt>
          <cx:pt idx="2544">-1.945477804</cx:pt>
          <cx:pt idx="2545">-1.9454486339999999</cx:pt>
          <cx:pt idx="2546">-1.9453906270000001</cx:pt>
          <cx:pt idx="2547">-1.9453761039999999</cx:pt>
          <cx:pt idx="2548">-1.945361573</cx:pt>
          <cx:pt idx="2549">-1.945288468</cx:pt>
          <cx:pt idx="2550">-1.945274054</cx:pt>
          <cx:pt idx="2551">-1.9452451079999999</cx:pt>
          <cx:pt idx="2552">-1.9452303520000001</cx:pt>
          <cx:pt idx="2553">-1.9452160469999999</cx:pt>
          <cx:pt idx="2554">-1.9452158209999999</cx:pt>
          <cx:pt idx="2555">-1.9449247839999999</cx:pt>
          <cx:pt idx="2556">-1.9448517949999999</cx:pt>
          <cx:pt idx="2557">-1.9447792580000001</cx:pt>
          <cx:pt idx="2558">-1.9446920809999999</cx:pt>
          <cx:pt idx="2559">-1.9446775569999999</cx:pt>
          <cx:pt idx="2560">-1.944663026</cx:pt>
          <cx:pt idx="2561">-1.9446482700000001</cx:pt>
          <cx:pt idx="2562">-1.944459275</cx:pt>
          <cx:pt idx="2563">-1.944430214</cx:pt>
          <cx:pt idx="2564">-1.9443863960000001</cx:pt>
          <cx:pt idx="2565">-1.9442554080000001</cx:pt>
          <cx:pt idx="2566">-1.9441537</cx:pt>
          <cx:pt idx="2567">-1.9441099989999999</cx:pt>
          <cx:pt idx="2568">-1.944109882</cx:pt>
          <cx:pt idx="2569">-1.944080711</cx:pt>
          <cx:pt idx="2570">-1.944037236</cx:pt>
          <cx:pt idx="2571">-1.944022712</cx:pt>
          <cx:pt idx="2572">-1.9439934249999999</cx:pt>
          <cx:pt idx="2573">-1.9439643630000001</cx:pt>
          <cx:pt idx="2574">-1.9439499490000001</cx:pt>
          <cx:pt idx="2575">-1.9439354179999999</cx:pt>
          <cx:pt idx="2576">-1.943920662</cx:pt>
          <cx:pt idx="2577">-1.943906248</cx:pt>
          <cx:pt idx="2578">-1.9439061310000001</cx:pt>
          <cx:pt idx="2579">-1.9438917170000001</cx:pt>
          <cx:pt idx="2580">-1.943877077</cx:pt>
          <cx:pt idx="2581">-1.9438480149999999</cx:pt>
          <cx:pt idx="2582">-1.9438189539999999</cx:pt>
          <cx:pt idx="2583">-1.943673435</cx:pt>
          <cx:pt idx="2584">-1.9436587949999999</cx:pt>
          <cx:pt idx="2585">-1.9436006720000001</cx:pt>
          <cx:pt idx="2586">-1.9435701409999999</cx:pt>
          <cx:pt idx="2587">-1.94351316</cx:pt>
          <cx:pt idx="2588">-1.943469568</cx:pt>
          <cx:pt idx="2589">-1.9433823910000001</cx:pt>
          <cx:pt idx="2590">-1.9432658169999999</cx:pt>
          <cx:pt idx="2591">-1.9432514030000001</cx:pt>
          <cx:pt idx="2592">-1.9432368719999999</cx:pt>
          <cx:pt idx="2593">-1.9432221160000001</cx:pt>
          <cx:pt idx="2594">-1.943207017</cx:pt>
          <cx:pt idx="2595">-1.94319317</cx:pt>
          <cx:pt idx="2596">-1.94317864</cx:pt>
          <cx:pt idx="2597">-1.943149585</cx:pt>
          <cx:pt idx="2598">-1.9430911280000001</cx:pt>
          <cx:pt idx="2599">-1.9430768220000001</cx:pt>
          <cx:pt idx="2600">-1.943047652</cx:pt>
          <cx:pt idx="2601">-1.943033121</cx:pt>
          <cx:pt idx="2602">-1.943003834</cx:pt>
          <cx:pt idx="2603">-1.9429603580000001</cx:pt>
          <cx:pt idx="2604">-1.942916547</cx:pt>
          <cx:pt idx="2605">-1.9428873689999999</cx:pt>
          <cx:pt idx="2606">-1.94288726</cx:pt>
          <cx:pt idx="2607">-1.9428583150000001</cx:pt>
          <cx:pt idx="2608">-1.9428003089999999</cx:pt>
          <cx:pt idx="2609">-1.9427855519999999</cx:pt>
          <cx:pt idx="2610">-1.9427115450000001</cx:pt>
          <cx:pt idx="2611">-1.9426982660000001</cx:pt>
          <cx:pt idx="2612">-1.942683844</cx:pt>
          <cx:pt idx="2613">-1.9426544480000001</cx:pt>
          <cx:pt idx="2614">-1.9426400340000001</cx:pt>
          <cx:pt idx="2615">-1.942625619</cx:pt>
          <cx:pt idx="2616">-1.942610972</cx:pt>
          <cx:pt idx="2617">-1.942596558</cx:pt>
          <cx:pt idx="2618">-1.942582027</cx:pt>
          <cx:pt idx="2619">-1.9425672709999999</cx:pt>
          <cx:pt idx="2620">-1.942552856</cx:pt>
          <cx:pt idx="2621">-1.9425236859999999</cx:pt>
          <cx:pt idx="2622">-1.9425092639999999</cx:pt>
          <cx:pt idx="2623">-1.9424794169999999</cx:pt>
          <cx:pt idx="2624">-1.9423636360000001</cx:pt>
          <cx:pt idx="2625">-1.9423345750000001</cx:pt>
          <cx:pt idx="2626">-1.9422908729999999</cx:pt>
          <cx:pt idx="2627">-1.942275658</cx:pt>
          <cx:pt idx="2628">-1.942274982</cx:pt>
          <cx:pt idx="2629">-1.9421161760000001</cx:pt>
          <cx:pt idx="2630">-1.9420870059999999</cx:pt>
          <cx:pt idx="2631">-1.942057377</cx:pt>
          <cx:pt idx="2632">-1.9420567</cx:pt>
          <cx:pt idx="2633">-1.942014243</cx:pt>
          <cx:pt idx="2634">-1.9419707740000001</cx:pt>
          <cx:pt idx="2635">-1.941941487</cx:pt>
          <cx:pt idx="2636">-1.9419265050000001</cx:pt>
          <cx:pt idx="2637">-1.941912426</cx:pt>
          <cx:pt idx="2638">-1.9418978950000001</cx:pt>
          <cx:pt idx="2639">-1.9418833710000001</cx:pt>
          <cx:pt idx="2640">-1.9418689499999999</cx:pt>
          <cx:pt idx="2641">-1.9418538510000001</cx:pt>
          <cx:pt idx="2642">-1.9418395530000001</cx:pt>
          <cx:pt idx="2643">-1.9418251390000001</cx:pt>
          <cx:pt idx="2644">-1.941795852</cx:pt>
          <cx:pt idx="2645">-1.941767016</cx:pt>
          <cx:pt idx="2646">-1.941752492</cx:pt>
          <cx:pt idx="2647">-1.941723431</cx:pt>
          <cx:pt idx="2648">-1.9417087909999999</cx:pt>
          <cx:pt idx="2649">-1.941694144</cx:pt>
          <cx:pt idx="2650">-1.941665199</cx:pt>
          <cx:pt idx="2651">-1.9416506680000001</cx:pt>
          <cx:pt idx="2652">-1.941635344</cx:pt>
          <cx:pt idx="2653">-1.9416214970000001</cx:pt>
          <cx:pt idx="2654">-1.941592327</cx:pt>
          <cx:pt idx="2655">-1.9415776789999999</cx:pt>
          <cx:pt idx="2656">-1.9415630399999999</cx:pt>
          <cx:pt idx="2657">-1.9415487339999999</cx:pt>
          <cx:pt idx="2658">-1.941534211</cx:pt>
          <cx:pt idx="2659">-1.9415340940000001</cx:pt>
          <cx:pt idx="2660">-1.9415045820000001</cx:pt>
          <cx:pt idx="2661">-1.941388576</cx:pt>
          <cx:pt idx="2662">-1.94124305</cx:pt>
          <cx:pt idx="2663">-1.9410829999999999</cx:pt>
          <cx:pt idx="2664">-1.9410679019999999</cx:pt>
          <cx:pt idx="2665">-1.941053946</cx:pt>
          <cx:pt idx="2666">-1.9410394150000001</cx:pt>
          <cx:pt idx="2667">-1.9410247679999999</cx:pt>
          <cx:pt idx="2668">-1.940995255</cx:pt>
          <cx:pt idx="2669">-1.9409809570000001</cx:pt>
          <cx:pt idx="2670">-1.940922834</cx:pt>
          <cx:pt idx="2671">-1.940893889</cx:pt>
          <cx:pt idx="2672">-1.9408937799999999</cx:pt>
          <cx:pt idx="2673">-1.9408793660000001</cx:pt>
          <cx:pt idx="2674">-1.940821017</cx:pt>
          <cx:pt idx="2675">-1.9408064860000001</cx:pt>
          <cx:pt idx="2676">-1.940791395</cx:pt>
          <cx:pt idx="2677">-1.940762785</cx:pt>
          <cx:pt idx="2678">-1.9406027349999999</cx:pt>
          <cx:pt idx="2679">-1.94052998</cx:pt>
          <cx:pt idx="2680">-1.9404572170000001</cx:pt>
          <cx:pt idx="2681">-1.9404426859999999</cx:pt>
          <cx:pt idx="2682">-1.9404275879999999</cx:pt>
          <cx:pt idx="2683">-1.9404135149999999</cx:pt>
          <cx:pt idx="2684">-1.9403991009999999</cx:pt>
          <cx:pt idx="2685">-1.9403844539999999</cx:pt>
          <cx:pt idx="2686">-1.940369923</cx:pt>
          <cx:pt idx="2687">-1.9403554000000001</cx:pt>
          <cx:pt idx="2688">-1.940340752</cx:pt>
          <cx:pt idx="2689">-1.9402678799999999</cx:pt>
          <cx:pt idx="2690">-1.940195117</cx:pt>
          <cx:pt idx="2691">-1.9401080559999999</cx:pt>
          <cx:pt idx="2692">-1.9400934160000001</cx:pt>
          <cx:pt idx="2693">-1.9400642379999999</cx:pt>
          <cx:pt idx="2694">-1.940035068</cx:pt>
          <cx:pt idx="2695">-1.9400055549999999</cx:pt>
          <cx:pt idx="2696">-1.9399912500000001</cx:pt>
          <cx:pt idx="2697">-1.9399624209999999</cx:pt>
          <cx:pt idx="2698">-1.93994789</cx:pt>
          <cx:pt idx="2699">-1.939932792</cx:pt>
          <cx:pt idx="2700">-1.939918378</cx:pt>
          <cx:pt idx="2701">-1.939729609</cx:pt>
          <cx:pt idx="2702">-1.9396859070000001</cx:pt>
          <cx:pt idx="2703">-1.939453095</cx:pt>
          <cx:pt idx="2704">-1.9393366379999999</cx:pt>
          <cx:pt idx="2705">-1.9391469589999999</cx:pt>
          <cx:pt idx="2706">-1.939132319</cx:pt>
          <cx:pt idx="2707">-1.9391038249999999</cx:pt>
          <cx:pt idx="2708">-1.939089295</cx:pt>
          <cx:pt idx="2709">-1.9390455929999999</cx:pt>
          <cx:pt idx="2710">-1.939016648</cx:pt>
          <cx:pt idx="2711">-1.93900155</cx:pt>
          <cx:pt idx="2712">-1.9389581899999999</cx:pt>
          <cx:pt idx="2713">-1.9389435500000001</cx:pt>
          <cx:pt idx="2714">-1.938914147</cx:pt>
          <cx:pt idx="2715">-1.9388995069999999</cx:pt>
          <cx:pt idx="2716">-1.938870329</cx:pt>
          <cx:pt idx="2717">-1.938856031</cx:pt>
          <cx:pt idx="2718">-1.9388417259999999</cx:pt>
          <cx:pt idx="2719">-1.9387539810000001</cx:pt>
          <cx:pt idx="2720">-1.9387399089999999</cx:pt>
          <cx:pt idx="2721">-1.9387103960000001</cx:pt>
          <cx:pt idx="2722">-1.938681793</cx:pt>
          <cx:pt idx="2723">-1.9386672620000001</cx:pt>
          <cx:pt idx="2724">-1.9386522799999999</cx:pt>
          <cx:pt idx="2725">-1.938637975</cx:pt>
          <cx:pt idx="2726">-1.9386236699999999</cx:pt>
          <cx:pt idx="2727">-1.9386084619999999</cx:pt>
          <cx:pt idx="2728">-1.9385944989999999</cx:pt>
          <cx:pt idx="2729">-1.938579292</cx:pt>
          <cx:pt idx="2730">-1.938564986</cx:pt>
          <cx:pt idx="2731">-1.9385506880000001</cx:pt>
          <cx:pt idx="2732">-1.9385362669999999</cx:pt>
          <cx:pt idx="2733">-1.9385067540000001</cx:pt>
          <cx:pt idx="2734">-1.9384622600000001</cx:pt>
          <cx:pt idx="2735">-1.938389497</cx:pt>
          <cx:pt idx="2736">-1.9381869970000001</cx:pt>
          <cx:pt idx="2737">-1.937866782</cx:pt>
          <cx:pt idx="2738">-1.9376195549999999</cx:pt>
          <cx:pt idx="2739">-1.9372551870000001</cx:pt>
          <cx:pt idx="2740">-1.9372119370000001</cx:pt>
          <cx:pt idx="2741">-1.9371968390000001</cx:pt>
          <cx:pt idx="2742">-1.936934972</cx:pt>
          <cx:pt idx="2743">-1.9369206670000001</cx:pt>
          <cx:pt idx="2744">-1.9369063689999999</cx:pt>
          <cx:pt idx="2745">-1.9368766230000001</cx:pt>
          <cx:pt idx="2746">-1.9368623250000001</cx:pt>
          <cx:pt idx="2747">-1.9368337149999999</cx:pt>
          <cx:pt idx="2748">-1.936818624</cx:pt>
          <cx:pt idx="2749">-1.9367753729999999</cx:pt>
          <cx:pt idx="2750">-1.936716916</cx:pt>
          <cx:pt idx="2751">-1.9366875189999999</cx:pt>
          <cx:pt idx="2752">-1.9366735559999999</cx:pt>
          <cx:pt idx="2753">-1.9366584579999999</cx:pt>
          <cx:pt idx="2754">-1.9366298550000001</cx:pt>
          <cx:pt idx="2755">-1.9366002259999999</cx:pt>
          <cx:pt idx="2756">-1.9365716230000001</cx:pt>
          <cx:pt idx="2757">-1.9365570919999999</cx:pt>
          <cx:pt idx="2758">-1.9365279209999999</cx:pt>
          <cx:pt idx="2759">-1.9365128229999999</cx:pt>
          <cx:pt idx="2760">-1.936512255</cx:pt>
          <cx:pt idx="2761">-1.9364842200000001</cx:pt>
          <cx:pt idx="2762">-1.9364699139999999</cx:pt>
          <cx:pt idx="2763">-1.9364552749999999</cx:pt>
          <cx:pt idx="2764">-1.9364401760000001</cx:pt>
          <cx:pt idx="2765">-1.936411573</cx:pt>
          <cx:pt idx="2766">-1.936382512</cx:pt>
          <cx:pt idx="2767">-1.9363674129999999</cx:pt>
          <cx:pt idx="2768">-1.9363667369999999</cx:pt>
          <cx:pt idx="2769">-1.936353115</cx:pt>
          <cx:pt idx="2770">-1.9363237120000001</cx:pt>
          <cx:pt idx="2771">-1.9363231439999999</cx:pt>
          <cx:pt idx="2772">-1.9361931750000001</cx:pt>
          <cx:pt idx="2773">-1.93617887</cx:pt>
          <cx:pt idx="2774">-1.936163662</cx:pt>
          <cx:pt idx="2775">-1.9361493569999999</cx:pt>
          <cx:pt idx="2776">-1.9361350589999999</cx:pt>
          <cx:pt idx="2777">-1.9361056560000001</cx:pt>
          <cx:pt idx="2778">-1.936076259</cx:pt>
          <cx:pt idx="2779">-1.9360619539999999</cx:pt>
          <cx:pt idx="2780">-1.936047656</cx:pt>
          <cx:pt idx="2781">-1.9360333510000001</cx:pt>
          <cx:pt idx="2782">-1.93598965</cx:pt>
          <cx:pt idx="2783">-1.9356838489999999</cx:pt>
          <cx:pt idx="2784">-1.9356693250000001</cx:pt>
          <cx:pt idx="2785">-1.9355966790000001</cx:pt>
          <cx:pt idx="2786">-1.9353771449999999</cx:pt>
          <cx:pt idx="2787">-1.935363408</cx:pt>
          <cx:pt idx="2788">-1.9351889440000001</cx:pt>
          <cx:pt idx="2789">-1.9351595479999999</cx:pt>
          <cx:pt idx="2790">-1.93502912</cx:pt>
          <cx:pt idx="2791">-1.9348538630000001</cx:pt>
          <cx:pt idx="2792">-1.9348252530000001</cx:pt>
          <cx:pt idx="2793">-1.9347958569999999</cx:pt>
          <cx:pt idx="2794">-1.9347815509999999</cx:pt>
          <cx:pt idx="2795">-1.934767253</cx:pt>
          <cx:pt idx="2796">-1.934752155</cx:pt>
          <cx:pt idx="2797">-1.934737741</cx:pt>
          <cx:pt idx="2798">-1.9347235519999999</cx:pt>
          <cx:pt idx="2799">-1.9346941479999999</cx:pt>
          <cx:pt idx="2800">-1.93467985</cx:pt>
          <cx:pt idx="2801">-1.934664752</cx:pt>
          <cx:pt idx="2802">-1.934650105</cx:pt>
          <cx:pt idx="2803">-1.9346495370000001</cx:pt>
          <cx:pt idx="2804">-1.934635807</cx:pt>
          <cx:pt idx="2805">-1.9346215019999999</cx:pt>
          <cx:pt idx="2806">-1.934607204</cx:pt>
          <cx:pt idx="2807">-1.934592557</cx:pt>
          <cx:pt idx="2808">-1.9345634949999999</cx:pt>
          <cx:pt idx="2809">-1.9345484040000001</cx:pt>
          <cx:pt idx="2810">-1.9344903980000001</cx:pt>
          <cx:pt idx="2811">-1.9344760919999999</cx:pt>
          <cx:pt idx="2812">-1.934446696</cx:pt>
          <cx:pt idx="2813">-1.9344173</cx:pt>
          <cx:pt idx="2814">-1.9344029949999999</cx:pt>
          <cx:pt idx="2815">-1.934344879</cx:pt>
          <cx:pt idx="2816">-1.9339807360000001</cx:pt>
          <cx:pt idx="2817">-1.933966431</cx:pt>
          <cx:pt idx="2818">-1.9339521260000001</cx:pt>
          <cx:pt idx="2819">-1.9339227299999999</cx:pt>
          <cx:pt idx="2820">-1.9338941270000001</cx:pt>
          <cx:pt idx="2821">-1.933820796</cx:pt>
          <cx:pt idx="2822">-1.933806382</cx:pt>
          <cx:pt idx="2823">-1.933645423</cx:pt>
          <cx:pt idx="2824">-1.9334569960000001</cx:pt>
          <cx:pt idx="2825">-1.9333556300000001</cx:pt>
          <cx:pt idx="2826">-1.933311703</cx:pt>
          <cx:pt idx="2827">-1.933282867</cx:pt>
          <cx:pt idx="2828">-1.9332680010000001</cx:pt>
          <cx:pt idx="2829">-1.9331215660000001</cx:pt>
          <cx:pt idx="2830">-1.9330935300000001</cx:pt>
          <cx:pt idx="2831">-1.933020432</cx:pt>
          <cx:pt idx="2832">-1.9329045359999999</cx:pt>
          <cx:pt idx="2833">-1.9328171329999999</cx:pt>
          <cx:pt idx="2834">-1.932714064</cx:pt>
          <cx:pt idx="2835">-1.9326279129999999</cx:pt>
          <cx:pt idx="2836">-1.9325984</cx:pt>
          <cx:pt idx="2837">-1.9325840949999999</cx:pt>
          <cx:pt idx="2838">-1.9325546979999999</cx:pt>
          <cx:pt idx="2839">-1.9325260879999999</cx:pt>
          <cx:pt idx="2840">-1.9325109899999999</cx:pt>
          <cx:pt idx="2841">-1.9324823870000001</cx:pt>
          <cx:pt idx="2842">-1.932467972</cx:pt>
          <cx:pt idx="2843">-1.932438576</cx:pt>
          <cx:pt idx="2844">-1.93243846</cx:pt>
          <cx:pt idx="2845">-1.9324242709999999</cx:pt>
          <cx:pt idx="2846">-1.9324096310000001</cx:pt>
          <cx:pt idx="2847">-1.932394875</cx:pt>
          <cx:pt idx="2848">-1.932380569</cx:pt>
          <cx:pt idx="2849">-1.932365471</cx:pt>
          <cx:pt idx="2850">-1.9323647939999999</cx:pt>
          <cx:pt idx="2851">-1.9322347090000001</cx:pt>
          <cx:pt idx="2852">-1.932030157</cx:pt>
          <cx:pt idx="2853">-1.9319440059999999</cx:pt>
          <cx:pt idx="2854">-1.9319282310000001</cx:pt>
          <cx:pt idx="2855">-1.9319003050000001</cx:pt>
          <cx:pt idx="2856">-1.9318709080000001</cx:pt>
          <cx:pt idx="2857">-1.9318272000000001</cx:pt>
          <cx:pt idx="2858">-1.9316674920000001</cx:pt>
          <cx:pt idx="2859">-1.931565333</cx:pt>
          <cx:pt idx="2860">-1.931536162</cx:pt>
          <cx:pt idx="2861">-1.9314780460000001</cx:pt>
          <cx:pt idx="2862">-1.931463741</cx:pt>
          <cx:pt idx="2863">-1.9313469350000001</cx:pt>
          <cx:pt idx="2864">-1.9312015330000001</cx:pt>
          <cx:pt idx="2865">-1.9311872269999999</cx:pt>
          <cx:pt idx="2866">-1.9311721289999999</cx:pt>
          <cx:pt idx="2867">-1.9311574890000001</cx:pt>
          <cx:pt idx="2868">-1.9311570309999999</cx:pt>
          <cx:pt idx="2869">-1.931143184</cx:pt>
          <cx:pt idx="2870">-1.931128886</cx:pt>
          <cx:pt idx="2871">-1.9311145810000001</cx:pt>
          <cx:pt idx="2872">-1.931099941</cx:pt>
          <cx:pt idx="2873">-1.931070879</cx:pt>
          <cx:pt idx="2874">-1.9310271779999999</cx:pt>
          <cx:pt idx="2875">-1.9309977819999999</cx:pt>
          <cx:pt idx="2876">-1.930983476</cx:pt>
          <cx:pt idx="2877">-1.930968378</cx:pt>
          <cx:pt idx="2878">-1.9309397749999999</cx:pt>
          <cx:pt idx="2879">-1.9309246769999999</cx:pt>
          <cx:pt idx="2880">-1.930924109</cx:pt>
          <cx:pt idx="2881">-1.930896073</cx:pt>
          <cx:pt idx="2882">-1.9308523719999999</cx:pt>
          <cx:pt idx="2883">-1.9308229690000001</cx:pt>
          <cx:pt idx="2884">-1.930692206</cx:pt>
          <cx:pt idx="2885">-1.9306779009999999</cx:pt>
          <cx:pt idx="2886">-1.930648505</cx:pt>
          <cx:pt idx="2887">-1.930604803</cx:pt>
          <cx:pt idx="2888">-1.9305904979999999</cx:pt>
          <cx:pt idx="2889">-1.9305754070000001</cx:pt>
          <cx:pt idx="2890">-1.930531706</cx:pt>
          <cx:pt idx="2891">-1.9305174000000001</cx:pt>
          <cx:pt idx="2892">-1.9305030949999999</cx:pt>
          <cx:pt idx="2893">-1.930342027</cx:pt>
          <cx:pt idx="2894">-1.930255643</cx:pt>
          <cx:pt idx="2895">-1.9302413380000001</cx:pt>
          <cx:pt idx="2896">-1.9302268140000001</cx:pt>
          <cx:pt idx="2897">-1.930211941</cx:pt>
          <cx:pt idx="2898">-1.9301976359999999</cx:pt>
          <cx:pt idx="2899">-1.930110233</cx:pt>
          <cx:pt idx="2900">-1.9300665319999999</cx:pt>
          <cx:pt idx="2901">-1.9300522339999999</cx:pt>
          <cx:pt idx="2902">-1.9300371359999999</cx:pt>
          <cx:pt idx="2903">-1.9299791289999999</cx:pt>
          <cx:pt idx="2904">-1.9299648309999999</cx:pt>
          <cx:pt idx="2905">-1.929935427</cx:pt>
          <cx:pt idx="2906">-1.9299211300000001</cx:pt>
          <cx:pt idx="2907">-1.929906031</cx:pt>
          <cx:pt idx="2908">-1.9298917259999999</cx:pt>
          <cx:pt idx="2909">-1.929877428</cx:pt>
          <cx:pt idx="2910">-1.929848483</cx:pt>
          <cx:pt idx="2911">-1.929819079</cx:pt>
          <cx:pt idx="2912">-1.929425766</cx:pt>
          <cx:pt idx="2913">-1.9294253079999999</cx:pt>
          <cx:pt idx="2914">-1.929382516</cx:pt>
          <cx:pt idx="2915">-1.9293682110000001</cx:pt>
          <cx:pt idx="2916">-1.9293536870000001</cx:pt>
          <cx:pt idx="2917">-1.9293388149999999</cx:pt>
          <cx:pt idx="2918">-1.929308851</cx:pt>
          <cx:pt idx="2919">-1.9287558229999999</cx:pt>
          <cx:pt idx="2920">-1.928727788</cx:pt>
          <cx:pt idx="2921">-1.9286685290000001</cx:pt>
          <cx:pt idx="2922">-1.928654683</cx:pt>
          <cx:pt idx="2923">-1.928509389</cx:pt>
          <cx:pt idx="2924">-1.9284950919999999</cx:pt>
          <cx:pt idx="2925">-1.928465688</cx:pt>
          <cx:pt idx="2926">-1.9283345839999999</cx:pt>
          <cx:pt idx="2927">-1.9283051870000001</cx:pt>
          <cx:pt idx="2928">-1.9283047289999999</cx:pt>
          <cx:pt idx="2929">-1.928290882</cx:pt>
          <cx:pt idx="2930">-1.9282765770000001</cx:pt>
          <cx:pt idx="2931">-1.9282621630000001</cx:pt>
          <cx:pt idx="2932">-1.9282471809999999</cx:pt>
          <cx:pt idx="2933">-1.9282185780000001</cx:pt>
          <cx:pt idx="2934">-1.9281891739999999</cx:pt>
          <cx:pt idx="2935">-1.9281167530000001</cx:pt>
          <cx:pt idx="2936">-1.9280871310000001</cx:pt>
          <cx:pt idx="2937">-1.928058528</cx:pt>
          <cx:pt idx="2938">-1.92804343</cx:pt>
          <cx:pt idx="2939">-1.928042746</cx:pt>
          <cx:pt idx="2940">-1.9279997280000001</cx:pt>
          <cx:pt idx="2941">-1.927956027</cx:pt>
          <cx:pt idx="2942">-1.9279417219999999</cx:pt>
          <cx:pt idx="2943">-1.927912326</cx:pt>
          <cx:pt idx="2944">-1.92789802</cx:pt>
          <cx:pt idx="2945">-1.9278837150000001</cx:pt>
          <cx:pt idx="2946">-1.927868624</cx:pt>
          <cx:pt idx="2947">-1.927840014</cx:pt>
          <cx:pt idx="2948">-1.9278399049999999</cx:pt>
          <cx:pt idx="2949">-1.927518896</cx:pt>
          <cx:pt idx="2950">-1.9274034499999999</cx:pt>
          <cx:pt idx="2951">-1.9273454510000001</cx:pt>
          <cx:pt idx="2952">-1.927301749</cx:pt>
          <cx:pt idx="2953">-1.9272723460000001</cx:pt>
          <cx:pt idx="2954">-1.9272580479999999</cx:pt>
          <cx:pt idx="2955">-1.927213888</cx:pt>
          <cx:pt idx="2956">-1.927185285</cx:pt>
          <cx:pt idx="2957">-1.927155889</cx:pt>
          <cx:pt idx="2958">-1.9271415839999999</cx:pt>
          <cx:pt idx="2959">-1.927097882</cx:pt>
          <cx:pt idx="2960">-1.927082784</cx:pt>
          <cx:pt idx="2961">-1.9270684789999999</cx:pt>
          <cx:pt idx="2962">-1.9270390820000001</cx:pt>
          <cx:pt idx="2963">-1.927024777</cx:pt>
          <cx:pt idx="2964">-1.9269961739999999</cx:pt>
          <cx:pt idx="2965">-1.9269810759999999</cx:pt>
          <cx:pt idx="2966">-1.926952131</cx:pt>
          <cx:pt idx="2967">-1.9269087709999999</cx:pt>
          <cx:pt idx="2968">-1.9268793749999999</cx:pt>
          <cx:pt idx="2969">-1.926835673</cx:pt>
          <cx:pt idx="2970">-1.9268062699999999</cx:pt>
          <cx:pt idx="2971">-1.926792423</cx:pt>
          <cx:pt idx="2972">-1.926777325</cx:pt>
          <cx:pt idx="2973">-1.9265596110000001</cx:pt>
          <cx:pt idx="2974">-1.926530214</cx:pt>
          <cx:pt idx="2975">-1.9265008109999999</cx:pt>
          <cx:pt idx="2976">-1.926486513</cx:pt>
          <cx:pt idx="2977">-1.9264722080000001</cx:pt>
          <cx:pt idx="2978">-1.9264428119999999</cx:pt>
          <cx:pt idx="2979">-1.92639911</cx:pt>
          <cx:pt idx="2980">-1.9263558599999999</cx:pt>
          <cx:pt idx="2981">-1.926340194</cx:pt>
          <cx:pt idx="2982">-1.926326464</cx:pt>
          <cx:pt idx="2983">-1.9262976279999999</cx:pt>
          <cx:pt idx="2984">-1.9262825290000001</cx:pt>
          <cx:pt idx="2985">-1.926253926</cx:pt>
          <cx:pt idx="2986">-1.9261371270000001</cx:pt>
          <cx:pt idx="2987">-1.926035419</cx:pt>
          <cx:pt idx="2988">-1.926006023</cx:pt>
          <cx:pt idx="2989">-1.925991717</cx:pt>
          <cx:pt idx="2990">-1.9259774119999999</cx:pt>
          <cx:pt idx="2991">-1.925962314</cx:pt>
          <cx:pt idx="2992">-1.925948016</cx:pt>
          <cx:pt idx="2993">-1.9257880759999999</cx:pt>
          <cx:pt idx="2994">-1.9257150869999999</cx:pt>
          <cx:pt idx="2995">-1.925685691</cx:pt>
          <cx:pt idx="2996">-1.9256570879999999</cx:pt>
          <cx:pt idx="2997">-1.925642557</cx:pt>
          <cx:pt idx="2998">-1.9256424409999999</cx:pt>
          <cx:pt idx="2999">-1.925627684</cx:pt>
          <cx:pt idx="3000">-1.9255839830000001</cx:pt>
          <cx:pt idx="3001">-1.925583415</cx:pt>
          <cx:pt idx="3002">-1.92555538</cx:pt>
          <cx:pt idx="3003">-1.925525983</cx:pt>
          <cx:pt idx="3004">-1.925511569</cx:pt>
          <cx:pt idx="3005">-1.9254827329999999</cx:pt>
          <cx:pt idx="3006">-1.925467635</cx:pt>
          <cx:pt idx="3007">-1.925453337</cx:pt>
          <cx:pt idx="3008">-1.9254390320000001</cx:pt>
          <cx:pt idx="3009">-1.925424501</cx:pt>
          <cx:pt idx="3010">-1.9254096350000001</cx:pt>
          <cx:pt idx="3011">-1.92539533</cx:pt>
          <cx:pt idx="3012">-1.925380232</cx:pt>
          <cx:pt idx="3013">-1.925365934</cx:pt>
          <cx:pt idx="3014">-1.9253516289999999</cx:pt>
          <cx:pt idx="3015">-1.925307927</cx:pt>
          <cx:pt idx="3016">-1.9252785240000001</cx:pt>
          <cx:pt idx="3017">-1.9252642259999999</cx:pt>
          <cx:pt idx="3018">-1.9252059939999999</cx:pt>
          <cx:pt idx="3019">-1.9251468519999999</cx:pt>
          <cx:pt idx="3020">-1.9251188159999999</cx:pt>
          <cx:pt idx="3021">-1.9250450349999999</cx:pt>
          <cx:pt idx="3022">-1.925002468</cx:pt>
          <cx:pt idx="3023">-1.924885669</cx:pt>
          <cx:pt idx="3024">-1.92476943</cx:pt>
          <cx:pt idx="3025">-1.9246667040000001</cx:pt>
          <cx:pt idx="3026">-1.9245222040000001</cx:pt>
          <cx:pt idx="3027">-1.924507105</cx:pt>
          <cx:pt idx="3028">-1.924492807</cx:pt>
          <cx:pt idx="3029">-1.9244634039999999</cx:pt>
          <cx:pt idx="3030">-1.924449106</cx:pt>
          <cx:pt idx="3031">-1.9244348010000001</cx:pt>
          <cx:pt idx="3032">-1.9243755499999999</cx:pt>
          <cx:pt idx="3033">-1.924303696</cx:pt>
          <cx:pt idx="3034">-1.9242737249999999</cx:pt>
          <cx:pt idx="3035">-1.92417225</cx:pt>
          <cx:pt idx="3036">-1.924143647</cx:pt>
          <cx:pt idx="3037">-1.924114243</cx:pt>
          <cx:pt idx="3038">-1.924099945</cx:pt>
          <cx:pt idx="3039">-1.9240856399999999</cx:pt>
          <cx:pt idx="3040">-1.9240705419999999</cx:pt>
          <cx:pt idx="3041">-1.924041822</cx:pt>
          <cx:pt idx="3042">-1.9239982369999999</cx:pt>
          <cx:pt idx="3043">-1.923983139</cx:pt>
          <cx:pt idx="3044">-1.9239394379999999</cx:pt>
          <cx:pt idx="3045">-1.9238671329999999</cx:pt>
          <cx:pt idx="3046">-1.923852828</cx:pt>
          <cx:pt idx="3047">-1.9238377289999999</cx:pt>
          <cx:pt idx="3048">-1.9238091260000001</cx:pt>
          <cx:pt idx="3049">-1.9237797299999999</cx:pt>
          <cx:pt idx="3050">-1.923765425</cx:pt>
          <cx:pt idx="3051">-1.9237498749999999</cx:pt>
          <cx:pt idx="3052">-1.9236338690000001</cx:pt>
          <cx:pt idx="3053">-1.923619564</cx:pt>
          <cx:pt idx="3054">-1.9236052589999999</cx:pt>
          <cx:pt idx="3055">-1.9235758629999999</cx:pt>
          <cx:pt idx="3056">-1.9235464659999999</cx:pt>
          <cx:pt idx="3057">-1.9235178559999999</cx:pt>
          <cx:pt idx="3058">-1.92348846</cx:pt>
          <cx:pt idx="3059">-1.9234741550000001</cx:pt>
          <cx:pt idx="3060">-1.9234304529999999</cx:pt>
          <cx:pt idx="3061">-1.923416155</cx:pt>
          <cx:pt idx="3062">-1.9233867520000001</cx:pt>
          <cx:pt idx="3063">-1.923372337</cx:pt>
          <cx:pt idx="3064">-1.923357355</cx:pt>
          <cx:pt idx="3065">-1.923313654</cx:pt>
          <cx:pt idx="3066">-1.923299807</cx:pt>
          <cx:pt idx="3067">-1.923284709</cx:pt>
          <cx:pt idx="3068">-1.923256106</cx:pt>
          <cx:pt idx="3069">-1.9232123969999999</cx:pt>
          <cx:pt idx="3070">-1.9231973060000001</cx:pt>
          <cx:pt idx="3071">-1.9231968479999999</cx:pt>
          <cx:pt idx="3072">-1.9231686960000001</cx:pt>
          <cx:pt idx="3073">-1.923139299</cx:pt>
          <cx:pt idx="3074">-1.9231249939999999</cx:pt>
          <cx:pt idx="3075">-1.9231099030000001</cx:pt>
          <cx:pt idx="3076">-1.9230812930000001</cx:pt>
          <cx:pt idx="3077">-1.923051896</cx:pt>
          <cx:pt idx="3078">-1.923051329</cx:pt>
          <cx:pt idx="3079">-1.923023068</cx:pt>
          <cx:pt idx="3080">-1.9229795919999999</cx:pt>
          <cx:pt idx="3081">-1.9229644939999999</cx:pt>
          <cx:pt idx="3082">-1.9229501879999999</cx:pt>
          <cx:pt idx="3083">-1.92293589</cx:pt>
          <cx:pt idx="3084">-1.922920792</cx:pt>
          <cx:pt idx="3085">-1.9228921889999999</cx:pt>
          <cx:pt idx="3086">-1.922848146</cx:pt>
          <cx:pt idx="3087">-1.922819542</cx:pt>
          <cx:pt idx="3088">-1.922805012</cx:pt>
          <cx:pt idx="3089">-1.9227758340000001</cx:pt>
          <cx:pt idx="3090">-1.922760743</cx:pt>
          <cx:pt idx="3091">-1.922746437</cx:pt>
          <cx:pt idx="3092">-1.9227321319999999</cx:pt>
          <cx:pt idx="3093">-1.922702736</cx:pt>
          <cx:pt idx="3094">-1.92267334</cx:pt>
          <cx:pt idx="3095">-1.9226729979999999</cx:pt>
          <cx:pt idx="3096">-1.9226447289999999</cx:pt>
          <cx:pt idx="3097">-1.9226296380000001</cx:pt>
          <cx:pt idx="3098">-1.922615333</cx:pt>
          <cx:pt idx="3099">-1.9225865040000001</cx:pt>
          <cx:pt idx="3100">-1.922557326</cx:pt>
          <cx:pt idx="3101">-1.9225136249999999</cx:pt>
          <cx:pt idx="3102">-1.9224993269999999</cx:pt>
          <cx:pt idx="3103">-1.9224699240000001</cx:pt>
          <cx:pt idx="3104">-1.9224556260000001</cx:pt>
          <cx:pt idx="3105">-1.9224115820000001</cx:pt>
          <cx:pt idx="3106">-1.922382979</cx:pt>
          <cx:pt idx="3107">-1.9223535759999999</cx:pt>
          <cx:pt idx="3108">-1.9223241790000001</cx:pt>
          <cx:pt idx="3109">-1.922309874</cx:pt>
          <cx:pt idx="3110">-1.9222661729999999</cx:pt>
          <cx:pt idx="3111">-1.9222367760000001</cx:pt>
          <cx:pt idx="3112">-1.9222081660000001</cx:pt>
          <cx:pt idx="3113">-1.922193075</cx:pt>
          <cx:pt idx="3114">-1.922178202</cx:pt>
          <cx:pt idx="3115">-1.922164465</cx:pt>
          <cx:pt idx="3116">-1.922149941</cx:pt>
          <cx:pt idx="3117">-1.922135068</cx:pt>
          <cx:pt idx="3118">-1.9221207629999999</cx:pt>
          <cx:pt idx="3119">-1.9221064649999999</cx:pt>
          <cx:pt idx="3120">-1.9220913669999999</cx:pt>
          <cx:pt idx="3121">-1.9220333599999999</cx:pt>
          <cx:pt idx="3122">-1.921975019</cx:pt>
          <cx:pt idx="3123">-1.9219607139999999</cx:pt>
          <cx:pt idx="3124">-1.9217561700000001</cx:pt>
          <cx:pt idx="3125">-1.9216699020000001</cx:pt>
          <cx:pt idx="3126">-1.9216548040000001</cx:pt>
          <cx:pt idx="3127">-1.9216404979999999</cx:pt>
          <cx:pt idx="3128">-1.9215967970000001</cx:pt>
          <cx:pt idx="3129">-1.9215824990000001</cx:pt>
          <cx:pt idx="3130">-1.9215823830000001</cx:pt>
          <cx:pt idx="3131">-1.9215674009999999</cx:pt>
          <cx:pt idx="3132">-1.9215669419999999</cx:pt>
          <cx:pt idx="3133">-1.9215527530000001</cx:pt>
          <cx:pt idx="3134">-1.921538456</cx:pt>
          <cx:pt idx="3135">-1.92152415</cx:pt>
          <cx:pt idx="3136">-1.9213930459999999</cx:pt>
          <cx:pt idx="3137">-1.9213350389999999</cx:pt>
          <cx:pt idx="3138">-1.9213199480000001</cx:pt>
          <cx:pt idx="3139">-1.9212913380000001</cx:pt>
          <cx:pt idx="3140">-1.9212619419999999</cx:pt>
          <cx:pt idx="3141">-1.9212476359999999</cx:pt>
          <cx:pt idx="3142">-1.921233339</cx:pt>
          <cx:pt idx="3143">-1.9212039350000001</cx:pt>
          <cx:pt idx="3144">-1.9211745389999999</cx:pt>
          <cx:pt idx="3145">-1.921160234</cx:pt>
          <cx:pt idx="3146">-1.9211459360000001</cx:pt>
          <cx:pt idx="3147">-1.921130837</cx:pt>
          <cx:pt idx="3148">-1.9210875869999999</cx:pt>
          <cx:pt idx="3149">-1.921058191</cx:pt>
          <cx:pt idx="3150">-1.9210438860000001</cx:pt>
          <cx:pt idx="3151">-1.9210295879999999</cx:pt>
          <cx:pt idx="3152">-1.9208984760000001</cx:pt>
          <cx:pt idx="3153">-1.920883385</cx:pt>
          <cx:pt idx="3154">-1.9208401349999999</cx:pt>
          <cx:pt idx="3155">-1.920781109</cx:pt>
          <cx:pt idx="3156">-1.9206510240000001</cx:pt>
          <cx:pt idx="3157">-1.9204036879999999</cx:pt>
          <cx:pt idx="3158">-1.9203888149999999</cx:pt>
          <cx:pt idx="3159">-1.920388247</cx:pt>
          <cx:pt idx="3160">-1.92037451</cx:pt>
          <cx:pt idx="3161">-1.9203602120000001</cx:pt>
          <cx:pt idx="3162">-1.9203451140000001</cx:pt>
          <cx:pt idx="3163">-1.9203014119999999</cx:pt>
          <cx:pt idx="3164">-1.9202577110000001</cx:pt>
          <cx:pt idx="3165">-1.9202572520000001</cx:pt>
          <cx:pt idx="3166">-1.920243747</cx:pt>
          <cx:pt idx="3167">-1.920243631</cx:pt>
          <cx:pt idx="3168">-1.920214351</cx:pt>
          <cx:pt idx="3169">-1.9201849479999999</cx:pt>
          <cx:pt idx="3170">-1.92014065</cx:pt>
          <cx:pt idx="3171">-1.920141246</cx:pt>
          <cx:pt idx="3172">-1.920112643</cx:pt>
          <cx:pt idx="3173">-1.9200689419999999</cx:pt>
          <cx:pt idx="3174">-1.9200395379999999</cx:pt>
          <cx:pt idx="3175">-1.920025015</cx:pt>
          <cx:pt idx="3176">-1.920010709</cx:pt>
          <cx:pt idx="3177">-1.919967008</cx:pt>
          <cx:pt idx="3178">-1.919879605</cx:pt>
          <cx:pt idx="3179">-1.919850209</cx:pt>
          <cx:pt idx="3180">-1.919821598</cx:pt>
          <cx:pt idx="3181">-1.9198071839999999</cx:pt>
          <cx:pt idx="3182">-1.9197634830000001</cx:pt>
          <cx:pt idx="3183">-1.9197340860000001</cx:pt>
          <cx:pt idx="3184">-1.919719781</cx:pt>
          <cx:pt idx="3185">-1.919704683</cx:pt>
          <cx:pt idx="3186">-1.919690385</cx:pt>
          <cx:pt idx="3187">-1.9196760799999999</cx:pt>
          <cx:pt idx="3188">-1.9196466830000001</cx:pt>
          <cx:pt idx="3189">-1.919632378</cx:pt>
          <cx:pt idx="3190">-1.91961728</cx:pt>
          <cx:pt idx="3191">-1.9196029750000001</cx:pt>
          <cx:pt idx="3192">-1.9194136449999999</cx:pt>
          <cx:pt idx="3193">-1.9193850349999999</cx:pt>
          <cx:pt idx="3194">-1.919355522</cx:pt>
          <cx:pt idx="3195">-1.919326919</cx:pt>
          <cx:pt idx="3196">-1.919297523</cx:pt>
          <cx:pt idx="3197">-1.9192538219999999</cx:pt>
          <cx:pt idx="3198">-1.919224418</cx:pt>
          <cx:pt idx="3199">-1.9191958149999999</cx:pt>
          <cx:pt idx="3200">-1.919166419</cx:pt>
          <cx:pt idx="3201">-1.9191517709999999</cx:pt>
          <cx:pt idx="3202">-1.919123168</cx:pt>
          <cx:pt idx="3203">-1.919093765</cx:pt>
          <cx:pt idx="3204">-1.919079467</cx:pt>
          <cx:pt idx="3205">-1.919050063</cx:pt>
          <cx:pt idx="3206">-1.918992064</cx:pt>
          <cx:pt idx="3207">-1.9189483629999999</cx:pt>
          <cx:pt idx="3208">-1.918904661</cx:pt>
          <cx:pt idx="3209">-1.9186429039999999</cx:pt>
          <cx:pt idx="3210">-1.918599202</cx:pt>
          <cx:pt idx="3211">-1.918584104</cx:pt>
          <cx:pt idx="3212">-1.9185837619999999</cx:pt>
          <cx:pt idx="3213">-1.9185697989999999</cx:pt>
          <cx:pt idx="3214">-1.9185555009999999</cx:pt>
          <cx:pt idx="3215">-1.9185404020000001</cx:pt>
          <cx:pt idx="3216">-1.918526097</cx:pt>
          <cx:pt idx="3217">-1.9184536759999999</cx:pt>
          <cx:pt idx="3218">-1.918133235</cx:pt>
          <cx:pt idx="3219">-1.918118937</cx:pt>
          <cx:pt idx="3220">-1.9181034969999999</cx:pt>
          <cx:pt idx="3221">-1.9180895339999999</cx:pt>
          <cx:pt idx="3222">-1.918060138</cx:pt>
          <cx:pt idx="3223">-1.918031534</cx:pt>
          <cx:pt idx="3224">-1.9180172289999999</cx:pt>
          <cx:pt idx="3225">-1.9180016799999999</cx:pt>
          <cx:pt idx="3226">-1.917987833</cx:pt>
          <cx:pt idx="3227">-1.9179735280000001</cx:pt>
          <cx:pt idx="3228">-1.9179441319999999</cx:pt>
          <cx:pt idx="3229">-1.9178861250000001</cx:pt>
          <cx:pt idx="3230">-1.917870685</cx:pt>
          <cx:pt idx="3231">-1.9178567289999999</cx:pt>
          <cx:pt idx="3232">-1.917813478</cx:pt>
          <cx:pt idx="3233">-1.917797929</cx:pt>
          <cx:pt idx="3234">-1.9177840749999999</cx:pt>
          <cx:pt idx="3235">-1.917754679</cx:pt>
          <cx:pt idx="3236">-1.917710977</cx:pt>
          <cx:pt idx="3237">-1.9176966719999999</cx:pt>
          <cx:pt idx="3238">-1.917667276</cx:pt>
          <cx:pt idx="3239">-1.9176669340000001</cx:pt>
          <cx:pt idx="3240">-1.91765297</cx:pt>
          <cx:pt idx="3241">-1.9176235740000001</cx:pt>
          <cx:pt idx="3242">-1.9176092689999999</cx:pt>
          <cx:pt idx="3243">-1.9175512699999999</cx:pt>
          <cx:pt idx="3244">-1.917536964</cx:pt>
          <cx:pt idx="3245">-1.9175368479999999</cx:pt>
          <cx:pt idx="3246">-1.917521866</cx:pt>
          <cx:pt idx="3247">-1.917521415</cx:pt>
          <cx:pt idx="3248">-1.917507568</cx:pt>
          <cx:pt idx="3249">-1.9174931470000001</cx:pt>
          <cx:pt idx="3250">-1.917347519</cx:pt>
          <cx:pt idx="3251">-1.9173040429999999</cx:pt>
          <cx:pt idx="3252">-1.917187695</cx:pt>
          <cx:pt idx="3253">-1.917143993</cx:pt>
          <cx:pt idx="3254">-1.9171288950000001</cx:pt>
          <cx:pt idx="3255">-1.9171002850000001</cx:pt>
          <cx:pt idx="3256">-1.917085194</cx:pt>
          <cx:pt idx="3257">-1.917070888</cx:pt>
          <cx:pt idx="3258">-1.9170565829999999</cx:pt>
          <cx:pt idx="3259">-1.9168672470000001</cx:pt>
          <cx:pt idx="3260">-1.916837508</cx:pt>
          <cx:pt idx="3261">-1.9166773500000001</cx:pt>
          <cx:pt idx="3262">-1.9166637289999999</cx:pt>
          <cx:pt idx="3263">-1.9166200200000001</cx:pt>
          <cx:pt idx="3264">-1.9165612270000001</cx:pt>
          <cx:pt idx="3265">-1.916546922</cx:pt>
          <cx:pt idx="3266">-1.916474392</cx:pt>
          <cx:pt idx="3267">-1.9164449889999999</cx:pt>
          <cx:pt idx="3268">-1.916430691</cx:pt>
          <cx:pt idx="3269">-1.916416385</cx:pt>
          <cx:pt idx="3270">-1.916401287</cx:pt>
          <cx:pt idx="3271">-1.9163869819999999</cx:pt>
          <cx:pt idx="3272">-1.9163575859999999</cx:pt>
          <cx:pt idx="3273">-1.9162851649999999</cx:pt>
          <cx:pt idx="3274">-1.916212067</cx:pt>
          <cx:pt idx="3275">-1.9161977619999999</cx:pt>
          <cx:pt idx="3276">-1.9161683650000001</cx:pt>
          <cx:pt idx="3277">-1.91615406</cx:pt>
          <cx:pt idx="3278">-1.9161534929999999</cx:pt>
          <cx:pt idx="3279">-1.9161397549999999</cx:pt>
          <cx:pt idx="3280">-1.916066206</cx:pt>
          <cx:pt idx="3281">-1.9158624479999999</cx:pt>
          <cx:pt idx="3282">-1.915848601</cx:pt>
          <cx:pt idx="3283">-1.915819205</cx:pt>
          <cx:pt idx="3284">-1.9158048999999999</cx:pt>
          <cx:pt idx="3285">-1.915790602</cx:pt>
          <cx:pt idx="3286">-1.9157314599999999</cx:pt>
          <cx:pt idx="3287">-1.9157031920000001</cx:pt>
          <cx:pt idx="3288">-1.915688101</cx:pt>
          <cx:pt idx="3289">-1.915673795</cx:pt>
          <cx:pt idx="3290">-1.9156592649999999</cx:pt>
          <cx:pt idx="3291">-1.915644967</cx:pt>
          <cx:pt idx="3292">-1.9156298679999999</cx:pt>
          <cx:pt idx="3293">-1.9156012650000001</cx:pt>
          <cx:pt idx="3294">-1.9155714109999999</cx:pt>
          <cx:pt idx="3295">-1.915557564</cx:pt>
          <cx:pt idx="3296">-1.9155432590000001</cx:pt>
          <cx:pt idx="3297">-1.91552816</cx:pt>
          <cx:pt idx="3298">-1.915527709</cx:pt>
          <cx:pt idx="3299">-1.9155138549999999</cx:pt>
          <cx:pt idx="3300">-1.915484459</cx:pt>
          <cx:pt idx="3301">-1.9154701540000001</cx:pt>
          <cx:pt idx="3302">-1.9154695859999999</cx:pt>
          <cx:pt idx="3303">-1.9154558559999999</cx:pt>
          <cx:pt idx="3304">-1.915382642</cx:pt>
          <cx:pt idx="3305">-1.915368336</cx:pt>
          <cx:pt idx="3306">-1.9153540389999999</cx:pt>
          <cx:pt idx="3307">-1.91533894</cx:pt>
          <cx:pt idx="3308">-1.915295239</cx:pt>
          <cx:pt idx="3309">-1.9152809340000001</cx:pt>
          <cx:pt idx="3310">-1.915106695</cx:pt>
          <cx:pt idx="3311">-1.915091597</cx:pt>
          <cx:pt idx="3312">-1.9150629939999999</cx:pt>
          <cx:pt idx="3313">-1.9150478959999999</cx:pt>
          <cx:pt idx="3314">-1.91503359</cx:pt>
          <cx:pt idx="3315">-1.9150330229999999</cx:pt>
          <cx:pt idx="3316">-1.9150040779999999</cx:pt>
          <cx:pt idx="3317">-1.914989321</cx:pt>
          <cx:pt idx="3318">-1.9149611769999999</cx:pt>
          <cx:pt idx="3319">-1.9149317729999999</cx:pt>
          <cx:pt idx="3320">-1.914902377</cx:pt>
          <cx:pt idx="3321">-1.9148586750000001</cx:pt>
          <cx:pt idx="3322">-1.9148300650000001</cx:pt>
          <cx:pt idx="3323">-1.914814974</cx:pt>
          <cx:pt idx="3324">-1.9148006689999999</cx:pt>
          <cx:pt idx="3325">-1.914800101</cx:pt>
          <cx:pt idx="3326">-1.91477184</cx:pt>
          <cx:pt idx="3327">-1.914756742</cx:pt>
          <cx:pt idx="3328">-1.9147424369999999</cx:pt>
          <cx:pt idx="3329">-1.9147281389999999</cx:pt>
          <cx:pt idx="3330">-1.9147130400000001</cx:pt>
          <cx:pt idx="3331">-1.914698735</cx:pt>
          <cx:pt idx="3332">-1.9146701319999999</cx:pt>
          <cx:pt idx="3333">-1.9146700160000001</cx:pt>
          <cx:pt idx="3334">-1.9146550339999999</cx:pt>
          <cx:pt idx="3335">-1.9146545829999999</cx:pt>
          <cx:pt idx="3336">-1.9146264310000001</cx:pt>
          <cx:pt idx="3337">-1.914611332</cx:pt>
          <cx:pt idx="3338">-1.9145963500000001</cx:pt>
          <cx:pt idx="3339">-1.9145827289999999</cx:pt>
          <cx:pt idx="3340">-1.914567514</cx:pt>
          <cx:pt idx="3341">-1.914524613</cx:pt>
          <cx:pt idx="3342">-1.914509515</cx:pt>
          <cx:pt idx="3343">-1.9144952099999999</cx:pt>
          <cx:pt idx="3344">-1.9144809119999999</cx:pt>
          <cx:pt idx="3345">-1.914451508</cx:pt>
          <cx:pt idx="3346">-1.91443721</cx:pt>
          <cx:pt idx="3347">-1.9143784109999999</cx:pt>
          <cx:pt idx="3348">-1.9143495749999999</cx:pt>
          <cx:pt idx="3349">-1.9143053059999999</cx:pt>
          <cx:pt idx="3350">-1.914291575</cx:pt>
          <cx:pt idx="3351">-1.914276251</cx:pt>
          <cx:pt idx="3352">-1.9142621719999999</cx:pt>
          <cx:pt idx="3353">-1.9141744270000001</cx:pt>
          <cx:pt idx="3354">-1.9140142680000001</cx:pt>
          <cx:pt idx="3355">-1.913825608</cx:pt>
          <cx:pt idx="3356">-1.91381131</cx:pt>
          <cx:pt idx="3357">-1.9137819069999999</cx:pt>
          <cx:pt idx="3358">-1.913767609</cx:pt>
          <cx:pt idx="3359">-1.9137533040000001</cx:pt>
          <cx:pt idx="3360">-1.9137382060000001</cx:pt>
          <cx:pt idx="3361">-1.9137239079999999</cx:pt>
          <cx:pt idx="3362">-1.913709602</cx:pt>
          <cx:pt idx="3363">-1.9136950720000001</cx:pt>
          <cx:pt idx="3364">-1.9136076689999999</cx:pt>
          <cx:pt idx="3365">-1.913577705</cx:pt>
          <cx:pt idx="3366">-1.913548869</cx:pt>
          <cx:pt idx="3367">-1.9135202659999999</cx:pt>
          <cx:pt idx="3368">-1.913447052</cx:pt>
          <cx:pt idx="3369">-1.9134327470000001</cx:pt>
          <cx:pt idx="3370">-1.913389045</cx:pt>
          <cx:pt idx="3371">-1.9133166239999999</cx:pt>
          <cx:pt idx="3372">-1.9133015330000001</cx:pt>
          <cx:pt idx="3373">-1.9132729230000001</cx:pt>
          <cx:pt idx="3374">-1.913258508</cx:pt>
          <cx:pt idx="3375">-1.9132430680000001</cx:pt>
          <cx:pt idx="3376">-1.913229112</cx:pt>
          <cx:pt idx="3377">-1.913200276</cx:pt>
          <cx:pt idx="3378">-1.9131854109999999</cx:pt>
          <cx:pt idx="3379">-1.913141709</cx:pt>
          <cx:pt idx="3380">-1.9131274039999999</cx:pt>
          <cx:pt idx="3381">-1.913083702</cx:pt>
          <cx:pt idx="3382">-1.913068604</cx:pt>
          <cx:pt idx="3383">-1.913054306</cx:pt>
          <cx:pt idx="3384">-1.9130397750000001</cx:pt>
          <cx:pt idx="3385">-1.913010372</cx:pt>
          <cx:pt idx="3386">-1.912996074</cx:pt>
          <cx:pt idx="3387">-1.9129817689999999</cx:pt>
          <cx:pt idx="3388">-1.9129674640000001</cx:pt>
          <cx:pt idx="3389">-1.9126471389999999</cx:pt>
          <cx:pt idx="3390">-1.912545205</cx:pt>
          <cx:pt idx="3391">-1.9124871990000001</cx:pt>
          <cx:pt idx="3392">-1.9124717659999999</cx:pt>
          <cx:pt idx="3393">-1.9124578029999999</cx:pt>
          <cx:pt idx="3394">-1.9124434969999999</cx:pt>
          <cx:pt idx="3395">-1.9123853820000001</cx:pt>
          <cx:pt idx="3396">-1.912370283</cx:pt>
          <cx:pt idx="3397">-1.9121952520000001</cx:pt>
          <cx:pt idx="3398">-1.9120649409999999</cx:pt>
          <cx:pt idx="3399">-1.9120642569999999</cx:pt>
          <cx:pt idx="3400">-1.912021239</cx:pt>
          <cx:pt idx="3401">-1.911991843</cx:pt>
          <cx:pt idx="3402">-1.9119915009999999</cx:pt>
          <cx:pt idx="3403">-1.911963233</cx:pt>
          <cx:pt idx="3404">-1.9119488179999999</cx:pt>
          <cx:pt idx="3405">-1.911919422</cx:pt>
          <cx:pt idx="3406">-1.9119051170000001</cx:pt>
          <cx:pt idx="3407">-1.9118757209999999</cx:pt>
          <cx:pt idx="3408">-1.911861415</cx:pt>
          <cx:pt idx="3409">-1.911846317</cx:pt>
          <cx:pt idx="3410">-1.9118026159999999</cx:pt>
          <cx:pt idx="3411">-1.9117883179999999</cx:pt>
          <cx:pt idx="3412">-1.911758914</cx:pt>
          <cx:pt idx="3413">-1.911744616</cx:pt>
          <cx:pt idx="3414">-1.9117296269999999</cx:pt>
          <cx:pt idx="3415">-1.91171578</cx:pt>
          <cx:pt idx="3416">-1.911700682</cx:pt>
          <cx:pt idx="3417">-1.9116859260000001</cx:pt>
          <cx:pt idx="3418">-1.9116720789999999</cx:pt>
          <cx:pt idx="3419">-1.9116569800000001</cx:pt>
          <cx:pt idx="3420">-1.911628377</cx:pt>
          <cx:pt idx="3421">-1.9116140720000001</cx:pt>
          <cx:pt idx="3422">-1.9115846759999999</cx:pt>
          <cx:pt idx="3423">-1.91155528</cx:pt>
          <cx:pt idx="3424">-1.9115549380000001</cx:pt>
          <cx:pt idx="3425">-1.911540974</cx:pt>
          <cx:pt idx="3426">-1.9115266689999999</cx:pt>
          <cx:pt idx="3427">-1.911511462</cx:pt>
          <cx:pt idx="3428">-1.9114828589999999</cx:pt>
          <cx:pt idx="3429">-1.9114540229999999</cx:pt>
          <cx:pt idx="3430">-1.911439157</cx:pt>
          <cx:pt idx="3431">-1.9114248519999999</cx:pt>
          <cx:pt idx="3432">-1.9113954559999999</cx:pt>
          <cx:pt idx="3433">-1.911366052</cx:pt>
          <cx:pt idx="3434">-1.911351754</cx:pt>
          <cx:pt idx="3435">-1.9113374489999999</cx:pt>
          <cx:pt idx="3436">-1.911308053</cx:pt>
          <cx:pt idx="3437">-1.911293522</cx:pt>
          <cx:pt idx="3438">-1.9112792169999999</cx:pt>
          <cx:pt idx="3439">-1.911235515</cx:pt>
          <cx:pt idx="3440">-1.911206119</cx:pt>
          <cx:pt idx="3441">-1.9111775090000001</cx:pt>
          <cx:pt idx="3442">-1.9111481130000001</cx:pt>
          <cx:pt idx="3443">-1.9111044109999999</cx:pt>
          <cx:pt idx="3444">-1.9110168919999999</cx:pt>
          <cx:pt idx="3445">-1.910958892</cx:pt>
          <cx:pt idx="3446">-1.9109294889999999</cx:pt>
          <cx:pt idx="3447">-1.9109008860000001</cx:pt>
          <cx:pt idx="3448">-1.910885787</cx:pt>
          <cx:pt idx="3449">-1.910827555</cx:pt>
          <cx:pt idx="3450">-1.910813257</cx:pt>
          <cx:pt idx="3451">-1.9107552510000001</cx:pt>
          <cx:pt idx="3452">-1.9107409449999999</cx:pt>
          <cx:pt idx="3453">-1.9106678479999999</cx:pt>
          <cx:pt idx="3454">-1.910638335</cx:pt>
          <cx:pt idx="3455">-1.910580328</cx:pt>
          <cx:pt idx="3456">-1.9105366269999999</cx:pt>
          <cx:pt idx="3457">-1.910522329</cx:pt>
          <cx:pt idx="3458">-1.9104929260000001</cx:pt>
          <cx:pt idx="3459">-1.9104786279999999</cx:pt>
          <cx:pt idx="3460">-1.9104492239999999</cx:pt>
          <cx:pt idx="3461">-1.9104060899999999</cx:pt>
          <cx:pt idx="3462">-1.910376694</cx:pt>
          <cx:pt idx="3463">-1.9103623890000001</cx:pt>
          <cx:pt idx="3464">-1.91034729</cx:pt>
          <cx:pt idx="3465">-1.9102749859999999</cx:pt>
          <cx:pt idx="3466">-1.9102169790000001</cx:pt>
          <cx:pt idx="3467">-1.9102024559999999</cx:pt>
          <cx:pt idx="3468">-1.910173052</cx:pt>
          <cx:pt idx="3469">-1.9101724849999999</cx:pt>
          <cx:pt idx="3470">-1.910158754</cx:pt>
          <cx:pt idx="3471">-1.9101293509999999</cx:pt>
          <cx:pt idx="3472">-1.910128783</cx:pt>
          <cx:pt idx="3473">-1.910056253</cx:pt>
          <cx:pt idx="3474">-1.9100419479999999</cx:pt>
          <cx:pt idx="3475">-1.9100414969999999</cx:pt>
          <cx:pt idx="3476">-1.9100276430000001</cx:pt>
          <cx:pt idx="3477">-1.910012552</cx:pt>
          <cx:pt idx="3478">-1.909983832</cx:pt>
          <cx:pt idx="3479">-1.9099695269999999</cx:pt>
          <cx:pt idx="3480">-1.9099401309999999</cx:pt>
          <cx:pt idx="3481">-1.909910502</cx:pt>
          <cx:pt idx="3482">-1.9098670259999999</cx:pt>
          <cx:pt idx="3483">-1.9098527279999999</cx:pt>
          <cx:pt idx="3484">-1.9098522689999999</cx:pt>
          <cx:pt idx="3485">-1.9098383059999999</cx:pt>
          <cx:pt idx="3486">-1.909824008</cx:pt>
          <cx:pt idx="3487">-1.90980891</cx:pt>
          <cx:pt idx="3488">-1.9098086839999999</cx:pt>
          <cx:pt idx="3489">-1.9097946050000001</cx:pt>
          <cx:pt idx="3490">-1.9097941540000001</cx:pt>
          <cx:pt idx="3491">-1.9097803069999999</cx:pt>
          <cx:pt idx="3492">-1.909750794</cx:pt>
          <cx:pt idx="3493">-1.9097364889999999</cx:pt>
          <cx:pt idx="3494">-1.909722191</cx:pt>
          <cx:pt idx="3495">-1.909678489</cx:pt>
          <cx:pt idx="3496">-1.90961969</cx:pt>
          <cx:pt idx="3497">-1.9094011820000001</cx:pt>
          <cx:pt idx="3498">-1.9092856279999999</cx:pt>
          <cx:pt idx="3499">-1.9091683699999999</cx:pt>
          <cx:pt idx="3500">-1.9089354409999999</cx:pt>
          <cx:pt idx="3501">-1.9089210270000001</cx:pt>
          <cx:pt idx="3502">-1.908849064</cx:pt>
          <cx:pt idx="3503">-1.9085572260000001</cx:pt>
          <cx:pt idx="3504">-1.9084989939999999</cx:pt>
          <cx:pt idx="3505">-1.908484354</cx:pt>
          <cx:pt idx="3506">-1.9084706170000001</cx:pt>
          <cx:pt idx="3507">-1.9084267989999999</cx:pt>
          <cx:pt idx="3508">-1.9084125009999999</cx:pt>
          <cx:pt idx="3509">-1.908368799</cx:pt>
          <cx:pt idx="3510">-1.9083250979999999</cx:pt>
          <cx:pt idx="3511">-1.90831</cx:pt>
          <cx:pt idx="3512">-1.9082813970000001</cx:pt>
          <cx:pt idx="3513">-1.9082519929999999</cx:pt>
          <cx:pt idx="3514">-1.9082232729999999</cx:pt>
          <cx:pt idx="3515">-1.908193877</cx:pt>
          <cx:pt idx="3516">-1.9081644740000001</cx:pt>
          <cx:pt idx="3517">-1.9081501759999999</cx:pt>
          <cx:pt idx="3518">-1.908062656</cx:pt>
          <cx:pt idx="3519">-1.908034053</cx:pt>
          <cx:pt idx="3520">-1.9080188389999999</cx:pt>
          <cx:pt idx="3521">-1.907990235</cx:pt>
          <cx:pt idx="3522">-1.9079465339999999</cx:pt>
          <cx:pt idx="3523">-1.9079322359999999</cx:pt>
          <cx:pt idx="3524">-1.9078885350000001</cx:pt>
          <cx:pt idx="3525">-1.9078591309999999</cx:pt>
          <cx:pt idx="3526">-1.907829735</cx:pt>
          <cx:pt idx="3527">-1.9078149790000001</cx:pt>
          <cx:pt idx="3528">-1.907801015</cx:pt>
          <cx:pt idx="3529">-1.907669453</cx:pt>
          <cx:pt idx="3530">-1.907654929</cx:pt>
          <cx:pt idx="3531">-1.9073644519999999</cx:pt>
          <cx:pt idx="3532">-1.9072046279999999</cx:pt>
          <cx:pt idx="3533">-1.9071019010000001</cx:pt>
          <cx:pt idx="3534">-1.906927772</cx:pt>
          <cx:pt idx="3535">-1.906898376</cx:pt>
          <cx:pt idx="3536">-1.9068697729999999</cx:pt>
          <cx:pt idx="3537">-1.906840369</cx:pt>
          <cx:pt idx="3538">-1.906826071</cx:pt>
          <cx:pt idx="3539">-1.906781802</cx:pt>
          <cx:pt idx="3540">-1.9067528570000001</cx:pt>
          <cx:pt idx="3541">-1.906738552</cx:pt>
          <cx:pt idx="3542">-1.9067242470000001</cx:pt>
          <cx:pt idx="3543">-1.906709491</cx:pt>
          <cx:pt idx="3544">-1.906665338</cx:pt>
          <cx:pt idx="3545">-1.9059814310000001</cx:pt>
          <cx:pt idx="3546">-1.905953054</cx:pt>
          <cx:pt idx="3547">-1.9055302279999999</cx:pt>
          <cx:pt idx="3548">-1.9053998000000001</cx:pt>
          <cx:pt idx="3549">-1.9053408919999999</cx:pt>
          <cx:pt idx="3550">-1.9053267030000001</cx:pt>
          <cx:pt idx="3551">-1.905312398</cx:pt>
          <cx:pt idx="3552">-1.9052981</cx:pt>
          <cx:pt idx="3553">-1.905268696</cx:pt>
          <cx:pt idx="3554">-1.9052399769999999</cx:pt>
          <cx:pt idx="3555">-1.9052246530000001</cx:pt>
          <cx:pt idx="3556">-1.905196275</cx:pt>
          <cx:pt idx="3557">-1.905166879</cx:pt>
          <cx:pt idx="3558">-1.9051231769999999</cx:pt>
          <cx:pt idx="3559">-1.9050942319999999</cx:pt>
          <cx:pt idx="3560">-1.9050799270000001</cx:pt>
          <cx:pt idx="3561">-1.9050505310000001</cx:pt>
          <cx:pt idx="3562">-1.9050216950000001</cx:pt>
          <cx:pt idx="3563">-1.905006604</cx:pt>
          <cx:pt idx="3564">-1.9049779929999999</cx:pt>
          <cx:pt idx="3565">-1.904773566</cx:pt>
          <cx:pt idx="3566">-1.9045700409999999</cx:pt>
          <cx:pt idx="3567">-1.9045414300000001</cx:pt>
          <cx:pt idx="3568">-1.9044833139999999</cx:pt>
          <cx:pt idx="3569">-1.904453918</cx:pt>
          <cx:pt idx="3570">-1.9044245150000001</cx:pt>
          <cx:pt idx="3571">-1.9043959109999999</cx:pt>
          <cx:pt idx="3572">-1.904380813</cx:pt>
          <cx:pt idx="3573">-1.904380588</cx:pt>
          <cx:pt idx="3574">-1.904366515</cx:pt>
          <cx:pt idx="3575">-1.9043660570000001</cx:pt>
          <cx:pt idx="3576">-1.9043371120000001</cx:pt>
          <cx:pt idx="3577">-1.9043083919999999</cx:pt>
          <cx:pt idx="3578">-1.9043078250000001</cx:pt>
          <cx:pt idx="3579">-1.904061056</cx:pt>
          <cx:pt idx="3580">-1.9040467510000001</cx:pt>
          <cx:pt idx="3581">-1.90400305</cx:pt>
          <cx:pt idx="3582">-1.903973653</cx:pt>
          <cx:pt idx="3583">-1.9039593480000001</cx:pt>
          <cx:pt idx="3584">-1.9039442499999999</cx:pt>
          <cx:pt idx="3585">-1.9039299519999999</cx:pt>
          <cx:pt idx="3586">-1.9039294929999999</cx:pt>
          <cx:pt idx="3587">-1.903915647</cx:pt>
          <cx:pt idx="3588">-1.9038422070000001</cx:pt>
          <cx:pt idx="3589">-1.903712005</cx:pt>
          <cx:pt idx="3590">-1.903696681</cx:pt>
          <cx:pt idx="3591">-1.903536632</cx:pt>
          <cx:pt idx="3592">-1.9034786319999999</cx:pt>
          <cx:pt idx="3593">-1.9033335650000001</cx:pt>
          <cx:pt idx="3594">-1.9032891789999999</cx:pt>
          <cx:pt idx="3595">-1.903173282</cx:pt>
          <cx:pt idx="3596">-1.9031581909999999</cx:pt>
          <cx:pt idx="3597">-1.9031580749999999</cx:pt>
          <cx:pt idx="3598">-1.9031438860000001</cx:pt>
          <cx:pt idx="3599">-1.903129581</cx:pt>
          <cx:pt idx="3600">-1.9031291299999999</cx:pt>
          <cx:pt idx="3601">-1.903100185</cx:pt>
          <cx:pt idx="3602">-1.9029697569999999</cx:pt>
          <cx:pt idx="3603">-1.9028526160000001</cx:pt>
          <cx:pt idx="3604">-1.902823787</cx:pt>
          <cx:pt idx="3605">-1.9028094820000001</cx:pt>
          <cx:pt idx="3606">-1.902795177</cx:pt>
          <cx:pt idx="3607">-1.9023869980000001</cx:pt>
          <cx:pt idx="3608">-1.9023586210000001</cx:pt>
          <cx:pt idx="3609">-1.9023432899999999</cx:pt>
          <cx:pt idx="3610">-1.9021832400000001</cx:pt>
          <cx:pt idx="3611">-1.902023875</cx:pt>
          <cx:pt idx="3612">-1.9018630249999999</cx:pt>
          <cx:pt idx="3613">-1.9018485009999999</cx:pt>
          <cx:pt idx="3614">-1.901673921</cx:pt>
          <cx:pt idx="3615">-1.9015283949999999</cx:pt>
          <cx:pt idx="3616">-1.901513872</cx:pt>
          <cx:pt idx="3617">-1.9014997920000001</cx:pt>
          <cx:pt idx="3618">-1.9014706210000001</cx:pt>
          <cx:pt idx="3619">-1.901456316</cx:pt>
          <cx:pt idx="3620">-1.90142692</cx:pt>
          <cx:pt idx="3621">-1.9014117049999999</cx:pt>
          <cx:pt idx="3622">-1.9013975160000001</cx:pt>
          <cx:pt idx="3623">-1.9013832180000001</cx:pt>
          <cx:pt idx="3624">-1.901382876</cx:pt>
          <cx:pt idx="3625">-1.901353815</cx:pt>
          <cx:pt idx="3626">-1.9013252119999999</cx:pt>
          <cx:pt idx="3627">-1.9012958149999999</cx:pt>
          <cx:pt idx="3628">-1.9012378089999999</cx:pt>
          <cx:pt idx="3629">-1.901208413</cx:pt>
          <cx:pt idx="3630">-1.9011793509999999</cx:pt>
          <cx:pt idx="3631">-1.901165046</cx:pt>
          <cx:pt idx="3632">-1.9011356500000001</cx:pt>
          <cx:pt idx="3633">-1.901034058</cx:pt>
          <cx:pt idx="3634">-1.9010197529999999</cx:pt>
          <cx:pt idx="3635">-1.9010046620000001</cx:pt>
          <cx:pt idx="3636">-1.900989898</cx:pt>
          <cx:pt idx="3637">-1.9009751420000001</cx:pt>
          <cx:pt idx="3638">-1.900946655</cx:pt>
          <cx:pt idx="3639">-1.9009172510000001</cx:pt>
          <cx:pt idx="3640">-1.900902954</cx:pt>
          <cx:pt idx="3641">-1.900874234</cx:pt>
          <cx:pt idx="3642">-1.900859136</cx:pt>
          <cx:pt idx="3643">-1.9008154340000001</cx:pt>
          <cx:pt idx="3644">-1.900771733</cx:pt>
          <cx:pt idx="3645">-1.9007427880000001</cx:pt>
          <cx:pt idx="3646">-1.900714185</cx:pt>
          <cx:pt idx="3647">-1.9006990859999999</cx:pt>
          <cx:pt idx="3648">-1.9006702579999999</cx:pt>
          <cx:pt idx="3649">-1.9006559519999999</cx:pt>
          <cx:pt idx="3650">-1.9006408539999999</cx:pt>
          <cx:pt idx="3651">-1.9006406280000001</cx:pt>
          <cx:pt idx="3652">-1.9006115669999999</cx:pt>
          <cx:pt idx="3653">-1.900597495</cx:pt>
          <cx:pt idx="3654">-1.900583189</cx:pt>
          <cx:pt idx="3655">-1.900466048</cx:pt>
          <cx:pt idx="3656">-1.900451517</cx:pt>
          <cx:pt idx="3657">-1.9003351690000001</cx:pt>
          <cx:pt idx="3658">-1.90033506</cx:pt>
          <cx:pt idx="3659">-1.9003062239999999</cx:pt>
          <cx:pt idx="3660">-1.9002919190000001</cx:pt>
          <cx:pt idx="3661">-1.9002625230000001</cx:pt>
          <cx:pt idx="3662">-1.900233694</cx:pt>
          <cx:pt idx="3663">-1.9002193890000001</cx:pt>
          <cx:pt idx="3664">-1.9002042910000001</cx:pt>
          <cx:pt idx="3665">-1.9002040650000001</cx:pt>
          <cx:pt idx="3666">-1.900175688</cx:pt>
          <cx:pt idx="3667">-1.9001466259999999</cx:pt>
          <cx:pt idx="3668">-1.900102022</cx:pt>
          <cx:pt idx="3669">-1.9000585459999999</cx:pt>
          <cx:pt idx="3670">-1.900044125</cx:pt>
          <cx:pt idx="3671">-1.900029827</cx:pt>
          <cx:pt idx="3672">-1.900001107</cx:pt>
          <cx:pt idx="3673">-1.899986009</cx:pt>
          <cx:pt idx="3674">-1.8999717110000001</cx:pt>
          <cx:pt idx="3675">-1.8997384399999999</cx:pt>
          <cx:pt idx="3676">-1.899724368</cx:pt>
          <cx:pt idx="3677">-1.8997100629999999</cx:pt>
          <cx:pt idx="3678">-1.8996806660000001</cx:pt>
          <cx:pt idx="3679">-1.8996654589999999</cx:pt>
          <cx:pt idx="3680">-1.8996512699999999</cx:pt>
          <cx:pt idx="3681">-1.8996219830000001</cx:pt>
          <cx:pt idx="3682">-1.8995929220000001</cx:pt>
          <cx:pt idx="3683">-1.8995056349999999</cx:pt>
          <cx:pt idx="3684">-1.8994914460000001</cx:pt>
          <cx:pt idx="3685">-1.899477141</cx:pt>
          <cx:pt idx="3686">-1.899476457</cx:pt>
          <cx:pt idx="3687">-1.899462043</cx:pt>
          <cx:pt idx="3688">-1.899447745</cx:pt>
          <cx:pt idx="3689">-1.8994188000000001</cx:pt>
          <cx:pt idx="3690">-1.899375091</cx:pt>
          <cx:pt idx="3691">-1.8993462619999999</cx:pt>
          <cx:pt idx="3692">-1.8993311639999999</cx:pt>
          <cx:pt idx="3693">-1.8993025610000001</cx:pt>
          <cx:pt idx="3694">-1.8992878049999999</cx:pt>
          <cx:pt idx="3695">-1.899273499</cx:pt>
          <cx:pt idx="3696">-1.8992584079999999</cx:pt>
          <cx:pt idx="3697">-1.8992581749999999</cx:pt>
          <cx:pt idx="3698">-1.899244103</cx:pt>
          <cx:pt idx="3699">-1.899243652</cx:pt>
          <cx:pt idx="3700">-1.8992288960000001</cx:pt>
          <cx:pt idx="3701">-1.8992147070000001</cx:pt>
          <cx:pt idx="3702">-1.899200402</cx:pt>
          <cx:pt idx="3703">-1.899186096</cx:pt>
          <cx:pt idx="3704">-1.899170998</cx:pt>
          <cx:pt idx="3705">-1.899141827</cx:pt>
          <cx:pt idx="3706">-1.8991279809999999</cx:pt>
          <cx:pt idx="3707">-1.8990985840000001</cx:pt>
          <cx:pt idx="3708">-1.8990981259999999</cx:pt>
          <cx:pt idx="3709">-1.899054883</cx:pt>
          <cx:pt idx="3710">-1.8990405779999999</cx:pt>
          <cx:pt idx="3711">-1.8989965339999999</cx:pt>
          <cx:pt idx="3712">-1.8989528330000001</cx:pt>
          <cx:pt idx="3713">-1.8989240039999999</cx:pt>
          <cx:pt idx="3714">-1.8988946010000001</cx:pt>
          <cx:pt idx="3715">-1.8988659969999999</cx:pt>
          <cx:pt idx="3716">-1.898836143</cx:pt>
          <cx:pt idx="3717">-1.8988218450000001</cx:pt>
          <cx:pt idx="3718">-1.8988070889999999</cx:pt>
          <cx:pt idx="3719">-1.898792332</cx:pt>
          <cx:pt idx="3720">-1.8986906240000001</cx:pt>
          <cx:pt idx="3721">-1.8985456730000001</cx:pt>
          <cx:pt idx="3722">-1.8985162689999999</cx:pt>
          <cx:pt idx="3723">-1.898516044</cx:pt>
          <cx:pt idx="3724">-1.898501513</cx:pt>
          <cx:pt idx="3725">-1.8984874410000001</cx:pt>
          <cx:pt idx="3726">-1.898414678</cx:pt>
          <cx:pt idx="3727">-1.898385282</cx:pt>
          <cx:pt idx="3728">-1.898327275</cx:pt>
          <cx:pt idx="3729">-1.898297879</cx:pt>
          <cx:pt idx="3730">-1.898035779</cx:pt>
          <cx:pt idx="3731">-1.897934413</cx:pt>
          <cx:pt idx="3732">-1.8979338450000001</cx:pt>
          <cx:pt idx="3733">-1.8979192060000001</cx:pt>
          <cx:pt idx="3734">-1.897905017</cx:pt>
          <cx:pt idx="3735">-1.8978902600000001</cx:pt>
          <cx:pt idx="3736">-1.8978613150000001</cx:pt>
          <cx:pt idx="3737">-1.897832596</cx:pt>
          <cx:pt idx="3738">-1.8978174969999999</cx:pt>
          <cx:pt idx="3739">-1.897803192</cx:pt>
          <cx:pt idx="3740">-1.897774589</cx:pt>
          <cx:pt idx="3741">-1.897759491</cx:pt>
          <cx:pt idx="3742">-1.8977156799999999</cx:pt>
          <cx:pt idx="3743">-1.897701149</cx:pt>
          <cx:pt idx="3744">-1.897424636</cx:pt>
          <cx:pt idx="3745">-1.897395465</cx:pt>
          <cx:pt idx="3746">-1.897322927</cx:pt>
          <cx:pt idx="3747">-1.8973227020000001</cx:pt>
          <cx:pt idx="3748">-1.8973086299999999</cx:pt>
          <cx:pt idx="3749">-1.8973081709999999</cx:pt>
          <cx:pt idx="3750">-1.897294324</cx:pt>
          <cx:pt idx="3751">-1.897279226</cx:pt>
          <cx:pt idx="3752">-1.8972215610000001</cx:pt>
          <cx:pt idx="3753">-1.897162652</cx:pt>
          <cx:pt idx="3754">-1.8971483469999999</cx:pt>
          <cx:pt idx="3755">-1.8971049879999999</cx:pt>
          <cx:pt idx="3756">-1.897075592</cx:pt>
          <cx:pt idx="3757">-1.897075359</cx:pt>
          <cx:pt idx="3758">-1.897061286</cx:pt>
          <cx:pt idx="3759">-1.8970460790000001</cx:pt>
          <cx:pt idx="3760">-1.8970318900000001</cx:pt>
          <cx:pt idx="3761">-1.8970171339999999</cx:pt>
          <cx:pt idx="3762">-1.8969880720000001</cx:pt>
          <cx:pt idx="3763">-1.896959469</cx:pt>
          <cx:pt idx="3764">-1.8969300659999999</cx:pt>
          <cx:pt idx="3765">-1.8969157679999999</cx:pt>
          <cx:pt idx="3766">-1.896886364</cx:pt>
          <cx:pt idx="3767">-1.896872066</cx:pt>
          <cx:pt idx="3768">-1.8967988520000001</cx:pt>
          <cx:pt idx="3769">-1.8966823880000001</cx:pt>
          <cx:pt idx="3770">-1.896667857</cx:pt>
          <cx:pt idx="3771">-1.8966242719999999</cx:pt>
          <cx:pt idx="3772">-1.896435503</cx:pt>
          <cx:pt idx="3773">-1.896391801</cx:pt>
          <cx:pt idx="3774">-1.8963770449999999</cx:pt>
          <cx:pt idx="3775">-1.89636274</cx:pt>
          <cx:pt idx="3776">-1.8963484349999999</cx:pt>
          <cx:pt idx="3777">-1.8963046240000001</cx:pt>
          <cx:pt idx="3778">-1.8962895259999999</cx:pt>
          <cx:pt idx="3779">-1.896216763</cx:pt>
          <cx:pt idx="3780">-1.895852962</cx:pt>
          <cx:pt idx="3781">-1.8957801990000001</cx:pt>
          <cx:pt idx="3782">-1.8957074439999999</cx:pt>
          <cx:pt idx="3783">-1.8956927969999999</cx:pt>
          <cx:pt idx="3784">-1.895678499</cx:pt>
          <cx:pt idx="3785">-1.895664193</cx:pt>
          <cx:pt idx="3786">-1.895649779</cx:pt>
          <cx:pt idx="3787">-1.895634681</cx:pt>
          <cx:pt idx="3788">-1.8956201500000001</cx:pt>
          <cx:pt idx="3789">-1.8955909790000001</cx:pt>
          <cx:pt idx="3790">-1.895562376</cx:pt>
          <cx:pt idx="3791">-1.8954163989999999</cx:pt>
          <cx:pt idx="3792">-1.8951258129999999</cx:pt>
          <cx:pt idx="3793">-1.895096409</cx:pt>
          <cx:pt idx="3794">-1.895096184</cx:pt>
          <cx:pt idx="3795">-1.89505305</cx:pt>
          <cx:pt idx="3796">-1.8949949340000001</cx:pt>
          <cx:pt idx="3797">-1.894951233</cx:pt>
          <cx:pt idx="3798">-1.8946160350000001</cx:pt>
          <cx:pt idx="3799">-1.8944122839999999</cx:pt>
          <cx:pt idx="3800">-1.894339521</cx:pt>
          <cx:pt idx="3801">-1.894179472</cx:pt>
          <cx:pt idx="3802">-1.8941648250000001</cx:pt>
          <cx:pt idx="3803">-1.8941065930000001</cx:pt>
          <cx:pt idx="3804">-1.894092069</cx:pt>
          <cx:pt idx="3805">-1.8940779889999999</cx:pt>
          <cx:pt idx="3806">-1.894004775</cx:pt>
          <cx:pt idx="3807">-1.8936414260000001</cx:pt>
          <cx:pt idx="3808">-1.8936263280000001</cx:pt>
          <cx:pt idx="3809">-1.8936262189999999</cx:pt>
          <cx:pt idx="3810">-1.893597274</cx:pt>
          <cx:pt idx="3811">-1.8935686700000001</cx:pt>
          <cx:pt idx="3812">-1.8935682119999999</cx:pt>
          <cx:pt idx="3813">-1.893524969</cx:pt>
          <cx:pt idx="3814">-1.8935106639999999</cx:pt>
          <cx:pt idx="3815">-1.893495565</cx:pt>
          <cx:pt idx="3816">-1.8934668459999999</cx:pt>
          <cx:pt idx="3817">-1.89343745</cx:pt>
          <cx:pt idx="3818">-1.893422693</cx:pt>
          <cx:pt idx="3819">-1.893408046</cx:pt>
          <cx:pt idx="3820">-1.893393748</cx:pt>
          <cx:pt idx="3821">-1.8933794429999999</cx:pt>
          <cx:pt idx="3822">-1.8933499300000001</cx:pt>
          <cx:pt idx="3823">-1.8933357420000001</cx:pt>
          <cx:pt idx="3824">-1.8933067960000001</cx:pt>
          <cx:pt idx="3825">-1.893271266</cx:pt>
          <cx:pt idx="3826">-1.8932481130000001</cx:pt>
          <cx:pt idx="3827">-1.893233808</cx:pt>
          <cx:pt idx="3828">-1.89321951</cx:pt>
          <cx:pt idx="3829">-1.893204412</cx:pt>
          <cx:pt idx="3830">-1.893190106</cx:pt>
          <cx:pt idx="3831">-1.8931758089999999</cx:pt>
          <cx:pt idx="3832">-1.8931753499999999</cx:pt>
          <cx:pt idx="3833">-1.893146405</cx:pt>
          <cx:pt idx="3834">-1.893132107</cx:pt>
          <cx:pt idx="3835">-1.8931168920000001</cx:pt>
          <cx:pt idx="3836">-1.8930884059999999</cx:pt>
          <cx:pt idx="3837">-1.8930741</cx:pt>
          <cx:pt idx="3838">-1.893059002</cx:pt>
          <cx:pt idx="3839">-1.8930302830000001</cx:pt>
          <cx:pt idx="3840">-1.8929865809999999</cx:pt>
          <cx:pt idx="3841">-1.892957636</cx:pt>
          <cx:pt idx="3842">-1.892913367</cx:pt>
          <cx:pt idx="3843">-1.8928845379999999</cx:pt>
          <cx:pt idx="3844">-1.892870233</cx:pt>
          <cx:pt idx="3845">-1.892855135</cx:pt>
          <cx:pt idx="3846">-1.8928408370000001</cx:pt>
          <cx:pt idx="3847">-1.892826532</cx:pt>
          <cx:pt idx="3848">-1.892796903</cx:pt>
          <cx:pt idx="3849">-1.8927826050000001</cx:pt>
          <cx:pt idx="3850">-1.8927532010000001</cx:pt>
          <cx:pt idx="3851">-1.892724147</cx:pt>
          <cx:pt idx="3852">-1.8927098419999999</cx:pt>
          <cx:pt idx="3853">-1.8926803290000001</cx:pt>
          <cx:pt idx="3854">-1.89266614</cx:pt>
          <cx:pt idx="3855">-1.892651842</cx:pt>
          <cx:pt idx="3856">-1.892636744</cx:pt>
          <cx:pt idx="3857">-1.892636628</cx:pt>
          <cx:pt idx="3858">-1.892608141</cx:pt>
          <cx:pt idx="3859">-1.892578621</cx:pt>
          <cx:pt idx="3860">-1.892564323</cx:pt>
          <cx:pt idx="3861">-1.8925500179999999</cx:pt>
          <cx:pt idx="3862">-1.8925495670000001</cx:pt>
          <cx:pt idx="3863">-1.892534919</cx:pt>
          <cx:pt idx="3864">-1.8925348099999999</cx:pt>
          <cx:pt idx="3865">-1.8925206219999999</cx:pt>
          <cx:pt idx="3866">-1.892389517</cx:pt>
          <cx:pt idx="3867">-1.8923603389999999</cx:pt>
          <cx:pt idx="3868">-1.892273053</cx:pt>
          <cx:pt idx="3869">-1.8922293509999999</cx:pt>
          <cx:pt idx="3870">-1.8922000640000001</cx:pt>
          <cx:pt idx="3871">-1.892171577</cx:pt>
          <cx:pt idx="3872">-1.8921571559999999</cx:pt>
          <cx:pt idx="3873">-1.892156588</cx:pt>
          <cx:pt idx="3874">-1.892113454</cx:pt>
          <cx:pt idx="3875">-1.892098356</cx:pt>
          <cx:pt idx="3876">-1.892084058</cx:pt>
          <cx:pt idx="3877">-1.891982008</cx:pt>
          <cx:pt idx="3878">-1.8918800739999999</cx:pt>
          <cx:pt idx="3879">-1.89185102</cx:pt>
          <cx:pt idx="3880">-1.891822417</cx:pt>
          <cx:pt idx="3881">-1.8918072020000001</cx:pt>
          <cx:pt idx="3882">-1.891793013</cx:pt>
          <cx:pt idx="3883">-1.8917636170000001</cx:pt>
          <cx:pt idx="3884">-1.891735014</cx:pt>
          <cx:pt idx="3885">-1.8917205930000001</cx:pt>
          <cx:pt idx="3886">-1.8917055009999999</cx:pt>
          <cx:pt idx="3887">-1.891691196</cx:pt>
          <cx:pt idx="3888">-1.891560543</cx:pt>
          <cx:pt idx="3889">-1.891545445</cx:pt>
          <cx:pt idx="3890">-1.891531147</cx:pt>
          <cx:pt idx="3891">-1.891502311</cx:pt>
          <cx:pt idx="3892">-1.8914872199999999</cx:pt>
          <cx:pt idx="3893">-1.891429555</cx:pt>
          <cx:pt idx="3894">-1.891414457</cx:pt>
          <cx:pt idx="3895">-1.8914001519999999</cx:pt>
          <cx:pt idx="3896">-1.8913858539999999</cx:pt>
          <cx:pt idx="3897">-1.891342152</cx:pt>
          <cx:pt idx="3898">-1.8913416940000001</cx:pt>
          <cx:pt idx="3899">-1.891327054</cx:pt>
          <cx:pt idx="3900">-1.8913127489999999</cx:pt>
          <cx:pt idx="3901">-1.8912984509999999</cx:pt>
          <cx:pt idx="3902">-1.8912840289999999</cx:pt>
          <cx:pt idx="3903">-1.8912834620000001</cx:pt>
          <cx:pt idx="3904">-1.8912689380000001</cx:pt>
          <cx:pt idx="3905">-1.891254633</cx:pt>
          <cx:pt idx="3906">-1.8912544069999999</cx:pt>
          <cx:pt idx="3907">-1.8912403280000001</cx:pt>
          <cx:pt idx="3908">-1.891225229</cx:pt>
          <cx:pt idx="3909">-1.8911815279999999</cx:pt>
          <cx:pt idx="3910">-1.891123871</cx:pt>
          <cx:pt idx="3911">-1.8910801690000001</cx:pt>
          <cx:pt idx="3912">-1.8910657470000001</cx:pt>
          <cx:pt idx="3913">-1.890774368</cx:pt>
          <cx:pt idx="3914">-1.890774143</cx:pt>
          <cx:pt idx="3915">-1.8907600630000001</cx:pt>
          <cx:pt idx="3916">-1.8907449650000001</cx:pt>
          <cx:pt idx="3917">-1.8907448549999999</cx:pt>
          <cx:pt idx="3918">-1.890628617</cx:pt>
          <cx:pt idx="3919">-1.8905703920000001</cx:pt>
          <cx:pt idx="3920">-1.890512269</cx:pt>
          <cx:pt idx="3921">-1.890381281</cx:pt>
          <cx:pt idx="3922">-1.890323048</cx:pt>
          <cx:pt idx="3923">-1.890308401</cx:pt>
          <cx:pt idx="3924">-1.8902797979999999</cx:pt>
          <cx:pt idx="3925">-1.890265042</cx:pt>
          <cx:pt idx="3926">-1.890250744</cx:pt>
          <cx:pt idx="3927">-1.8902213400000001</cx:pt>
          <cx:pt idx="3928">-1.8900757050000001</cx:pt>
          <cx:pt idx="3929">-1.889784777</cx:pt>
          <cx:pt idx="3930">-1.889784551</cx:pt>
          <cx:pt idx="3931">-1.8895808009999999</cx:pt>
          <cx:pt idx="3932">-1.889522685</cx:pt>
          <cx:pt idx="3933">-1.8895083800000001</cx:pt>
          <cx:pt idx="3934">-1.8895081540000001</cx:pt>
          <cx:pt idx="3935">-1.8894935070000001</cx:pt>
          <cx:pt idx="3936">-1.889464678</cx:pt>
          <cx:pt idx="3937">-1.889435282</cx:pt>
          <cx:pt idx="3938">-1.8894066709999999</cx:pt>
          <cx:pt idx="3939">-1.889391915</cx:pt>
          <cx:pt idx="3940">-1.8893625190000001</cx:pt>
          <cx:pt idx="3941">-1.889348214</cx:pt>
          <cx:pt idx="3942">-1.889333916</cx:pt>
          <cx:pt idx="3943">-1.8892899809999999</cx:pt>
          <cx:pt idx="3944">-1.8892607020000001</cx:pt>
          <cx:pt idx="3945">-1.8892461709999999</cx:pt>
          <cx:pt idx="3946">-1.8891588770000001</cx:pt>
          <cx:pt idx="3947">-1.8890569429999999</cx:pt>
          <cx:pt idx="3948">-1.8890278890000001</cx:pt>
          <cx:pt idx="3949">-1.888998602</cx:pt>
          <cx:pt idx="3950">-1.8888391200000001</cx:pt>
          <cx:pt idx="3951">-1.8888386619999999</cx:pt>
          <cx:pt idx="3952">-1.8888241379999999</cx:pt>
          <cx:pt idx="3953">-1.8888101749999999</cx:pt>
          <cx:pt idx="3954">-1.8887950769999999</cx:pt>
          <cx:pt idx="3955">-1.8887806620000001</cx:pt>
          <cx:pt idx="3956">-1.888634911</cx:pt>
          <cx:pt idx="3957">-1.888475087</cx:pt>
          <cx:pt idx="3958">-1.8884603310000001</cx:pt>
          <cx:pt idx="3959">-1.8884462580000001</cx:pt>
          <cx:pt idx="3960">-1.888402557</cx:pt>
          <cx:pt idx="3961">-1.888373495</cx:pt>
          <cx:pt idx="3962">-1.888358397</cx:pt>
          <cx:pt idx="3963">-1.888344099</cx:pt>
          <cx:pt idx="3964">-1.8883297939999999</cx:pt>
          <cx:pt idx="3965">-1.8883145859999999</cx:pt>
          <cx:pt idx="3966">-1.8883003979999999</cx:pt>
          <cx:pt idx="3967">-1.888286092</cx:pt>
          <cx:pt idx="3968">-1.8882857500000001</cx:pt>
          <cx:pt idx="3969">-1.8882423909999999</cx:pt>
          <cx:pt idx="3970">-1.8882279769999999</cx:pt>
          <cx:pt idx="3971">-1.888212878</cx:pt>
          <cx:pt idx="3972">-1.8881985729999999</cx:pt>
          <cx:pt idx="3973">-1.8881983470000001</cx:pt>
          <cx:pt idx="3974">-1.888169293</cx:pt>
          <cx:pt idx="3975">-1.888096872</cx:pt>
          <cx:pt idx="3976">-1.888067927</cx:pt>
          <cx:pt idx="3977">-1.8880385239999999</cx:pt>
          <cx:pt idx="3978">-1.888023767</cx:pt>
          <cx:pt idx="3979">-1.888009695</cx:pt>
          <cx:pt idx="3980">-1.8879945970000001</cx:pt>
          <cx:pt idx="3981">-1.887965535</cx:pt>
          <cx:pt idx="3982">-1.8878202420000001</cx:pt>
          <cx:pt idx="3983">-1.887805486</cx:pt>
          <cx:pt idx="3984">-1.887791413</cx:pt>
          <cx:pt idx="3985">-1.887776315</cx:pt>
          <cx:pt idx="3986">-1.8877477119999999</cx:pt>
          <cx:pt idx="3987">-1.887718308</cx:pt>
          <cx:pt idx="3988">-1.88770401</cx:pt>
          <cx:pt idx="3989">-1.8876456619999999</cx:pt>
          <cx:pt idx="3990">-1.887631364</cx:pt>
          <cx:pt idx="3991">-1.887573132</cx:pt>
          <cx:pt idx="3992">-1.887543728</cx:pt>
          <cx:pt idx="3993">-1.8875003690000001</cx:pt>
          <cx:pt idx="3994">-1.88748527</cx:pt>
          <cx:pt idx="3995">-1.887470972</cx:pt>
          <cx:pt idx="3996">-1.88744146</cx:pt>
          <cx:pt idx="3997">-1.887427271</cx:pt>
          <cx:pt idx="3998">-1.8874271540000001</cx:pt>
          <cx:pt idx="3999">-1.8874129660000001</cx:pt>
          <cx:pt idx="4000">-1.887397867</cx:pt>
          <cx:pt idx="4001">-1.8870633539999999</cx:pt>
          <cx:pt idx="4002">-1.886961304</cx:pt>
          <cx:pt idx="4003">-1.886903188</cx:pt>
          <cx:pt idx="4004">-1.8868888829999999</cx:pt>
          <cx:pt idx="4005">-1.8868594869999999</cx:pt>
          <cx:pt idx="4006">-1.8868304250000001</cx:pt>
          <cx:pt idx="4007">-1.8868159019999999</cx:pt>
          <cx:pt idx="4008">-1.8866703760000001</cx:pt>
          <cx:pt idx="4009">-1.8866563030000001</cx:pt>
          <cx:pt idx="4010">-1.8866412050000001</cx:pt>
          <cx:pt idx="4011">-1.8866272420000001</cx:pt>
          <cx:pt idx="4012">-1.8865978459999999</cx:pt>
          <cx:pt idx="4013">-1.8865835399999999</cx:pt>
          <cx:pt idx="4014">-1.8865830889999999</cx:pt>
          <cx:pt idx="4015">-1.886554144</cx:pt>
          <cx:pt idx="4016">-1.8865398390000001</cx:pt>
          <cx:pt idx="4017">-1.8865104429999999</cx:pt>
          <cx:pt idx="4018">-1.8864817229999999</cx:pt>
          <cx:pt idx="4019">-1.8864523200000001</cx:pt>
          <cx:pt idx="4020">-1.886422923</cx:pt>
          <cx:pt idx="4021">-1.8864086179999999</cx:pt>
          <cx:pt idx="4022">-1.886379222</cx:pt>
          <cx:pt idx="4023">-1.8863506189999999</cx:pt>
          <cx:pt idx="4024">-1.8863359719999999</cx:pt>
          <cx:pt idx="4025">-1.8863216739999999</cx:pt>
          <cx:pt idx="4026">-1.886292045</cx:pt>
          <cx:pt idx="4027">-1.8862776299999999</cx:pt>
          <cx:pt idx="4028">-1.886263325</cx:pt>
          <cx:pt idx="4029">-1.886262874</cx:pt>
          <cx:pt idx="4030">-1.886248234</cx:pt>
          <cx:pt idx="4031">-1.8862339290000001</cx:pt>
          <cx:pt idx="4032">-1.886233812</cx:pt>
          <cx:pt idx="4033">-1.886219624</cx:pt>
          <cx:pt idx="4034">-1.886190679</cx:pt>
          <cx:pt idx="4035">-1.88617558</cx:pt>
          <cx:pt idx="4036">-1.886161282</cx:pt>
          <cx:pt idx="4037">-1.8860880680000001</cx:pt>
          <cx:pt idx="4038">-1.886059232</cx:pt>
          <cx:pt idx="4039">-1.8860300619999999</cx:pt>
          <cx:pt idx="4040">-1.886001</cx:pt>
          <cx:pt idx="4041">-1.8861763760000001</cx:pt>
          <cx:pt idx="4042">-1.886437562</cx:pt>
          <cx:pt idx="4043">-1.886481155</cx:pt>
          <cx:pt idx="4044">-1.8865250760000001</cx:pt>
          <cx:pt idx="4045">-1.8868305320000001</cx:pt>
          <cx:pt idx="4046">-1.886872772</cx:pt>
          <cx:pt idx="4047">-1.8869183949999999</cx:pt>
          <cx:pt idx="4048">-1.886960634</cx:pt>
          <cx:pt idx="4049">-1.8870488240000001</cx:pt>
          <cx:pt idx="4050">-1.8870920680000001</cx:pt>
          <cx:pt idx="4051">-1.887134984</cx:pt>
          <cx:pt idx="4052">-1.8872664180000001</cx:pt>
          <cx:pt idx="4053">-1.887309334</cx:pt>
          <cx:pt idx="4054">-1.8873546299999999</cx:pt>
          <cx:pt idx="4055">-1.8873975460000001</cx:pt>
          <cx:pt idx="4056">-1.8873982229999999</cx:pt>
          <cx:pt idx="4057">-1.8874857359999999</cx:pt>
          <cx:pt idx="4058">-1.8875286520000001</cx:pt>
          <cx:pt idx="4059">-1.8875715470000001</cx:pt>
          <cx:pt idx="4060">-1.8876158160000001</cx:pt>
          <cx:pt idx="4061">-1.8876587330000001</cx:pt>
          <cx:pt idx="4062">-1.8876600859999999</cx:pt>
          <cx:pt idx="4063">-1.8877040279999999</cx:pt>
          <cx:pt idx="4064">-1.8877469229999999</cx:pt>
          <cx:pt idx="4065">-1.887833082</cx:pt>
          <cx:pt idx="4066">-1.8878783779999999</cx:pt>
          <cx:pt idx="4067">-1.8879216219999999</cx:pt>
          <cx:pt idx="4068">-1.8879645380000001</cx:pt>
          <cx:pt idx="4069">-1.8881395649999999</cx:pt>
          <cx:pt idx="4070">-1.8881402410000001</cx:pt>
          <cx:pt idx="4071">-1.8882706709999999</cx:pt>
          <cx:pt idx="4072">-1.8883135870000001</cx:pt>
          <cx:pt idx="4073">-1.888358883</cx:pt>
          <cx:pt idx="4074">-1.8884017769999999</cx:pt>
          <cx:pt idx="4075">-1.8884446930000001</cx:pt>
          <cx:pt idx="4076">-1.8884879370000001</cx:pt>
          <cx:pt idx="4077">-1.8885761270000001</cx:pt>
          <cx:pt idx="4078">-1.8886190430000001</cx:pt>
          <cx:pt idx="4079">-1.888620397</cx:pt>
          <cx:pt idx="4080">-1.8887072549999999</cx:pt>
          <cx:pt idx="4081">-1.8887501499999999</cx:pt>
          <cx:pt idx="4082">-1.888795445</cx:pt>
          <cx:pt idx="4083">-1.888883308</cx:pt>
          <cx:pt idx="4084">-1.8889684419999999</cx:pt>
          <cx:pt idx="4085">-1.889013737</cx:pt>
          <cx:pt idx="4086">-1.889100574</cx:pt>
          <cx:pt idx="4087">-1.889581057</cx:pt>
          <cx:pt idx="4088">-1.889668592</cx:pt>
          <cx:pt idx="4089">-1.889711487</cx:pt>
          <cx:pt idx="4090">-1.8898000260000001</cx:pt>
          <cx:pt idx="4091">-1.889842942</cx:pt>
          <cx:pt idx="4092">-1.889886186</cx:pt>
          <cx:pt idx="4093">-1.889973699</cx:pt>
          <cx:pt idx="4094">-1.890061212</cx:pt>
          <cx:pt idx="4095">-1.890104805</cx:pt>
          <cx:pt idx="4096">-1.890147045</cx:pt>
          <cx:pt idx="4097">-1.8902362610000001</cx:pt>
          <cx:pt idx="4098">-1.890279177</cx:pt>
          <cx:pt idx="4099">-1.8902795050000001</cx:pt>
          <cx:pt idx="4100">-1.8903673670000001</cx:pt>
          <cx:pt idx="4101">-1.890410283</cx:pt>
          <cx:pt idx="4102">-1.8904984730000001</cx:pt>
          <cx:pt idx="4103">-1.890628226</cx:pt>
          <cx:pt idx="4104">-1.8907160670000001</cx:pt>
          <cx:pt idx="4105">-1.8907600090000001</cx:pt>
          <cx:pt idx="4106">-1.8908900900000001</cx:pt>
          <cx:pt idx="4107">-1.890933006</cx:pt>
          <cx:pt idx="4108">-1.8909783010000001</cx:pt>
          <cx:pt idx="4109">-1.8910211960000001</cx:pt>
          <cx:pt idx="4110">-1.8910651380000001</cx:pt>
          <cx:pt idx="4111">-1.8910654659999999</cx:pt>
          <cx:pt idx="4112">-1.8911526510000001</cx:pt>
          <cx:pt idx="4113">-1.8911965719999999</cx:pt>
          <cx:pt idx="4114">-1.8912834080000001</cx:pt>
          <cx:pt idx="4115">-1.8913280269999999</cx:pt>
          <cx:pt idx="4116">-1.8913709219999999</cx:pt>
          <cx:pt idx="4117">-1.8914148639999999</cx:pt>
          <cx:pt idx="4118">-1.8914577800000001</cx:pt>
          <cx:pt idx="4119">-1.891502727</cx:pt>
          <cx:pt idx="4120">-1.8915449440000001</cx:pt>
          <cx:pt idx="4121">-1.89158786</cx:pt>
          <cx:pt idx="4122">-1.8917199929999999</cx:pt>
          <cx:pt idx="4123">-1.8917203199999999</cx:pt>
          <cx:pt idx="4124">-1.8917625600000001</cx:pt>
          <cx:pt idx="4125">-1.8918507499999999</cx:pt>
          <cx:pt idx="4126">-1.8918936660000001</cx:pt>
          <cx:pt idx="4127">-1.892288338</cx:pt>
          <cx:pt idx="4128">-1.892419444</cx:pt>
          <cx:pt idx="4129">-1.892812436</cx:pt>
          <cx:pt idx="4130">-1.894513761</cx:pt>
          <cx:pt idx="4131">-1.8946887880000001</cx:pt>
          <cx:pt idx="4132">-1.8951256999999999</cx:pt>
          <cx:pt idx="4133">-1.8952125360000001</cx:pt>
          <cx:pt idx="4134">-1.8953433150000001</cx:pt>
          <cx:pt idx="4135">-1.8953436429999999</cx:pt>
          <cx:pt idx="4136">-1.895516988</cx:pt>
          <cx:pt idx="4137">-1.8955183419999999</cx:pt>
          <cx:pt idx="4138">-1.8955622839999999</cx:pt>
          <cx:pt idx="4139">-1.8956491209999999</cx:pt>
          <cx:pt idx="4140">-1.8956916880000001</cx:pt>
          <cx:pt idx="4141">-1.8956930409999999</cx:pt>
          <cx:pt idx="4142">-1.896086709</cx:pt>
          <cx:pt idx="4143">-1.896304303</cx:pt>
          <cx:pt idx="4144">-1.896392165</cx:pt>
          <cx:pt idx="4145">-1.896435409</cx:pt>
          <cx:pt idx="4146">-1.896653701</cx:pt>
          <cx:pt idx="4147">-1.8970013969999999</cx:pt>
          <cx:pt idx="4148">-1.897133857</cx:pt>
          <cx:pt idx="4149">-1.897396418</cx:pt>
          <cx:pt idx="4150">-1.897438636</cx:pt>
          <cx:pt idx="4151">-1.8974815519999999</cx:pt>
          <cx:pt idx="4152">-1.897526826</cx:pt>
          <cx:pt idx="4153">-1.897919468</cx:pt>
          <cx:pt idx="4154">-1.8979637380000001</cx:pt>
          <cx:pt idx="4155">-1.898006654</cx:pt>
          <cx:pt idx="4156">-1.898093491</cx:pt>
          <cx:pt idx="4157">-1.8981387860000001</cx:pt>
          <cx:pt idx="4158">-1.8982252740000001</cx:pt>
          <cx:pt idx="4159">-1.898311106</cx:pt>
          <cx:pt idx="4160">-1.8983563800000001</cx:pt>
          <cx:pt idx="4161">-1.898399296</cx:pt>
          <cx:pt idx="4162">-1.898442213</cx:pt>
          <cx:pt idx="4163">-1.898660483</cx:pt>
          <cx:pt idx="4164">-1.8987061279999999</cx:pt>
          <cx:pt idx="4165">-1.8987483460000001</cx:pt>
          <cx:pt idx="4166">-1.8987936409999999</cx:pt>
          <cx:pt idx="4167">-1.8988365359999999</cx:pt>
          <cx:pt idx="4168">-1.8988794520000001</cx:pt>
          <cx:pt idx="4169">-1.8989237210000001</cx:pt>
          <cx:pt idx="4170">-1.898965961</cx:pt>
          <cx:pt idx="4171">-1.899097067</cx:pt>
          <cx:pt idx="4172">-1.8990984209999999</cx:pt>
          <cx:pt idx="4173">-1.8991856069999999</cx:pt>
          <cx:pt idx="4174">-1.8995785759999999</cx:pt>
          <cx:pt idx="4175">-1.8996647360000001</cx:pt>
          <cx:pt idx="4176">-1.899710032</cx:pt>
          <cx:pt idx="4177">-1.899841465</cx:pt>
          <cx:pt idx="4178">-1.8999701920000001</cx:pt>
          <cx:pt idx="4179">-1.900015837</cx:pt>
          <cx:pt idx="4180">-1.9001023239999999</cx:pt>
          <cx:pt idx="4181">-1.9001452409999999</cx:pt>
          <cx:pt idx="4182">-1.900146245</cx:pt>
          <cx:pt idx="4183">-1.900233431</cx:pt>
          <cx:pt idx="4184">-1.9003216430000001</cx:pt>
          <cx:pt idx="4185">-1.900451374</cx:pt>
          <cx:pt idx="4186">-1.9010626349999999</cx:pt>
          <cx:pt idx="4187">-1.9011511750000001</cx:pt>
          <cx:pt idx="4188">-1.901194091</cx:pt>
          <cx:pt idx="4189">-1.901238011</cx:pt>
          <cx:pt idx="4190">-1.901280928</cx:pt>
          <cx:pt idx="4191">-1.901325546</cx:pt>
          <cx:pt idx="4192">-1.9014130600000001</cx:pt>
          <cx:pt idx="4193">-1.901499896</cx:pt>
          <cx:pt idx="4194">-1.901585707</cx:pt>
          <cx:pt idx="4195">-1.9016310030000001</cx:pt>
          <cx:pt idx="4196">-1.9019804010000001</cx:pt>
          <cx:pt idx="4197">-1.9022855080000001</cx:pt>
          <cx:pt idx="4198">-1.9023291010000001</cx:pt>
          <cx:pt idx="4199">-1.9028092560000001</cx:pt>
          <cx:pt idx="4200">-1.9030718179999999</cx:pt>
          <cx:pt idx="4201">-1.904249745</cx:pt>
          <cx:pt idx="4202">-1.9045998200000001</cx:pt>
          <cx:pt idx="4203">-1.904643063</cx:pt>
          <cx:pt idx="4204">-1.904730926</cx:pt>
          <cx:pt idx="4205">-1.904817413</cx:pt>
          <cx:pt idx="4206">-1.904861683</cx:pt>
          <cx:pt idx="4207">-1.904904927</cx:pt>
          <cx:pt idx="4208">-1.90494852</cx:pt>
          <cx:pt idx="4209">-1.904992789</cx:pt>
          <cx:pt idx="4210">-1.9050357060000001</cx:pt>
          <cx:pt idx="4211">-1.905079626</cx:pt>
          <cx:pt idx="4212">-1.905297918</cx:pt>
          <cx:pt idx="4213">-1.905428675</cx:pt>
          <cx:pt idx="4214">-1.9055168870000001</cx:pt>
          <cx:pt idx="4215">-1.9059098569999999</cx:pt>
          <cx:pt idx="4216">-1.9062592549999999</cx:pt>
          <cx:pt idx="4217">-1.9065647109999999</cx:pt>
          <cx:pt idx="4218">-1.9068265959999999</cx:pt>
          <cx:pt idx="4219">-1.9068694909999999</cx:pt>
          <cx:pt idx="4220">-1.908485682</cx:pt>
          <cx:pt idx="4221">-1.911410579</cx:pt>
          <cx:pt idx="4222">-1.9134619799999999</cx:pt>
          <cx:pt idx="4223">-1.9140735689999999</cx:pt>
          <cx:pt idx="4224">-1.9141171619999999</cx:pt>
          <cx:pt idx="4225">-1.919530698</cx:pt>
          <cx:pt idx="4226">-1.919617535</cx:pt>
          <cx:pt idx="4227">-1.9209715140000001</cx:pt>
          <cx:pt idx="4228">-1.92105835</cx:pt>
          <cx:pt idx="4229">-1.9211026200000001</cx:pt>
          <cx:pt idx="4230">-1.9228918079999999</cx:pt>
          <cx:pt idx="4231">-1.9231100999999999</cx:pt>
          <cx:pt idx="4232">-1.9252500400000001</cx:pt>
          <cx:pt idx="4233">-1.925555846</cx:pt>
          <cx:pt idx="4234">-1.928654721</cx:pt>
          <cx:pt idx="4235">-1.931275842</cx:pt>
          <cx:pt idx="4236">-1.931405246</cx:pt>
          <cx:pt idx="4237">-1.932278393</cx:pt>
          <cx:pt idx="4238">-1.932714955</cx:pt>
          <cx:pt idx="4239">-1.9338070709999999</cx:pt>
          <cx:pt idx="4240">-1.934810975</cx:pt>
          <cx:pt idx="4241">-1.93847824</cx:pt>
          <cx:pt idx="4242">-1.9409668790000001</cx:pt>
          <cx:pt idx="4243">-1.944416463</cx:pt>
          <cx:pt idx="4244">-1.9472993169999999</cx:pt>
          <cx:pt idx="4245">-1.9478646930000001</cx:pt>
          <cx:pt idx="4246">-1.9479073039999999</cx:pt>
          <cx:pt idx="4247">-1.9480385200000001</cx:pt>
          <cx:pt idx="4248">-1.9489116449999999</cx:pt>
          <cx:pt idx="4249">-1.94904286</cx:pt>
          <cx:pt idx="4250">-1.9526241390000001</cx:pt>
          <cx:pt idx="4251">-1.953235576</cx:pt>
          <cx:pt idx="4252">-1.954938735</cx:pt>
          <cx:pt idx="4253">-1.955462636</cx:pt>
          <cx:pt idx="4254">-1.9576898490000001</cx:pt>
          <cx:pt idx="4255">-1.9588658539999999</cx:pt>
          <cx:pt idx="4256">-1.9590868749999999</cx:pt>
          <cx:pt idx="4257">-1.9620089999999999</cx:pt>
          <cx:pt idx="4258">-1.964585</cx:pt>
          <cx:pt idx="4259">-1.964760031</cx:pt>
          <cx:pt idx="4260">-1.9651523319999999</cx:pt>
          <cx:pt idx="4261">-1.9651967749999999</cx:pt>
          <cx:pt idx="4262">-1.965218396</cx:pt>
          <cx:pt idx="4263">-1.965785565</cx:pt>
          <cx:pt idx="4264">-1.965807361</cx:pt>
          <cx:pt idx="4265">-1.967620879</cx:pt>
          <cx:pt idx="4266">-1.9688197199999999</cx:pt>
          <cx:pt idx="4267">-1.96988915</cx:pt>
          <cx:pt idx="4268">-1.9705021039999999</cx:pt>
          <cx:pt idx="4269">-1.971526415</cx:pt>
          <cx:pt idx="4270">-1.9750408290000001</cx:pt>
          <cx:pt idx="4271">-1.975717457</cx:pt>
          <cx:pt idx="4272">-1.9786427419999999</cx:pt>
          <cx:pt idx="4273">-1.979013913</cx:pt>
          <cx:pt idx="4274">-1.979910179</cx:pt>
          <cx:pt idx="4275">-1.9814817069999999</cx:pt>
          <cx:pt idx="4276">-1.981524098</cx:pt>
          <cx:pt idx="4277">-1.9815680280000001</cx:pt>
          <cx:pt idx="4278">-1.983554144</cx:pt>
          <cx:pt idx="4279">-1.983597397</cx:pt>
          <cx:pt idx="4280">-1.985103539</cx:pt>
          <cx:pt idx="4281">-1.9856509419999999</cx:pt>
          <cx:pt idx="4282">-1.986458496</cx:pt>
          <cx:pt idx="4283">-1.9877245690000001</cx:pt>
          <cx:pt idx="4284">-1.987963285</cx:pt>
          <cx:pt idx="4285">-1.993050569</cx:pt>
          <cx:pt idx="4286">-1.994382192</cx:pt>
          <cx:pt idx="4287">-1.99531967</cx:pt>
          <cx:pt idx="4288">-1.995626305</cx:pt>
          <cx:pt idx="4289">-1.9957354469999999</cx:pt>
          <cx:pt idx="4290">-1.99815846</cx:pt>
          <cx:pt idx="4291">-1.998376734</cx:pt>
          <cx:pt idx="4292">-1.998418961</cx:pt>
          <cx:pt idx="4293">-2.0006468599999998</cx:pt>
          <cx:pt idx="4294">-2.001519966</cx:pt>
          <cx:pt idx="4295">-2.003309942</cx:pt>
          <cx:pt idx="4296">-2.003877428</cx:pt>
          <cx:pt idx="4297">-2.0039417890000002</cx:pt>
          <cx:pt idx="4298">-2.0039647739999999</cx:pt>
          <cx:pt idx="4299">-2.0055352769999999</cx:pt>
          <cx:pt idx="4300">-2.0060166050000001</cx:pt>
          <cx:pt idx="4301">-2.007238933</cx:pt>
          <cx:pt idx="4302">-2.0076754800000001</cx:pt>
          <cx:pt idx="4303">-2.0086141479999999</cx:pt>
          <cx:pt idx="4304">-2.009180443</cx:pt>
          <cx:pt idx="4305">-2.0096181799999999</cx:pt>
          <cx:pt idx="4306">-2.0100111470000002</cx:pt>
          <cx:pt idx="4307">-2.0120182080000002</cx:pt>
          <cx:pt idx="4308">-2.0159919789999998</cx:pt>
          <cx:pt idx="4309">-2.0162102530000001</cx:pt>
          <cx:pt idx="4310">-2.0175199159999999</cx:pt>
          <cx:pt idx="4311">-2.0192443419999999</cx:pt>
          <cx:pt idx="4312">-2.0192880980000001</cx:pt>
          <cx:pt idx="4313">-2.0207942499999998</cx:pt>
          <cx:pt idx="4314">-2.0208160460000002</cx:pt>
          <cx:pt idx="4315">-2.021034319</cx:pt>
          <cx:pt idx="4316">-2.0240902049999998</cx:pt>
          <cx:pt idx="4317">-2.024330274</cx:pt>
          <cx:pt idx="4318">-2.0245267519999999</cx:pt>
          <cx:pt idx="4319">-2.0268406329999999</cx:pt>
          <cx:pt idx="4320">-2.0272771810000001</cx:pt>
          <cx:pt idx="4321">-2.0288928140000002</cx:pt>
          <cx:pt idx="4322">-2.0303551999999998</cx:pt>
          <cx:pt idx="4323">-2.032297561</cx:pt>
          <cx:pt idx="4324">-2.0328873550000002</cx:pt>
          <cx:pt idx="4325">-2.0338474689999999</cx:pt>
          <cx:pt idx="4326">-2.0347641649999999</cx:pt>
          <cx:pt idx="4327">-2.0348950929999998</cx:pt>
          <cx:pt idx="4328">-2.0372089629999999</cx:pt>
          <cx:pt idx="4329">-2.0403086039999998</cx:pt>
          <cx:pt idx="4330">-2.0405922639999998</cx:pt>
          <cx:pt idx="4331">-2.0407887420000002</cx:pt>
          <cx:pt idx="4332">-2.0419896130000001</cx:pt>
          <cx:pt idx="4333">-2.0431680000000001</cx:pt>
          <cx:pt idx="4334">-2.0405922259999998</cx:pt>
          <cx:pt idx="4335">-2.037666712</cx:pt>
          <cx:pt idx="4336">-2.0375798770000002</cx:pt>
          <cx:pt idx="4337">-2.0375356089999999</cx:pt>
          <cx:pt idx="4338">-2.0347858159999999</cx:pt>
          <cx:pt idx="4339">-2.0342184859999999</cx:pt>
          <cx:pt idx="4340">-2.034174567</cx:pt>
          <cx:pt idx="4341">-2.033301437</cx:pt>
          <cx:pt idx="4342">-2.029459573</cx:pt>
          <cx:pt idx="4343">-2.0290669389999998</cx:pt>
          <cx:pt idx="4344">-2.028935835</cx:pt>
          <cx:pt idx="4345">-2.0265783489999998</cx:pt>
          <cx:pt idx="4346">-2.0255741170000001</cx:pt>
          <cx:pt idx="4347">-2.0251372139999999</cx:pt>
          <cx:pt idx="4348">-2.0183701840000001</cx:pt>
          <cx:pt idx="4349">-2.0172794660000002</cx:pt>
          <cx:pt idx="4350">-2.0171922819999999</cx:pt>
          <cx:pt idx="4351">-2.012171489</cx:pt>
          <cx:pt idx="4352">-2.011647075</cx:pt>
          <cx:pt idx="4353">-2.0101626960000001</cx:pt>
          <cx:pt idx="4354">-2.0095078549999998</cx:pt>
          <cx:pt idx="4355">-2.0092902650000002</cx:pt>
          <cx:pt idx="4356">-2.0071074530000002</cx:pt>
          <cx:pt idx="4357">-2.0048810709999998</cx:pt>
          <cx:pt idx="4358">-2.0041812619999999</cx:pt>
          <cx:pt idx="4359">-2.0006881129999998</cx:pt>
          <cx:pt idx="4360">-1.9977646499999999</cx:pt>
          <cx:pt idx="4361">-1.991434524</cx:pt>
          <cx:pt idx="4362">-1.990997272</cx:pt>
          <cx:pt idx="4363">-1.990692498</cx:pt>
          <cx:pt idx="4364">-1.9906472040000001</cx:pt>
          <cx:pt idx="4365">-1.9886833559999999</cx:pt>
          <cx:pt idx="4366">-1.984884407</cx:pt>
          <cx:pt idx="4367">-1.984274839</cx:pt>
          <cx:pt idx="4368">-1.984143735</cx:pt>
          <cx:pt idx="4369">-1.983968712</cx:pt>
          <cx:pt idx="4370">-1.98274689</cx:pt>
          <cx:pt idx="4371">-1.982309638</cx:pt>
          <cx:pt idx="4372">-1.9813929379999999</cx:pt>
          <cx:pt idx="4373">-1.976372145</cx:pt>
          <cx:pt idx="4374">-1.9751925400000001</cx:pt>
          <cx:pt idx="4375">-1.9713942680000001</cx:pt>
          <cx:pt idx="4376">-1.9689070319999999</cx:pt>
          <cx:pt idx="4377">-1.9665495239999999</cx:pt>
          <cx:pt idx="4378">-1.9647161040000001</cx:pt>
          <cx:pt idx="4379">-1.964585</cx:pt>
          <cx:pt idx="4380">-1.9665931080000001</cx:pt>
          <cx:pt idx="4381">-1.9695632059999999</cx:pt>
          <cx:pt idx="4382">-1.971264839</cx:pt>
          <cx:pt idx="4383">-1.9743639879999999</cx:pt>
          <cx:pt idx="4384">-1.976548494</cx:pt>
          <cx:pt idx="4385">-1.979515514</cx:pt>
          <cx:pt idx="4386">-1.9805210959999999</cx:pt>
          <cx:pt idx="4387">-1.9828350020000001</cx:pt>
          <cx:pt idx="4388">-1.9884213989999999</cx:pt>
          <cx:pt idx="4389">-1.988814359</cx:pt>
          <cx:pt idx="4390">-1.9917398609999999</cx:pt>
          <cx:pt idx="4391">-1.992136226</cx:pt>
          <cx:pt idx="4392">-1.993791211</cx:pt>
          <cx:pt idx="4393">-1.9938365060000001</cx:pt>
          <cx:pt idx="4394">-1.9946646640000001</cx:pt>
          <cx:pt idx="4395">-1.9947957679999999</cx:pt>
          <cx:pt idx="4396">-1.9958442649999999</cx:pt>
          <cx:pt idx="4397">-2.0018246469999998</cx:pt>
          <cx:pt idx="4398">-2.0025666480000002</cx:pt>
          <cx:pt idx="4399">-2.00378984</cx:pt>
          <cx:pt idx="4400">-2.0076742539999999</cx:pt>
          <cx:pt idx="4401">-2.0107737530000001</cx:pt>
          <cx:pt idx="4402">-2.0148342370000001</cx:pt>
          <cx:pt idx="4403">-2.0156198299999999</cx:pt>
          <cx:pt idx="4404">-2.017252332</cx:pt>
          <cx:pt idx="4405">-2.0181966189999998</cx:pt>
          <cx:pt idx="4406">-2.0214296209999998</cx:pt>
          <cx:pt idx="4407">-2.0215144039999999</cx:pt>
          <cx:pt idx="4408">-2.0229541590000002</cx:pt>
          <cx:pt idx="4409">-2.0232170630000001</cx:pt>
          <cx:pt idx="4410">-2.025312682</cx:pt>
          <cx:pt idx="4411">-2.0276265659999999</cx:pt>
          <cx:pt idx="4412">-2.0285432839999999</cx:pt>
          <cx:pt idx="4413">-2.0312937419999999</cx:pt>
          <cx:pt idx="4414">-2.0333447429999998</cx:pt>
          <cx:pt idx="4415">-2.0358336709999998</cx:pt>
          <cx:pt idx="4416">-2.0358765870000002</cx:pt>
          <cx:pt idx="4417">-2.0365324509999998</cx:pt>
          <cx:pt idx="4418">-2.0395471449999998</cx:pt>
          <cx:pt idx="4419">-2.0410294869999999</cx:pt>
          <cx:pt idx="4420">-2.041249804</cx:pt>
          <cx:pt idx="4421">-2.042730771</cx:pt>
          <cx:pt idx="4422">-2.0431680000000001</cx:pt>
          <cx:pt idx="4423">-2.0432991010000001</cx:pt>
          <cx:pt idx="4424">-2.0452853869999998</cx:pt>
          <cx:pt idx="4425">-2.0460931150000001</cx:pt>
          <cx:pt idx="4426">-2.0474024370000001</cx:pt>
          <cx:pt idx="4427">-2.047511917</cx:pt>
          <cx:pt idx="4428">-2.0493248639999999</cx:pt>
          <cx:pt idx="4429">-2.0497816879999999</cx:pt>
          <cx:pt idx="4430">-2.0513969680000002</cx:pt>
          <cx:pt idx="4431">-2.05189924</cx:pt>
          <cx:pt idx="4432">-2.053056341</cx:pt>
          <cx:pt idx="4433">-2.0549118640000001</cx:pt>
          <cx:pt idx="4434">-2.0549566449999999</cx:pt>
          <cx:pt idx="4435">-2.0549988720000001</cx:pt>
          <cx:pt idx="4436">-2.057749458</cx:pt>
          <cx:pt idx="4437">-2.0578596259999999</cx:pt>
          <cx:pt idx="4438">-2.0581652450000001</cx:pt>
          <cx:pt idx="4439">-2.0582307960000001</cx:pt>
          <cx:pt idx="4440">-2.0590165530000002</cx:pt>
          <cx:pt idx="4441">-2.0590383480000001</cx:pt>
          <cx:pt idx="4442">-2.0602388669999998</cx:pt>
          <cx:pt idx="4443">-2.060544497</cx:pt>
          <cx:pt idx="4444">-2.0611981269999999</cx:pt>
          <cx:pt idx="4445">-2.0612430819999998</cx:pt>
          <cx:pt idx="4446">-2.0623548899999999</cx:pt>
          <cx:pt idx="4447">-2.062967504</cx:pt>
          <cx:pt idx="4448">-2.0640370840000002</cx:pt>
          <cx:pt idx="4449">-2.0641244310000002</cx:pt>
          <cx:pt idx="4450">-2.0641462260000001</cx:pt>
          <cx:pt idx="4451">-2.0680084669999999</cx:pt>
          <cx:pt idx="4452">-2.0680534119999998</cx:pt>
          <cx:pt idx="4453">-2.0689701060000001</cx:pt>
          <cx:pt idx="4454">-2.0705636009999999</cx:pt>
          <cx:pt idx="4455">-2.070977337</cx:pt>
          <cx:pt idx="4456">-2.071042549</cx:pt>
          <cx:pt idx="4457">-2.0710874939999999</cx:pt>
          <cx:pt idx="4458">-2.0720915340000001</cx:pt>
          <cx:pt idx="4459">-2.0726372230000001</cx:pt>
          <cx:pt idx="4460">-2.0726591929999998</cx:pt>
          <cx:pt idx="4461">-2.0727901200000001</cx:pt>
          <cx:pt idx="4462">-2.0728554959999999</cx:pt>
          <cx:pt idx="4463">-2.073750569</cx:pt>
          <cx:pt idx="4464">-2.0756484940000002</cx:pt>
          <cx:pt idx="4465">-2.0768064470000001</cx:pt>
          <cx:pt idx="4466">-2.0801461479999999</cx:pt>
          <cx:pt idx="4467">-2.0806908100000001</cx:pt>
          <cx:pt idx="4468">-2.0834202990000001</cx:pt>
          <cx:pt idx="4469">-2.0852746209999999</cx:pt>
          <cx:pt idx="4470">-2.0871092</cx:pt>
          <cx:pt idx="4471">-2.0906017979999998</cx:pt>
          <cx:pt idx="4472">-2.0909292129999999</cx:pt>
          <cx:pt idx="4473">-2.0909728049999998</cx:pt>
          <cx:pt idx="4474">-2.0914093619999998</cx:pt>
          <cx:pt idx="4475">-2.092588084</cx:pt>
          <cx:pt idx="4476">-2.0927627769999999</cx:pt>
          <cx:pt idx="4477">-2.0929592549999998</cx:pt>
          <cx:pt idx="4478">-2.0954694439999999</cx:pt>
          <cx:pt idx="4479">-2.097106519</cx:pt>
          <cx:pt idx="4480">-2.0979360310000001</cx:pt>
          <cx:pt idx="4481">-2.098001418</cx:pt>
          <cx:pt idx="4482">-2.0983943840000001</cx:pt>
          <cx:pt idx="4483">-2.1001405900000001</cx:pt>
          <cx:pt idx="4484">-2.101363079</cx:pt>
          <cx:pt idx="4485">-2.1020149090000002</cx:pt>
          <cx:pt idx="4486">-2.1029346040000001</cx:pt>
          <cx:pt idx="4487">-2.10529206</cx:pt>
          <cx:pt idx="4488">-2.1060342360000002</cx:pt>
          <cx:pt idx="4489">-2.10660172</cx:pt>
          <cx:pt idx="4490">-2.106885718</cx:pt>
          <cx:pt idx="4491">-2.109396072</cx:pt>
          <cx:pt idx="4492">-2.1111637349999999</cx:pt>
          <cx:pt idx="4493">-2.113761599</cx:pt>
          <cx:pt idx="4494">-2.1143724989999999</cx:pt>
          <cx:pt idx="4495">-2.115071259</cx:pt>
          <cx:pt idx="4496">-2.1158350559999999</cx:pt>
          <cx:pt idx="4497">-2.11603137</cx:pt>
          <cx:pt idx="4498">-2.1167299549999998</cx:pt>
          <cx:pt idx="4499">-2.1169919940000002</cx:pt>
          <cx:pt idx="4500">-2.117581274</cx:pt>
          <cx:pt idx="4501">-2.1176466500000002</cx:pt>
          <cx:pt idx="4502">-2.1182579000000001</cx:pt>
          <cx:pt idx="4503">-2.1193710710000002</cx:pt>
          <cx:pt idx="4504">-2.1195896940000001</cx:pt>
          <cx:pt idx="4505">-2.1212923199999998</cx:pt>
          <cx:pt idx="4506">-2.1217510000000002</cx:pt>
          <cx:pt idx="4507">-2.1218807540000002</cx:pt>
          <cx:pt idx="4508">-2.1246319699999998</cx:pt>
          <cx:pt idx="4509">-2.1250246150000001</cx:pt>
          <cx:pt idx="4510">-2.1255044449999998</cx:pt>
          <cx:pt idx="4511">-2.1278619920000001</cx:pt>
          <cx:pt idx="4512">-2.1279062620000002</cx:pt>
          <cx:pt idx="4513">-2.1308761220000001</cx:pt>
          <cx:pt idx="4514">-2.1321858379999998</cx:pt>
          <cx:pt idx="4515">-2.1340176030000002</cx:pt>
          <cx:pt idx="4516">-2.1340618729999998</cx:pt>
          <cx:pt idx="4517">-2.1372922220000001</cx:pt>
          <cx:pt idx="4518">-2.1381231340000002</cx:pt>
          <cx:pt idx="4519">-2.1406989959999998</cx:pt>
          <cx:pt idx="4520">-2.141439665</cx:pt>
          <cx:pt idx="4521">-2.1416582860000002</cx:pt>
          <cx:pt idx="4522">-2.1417468259999999</cx:pt>
          <cx:pt idx="4523">-2.142881842</cx:pt>
          <cx:pt idx="4524">-2.1430558660000001</cx:pt>
          <cx:pt idx="4525">-2.1441898560000001</cx:pt>
          <cx:pt idx="4526">-2.1510878400000002</cx:pt>
          <cx:pt idx="4527">-2.1511760299999998</cx:pt>
          <cx:pt idx="4528">-2.1536200870000002</cx:pt>
          <cx:pt idx="4529">-2.1536653819999998</cx:pt>
          <cx:pt idx="4530">-2.1588170619999998</cx:pt>
          <cx:pt idx="4531">-2.1598632119999999</cx:pt>
          <cx:pt idx="4532">-2.1645347340000001</cx:pt>
          <cx:pt idx="4533">-2.1675478369999999</cx:pt>
          <cx:pt idx="4534">-2.169642493</cx:pt>
          <cx:pt idx="4535">-2.1719574719999999</cx:pt>
          <cx:pt idx="4536">-2.173004975</cx:pt>
          <cx:pt idx="4537">-2.1742275270000002</cx:pt>
          <cx:pt idx="4538">-2.1764543160000001</cx:pt>
          <cx:pt idx="4539">-2.1766715830000001</cx:pt>
          <cx:pt idx="4540">-2.1787243489999999</cx:pt>
          <cx:pt idx="4541">-2.179816121</cx:pt>
          <cx:pt idx="4542">-2.1966673879999998</cx:pt>
          <cx:pt idx="4543">-2.2003349999999999</cx:pt>
          <cx:pt idx="4544">-2.2004225119999998</cx:pt>
          <cx:pt idx="4545">-2.2005103720000001</cx:pt>
          <cx:pt idx="4546">-2.2005532880000001</cx:pt>
          <cx:pt idx="4547">-2.2015139279999998</cx:pt>
          <cx:pt idx="4548">-2.2016017890000001</cx:pt>
          <cx:pt idx="4549">-2.2016457090000001</cx:pt>
          <cx:pt idx="4550">-2.207756871</cx:pt>
          <cx:pt idx="4551">-2.2092855180000002</cx:pt>
          <cx:pt idx="4552">-2.2094595369999999</cx:pt>
          <cx:pt idx="4553">-2.2122978670000002</cx:pt>
          <cx:pt idx="4554">-2.2133010739999999</cx:pt>
          <cx:pt idx="4555">-2.2134328540000001</cx:pt>
          <cx:pt idx="4556">-2.214611084</cx:pt>
          <cx:pt idx="4557">-2.2168408940000002</cx:pt>
          <cx:pt idx="4558">-2.2170128610000002</cx:pt>
          <cx:pt idx="4559">-2.21819144</cx:pt>
          <cx:pt idx="4560">-2.2182786019999998</cx:pt>
          <cx:pt idx="4561">-2.2191946470000001</cx:pt>
          <cx:pt idx="4562">-2.2219022009999998</cx:pt>
          <cx:pt idx="4563">-2.2250020610000001</cx:pt>
          <cx:pt idx="4564">-2.225306835</cx:pt>
          <cx:pt idx="4565">-2.2264424979999999</cx:pt>
          <cx:pt idx="4566">-2.2274031390000002</cx:pt>
          <cx:pt idx="4567">-2.2283198390000001</cx:pt>
          <cx:pt idx="4568">-2.2284945340000002</cx:pt>
          <cx:pt idx="4569">-2.2285381260000001</cx:pt>
          <cx:pt idx="4570">-2.229454848</cx:pt>
          <cx:pt idx="4571">-2.229716706</cx:pt>
          <cx:pt idx="4572">-2.2318552490000001</cx:pt>
          <cx:pt idx="4573">-2.2343036509999998</cx:pt>
          <cx:pt idx="4574">-2.2365273270000001</cx:pt>
          <cx:pt idx="4575">-2.2373568640000001</cx:pt>
          <cx:pt idx="4576">-2.2416781970000002</cx:pt>
          <cx:pt idx="4577">-2.246481052</cx:pt>
          <cx:pt idx="4578">-2.2472234050000002</cx:pt>
          <cx:pt idx="4579">-2.247310589</cx:pt>
          <cx:pt idx="4580">-2.2480965340000001</cx:pt>
          <cx:pt idx="4581">-2.2504976120000002</cx:pt>
          <cx:pt idx="4582">-2.2520255819999999</cx:pt>
          <cx:pt idx="4583">-2.2541205340000001</cx:pt>
          <cx:pt idx="4584">-2.2572234500000001</cx:pt>
          <cx:pt idx="4585">-2.259141654</cx:pt>
          <cx:pt idx="4586">-2.2593163500000002</cx:pt>
          <cx:pt idx="4587">-2.2649916349999999</cx:pt>
          <cx:pt idx="4588">-2.2678755869999998</cx:pt>
          <cx:pt idx="4589">-2.2703202789999999</cx:pt>
          <cx:pt idx="4590">-2.2739438550000002</cx:pt>
          <cx:pt idx="4591">-2.2746862079999999</cx:pt>
          <cx:pt idx="4592">-2.2785277449999999</cx:pt>
          <cx:pt idx="4593">-2.278918</cx:pt>
          <cx:pt idx="4594">-2.279661548</cx:pt>
          <cx:pt idx="4595">-2.2802727919999999</cx:pt>
          <cx:pt idx="4596">-2.2802932239999998</cx:pt>
          <cx:pt idx="4597">-2.281888087</cx:pt>
          <cx:pt idx="4598">-2.2819085189999999</cx:pt>
          <cx:pt idx="4599">-2.2831322090000001</cx:pt>
          <cx:pt idx="4600">-2.286013595</cx:pt>
          <cx:pt idx="4601">-2.2871049819999998</cx:pt>
          <cx:pt idx="4602">-2.2878022200000001</cx:pt>
          <cx:pt idx="4603">-2.2895716030000002</cx:pt>
          <cx:pt idx="4604">-2.29105596</cx:pt>
          <cx:pt idx="4605">-2.2937626519999998</cx:pt>
          <cx:pt idx="4606">-2.293784622</cx:pt>
          <cx:pt idx="4607">-2.2944174880000001</cx:pt>
          <cx:pt idx="4608">-2.294592008</cx:pt>
          <cx:pt idx="4609">-2.294679355</cx:pt>
          <cx:pt idx="4610">-2.2962728650000002</cx:pt>
          <cx:pt idx="4611">-2.2963602010000002</cx:pt>
          <cx:pt idx="4612">-2.2977790169999999</cx:pt>
          <cx:pt idx="4613">-2.299394312</cx:pt>
          <cx:pt idx="4614">-2.3007039850000002</cx:pt>
          <cx:pt idx="4615">-2.3026684940000002</cx:pt>
          <cx:pt idx="4616">-2.3071869710000001</cx:pt>
          <cx:pt idx="4617">-2.3083875009999999</cx:pt>
          <cx:pt idx="4618">-2.3094571030000002</cx:pt>
          <cx:pt idx="4619">-2.309500683</cx:pt>
          <cx:pt idx="4620">-2.3100683470000001</cx:pt>
          <cx:pt idx="4621">-2.3122518950000002</cx:pt>
          <cx:pt idx="4622">-2.312383031</cx:pt>
          <cx:pt idx="4623">-2.314281464</cx:pt>
          <cx:pt idx="4624">-2.314324434</cx:pt>
          <cx:pt idx="4625">-2.31436843</cx:pt>
          <cx:pt idx="4626">-2.3148489639999998</cx:pt>
          <cx:pt idx="4627">-2.3153951269999999</cx:pt>
          <cx:pt idx="4628">-2.315437551</cx:pt>
          <cx:pt idx="4629">-2.3154607220000001</cx:pt>
          <cx:pt idx="4630">-2.3176428179999999</cx:pt>
          <cx:pt idx="4631">-2.3189090409999999</cx:pt>
          <cx:pt idx="4632">-2.3190400019999999</cx:pt>
          <cx:pt idx="4633">-2.3190617979999999</cx:pt>
          <cx:pt idx="4634">-2.319804134</cx:pt>
          <cx:pt idx="4635">-2.3198261050000002</cx:pt>
          <cx:pt idx="4636">-2.3221390199999998</cx:pt>
          <cx:pt idx="4637">-2.3241469129999999</cx:pt>
          <cx:pt idx="4638">-2.3294734309999998</cx:pt>
          <cx:pt idx="4639">-2.3298664009999999</cx:pt>
          <cx:pt idx="4640">-2.3301938190000002</cx:pt>
          <cx:pt idx="4641">-2.3302156150000002</cx:pt>
          <cx:pt idx="4642">-2.3307395230000001</cx:pt>
          <cx:pt idx="4643">-2.330783115</cx:pt>
          <cx:pt idx="4644">-2.3334244420000001</cx:pt>
          <cx:pt idx="4645">-2.33355537</cx:pt>
          <cx:pt idx="4646">-2.3343193489999998</cx:pt>
          <cx:pt idx="4647">-2.3343629410000002</cx:pt>
          <cx:pt idx="4648">-2.3344066959999998</cx:pt>
          <cx:pt idx="4649">-2.3349520510000001</cx:pt>
          <cx:pt idx="4650">-2.3351703370000001</cx:pt>
          <cx:pt idx="4651">-2.3362402769999999</cx:pt>
          <cx:pt idx="4652">-2.3370480119999999</cx:pt>
          <cx:pt idx="4653">-2.3372880829999998</cx:pt>
          <cx:pt idx="4654">-2.3373359200000001</cx:pt>
          <cx:pt idx="4655">-2.3375730990000001</cx:pt>
          <cx:pt idx="4656">-2.3375948950000001</cx:pt>
          <cx:pt idx="4657">-2.3379427449999999</cx:pt>
          <cx:pt idx="4658">-2.3388609759999999</cx:pt>
          <cx:pt idx="4659">-2.3388814070000001</cx:pt>
          <cx:pt idx="4660">-2.3391010579999998</cx:pt>
          <cx:pt idx="4661">-2.3411515490000001</cx:pt>
          <cx:pt idx="4662">-2.3435963640000002</cx:pt>
          <cx:pt idx="4663">-2.3442729959999999</cx:pt>
          <cx:pt idx="4664">-2.344578619</cx:pt>
          <cx:pt idx="4665">-2.3446222099999998</cx:pt>
          <cx:pt idx="4666">-2.3454314730000001</cx:pt>
          <cx:pt idx="4667">-2.3455406160000001</cx:pt>
          <cx:pt idx="4668">-2.3468487609999999</cx:pt>
          <cx:pt idx="4669">-2.3468923419999999</cx:pt>
          <cx:pt idx="4670">-2.3474176139999998</cx:pt>
          <cx:pt idx="4671">-2.3479633080000002</cx:pt>
          <cx:pt idx="4672">-2.3499278170000002</cx:pt>
          <cx:pt idx="4673">-2.3508227239999999</cx:pt>
          <cx:pt idx="4674">-2.3524599780000002</cx:pt>
          <cx:pt idx="4675">-2.352852784</cx:pt>
          <cx:pt idx="4676">-2.3562362719999999</cx:pt>
          <cx:pt idx="4677">-2.3566714690000001</cx:pt>
          <cx:pt idx="4678">-2.3567164140000001</cx:pt>
          <cx:pt idx="4679">-2.357283915</cx:pt>
          <cx:pt idx="4680">-2.3575010000000001</cx:pt>
          <cx:pt idx="4681">-2.3560578649999999</cx:pt>
          <cx:pt idx="4682">-2.3559730839999999</cx:pt>
          <cx:pt idx="4683">-2.3535693289999999</cx:pt>
          <cx:pt idx="4684">-2.3518670479999999</cx:pt>
          <cx:pt idx="4685">-2.350906428</cx:pt>
          <cx:pt idx="4686">-2.350382701</cx:pt>
          <cx:pt idx="4687">-2.3477194510000001</cx:pt>
          <cx:pt idx="4688">-2.3472829069999999</cx:pt>
          <cx:pt idx="4689">-2.347239316</cx:pt>
          <cx:pt idx="4690">-2.3464098180000001</cx:pt>
          <cx:pt idx="4691">-2.3429609889999998</cx:pt>
          <cx:pt idx="4692">-2.342000697</cx:pt>
          <cx:pt idx="4693">-2.3417824349999998</cx:pt>
          <cx:pt idx="4694">-2.3407782240000001</cx:pt>
          <cx:pt idx="4695">-2.3388597120000001</cx:pt>
          <cx:pt idx="4696">-2.337678779</cx:pt>
          <cx:pt idx="4697">-2.3367181590000001</cx:pt>
          <cx:pt idx="4698">-2.3359782010000001</cx:pt>
          <cx:pt idx="4699">-2.3328767039999998</cx:pt>
          <cx:pt idx="4700">-2.3323526499999998</cx:pt>
          <cx:pt idx="4701">-2.331523131</cx:pt>
          <cx:pt idx="4702">-2.3303009860000001</cx:pt>
          <cx:pt idx="4703">-2.3299951929999998</cx:pt>
          <cx:pt idx="4704">-2.3294714660000002</cx:pt>
          <cx:pt idx="4705">-2.3293403650000002</cx:pt>
          <cx:pt idx="4706">-2.3234033489999999</cx:pt>
          <cx:pt idx="4707">-2.3202599639999999</cx:pt>
          <cx:pt idx="4708">-2.320085272</cx:pt>
          <cx:pt idx="4709">-2.3193432839999999</cx:pt>
          <cx:pt idx="4710">-2.317728164</cx:pt>
          <cx:pt idx="4711">-2.3143665169999998</cx:pt>
          <cx:pt idx="4712">-2.313668099</cx:pt>
          <cx:pt idx="4713">-2.3106994269999999</cx:pt>
          <cx:pt idx="4714">-2.3032780420000001</cx:pt>
          <cx:pt idx="4715">-2.3024485229999998</cx:pt>
          <cx:pt idx="4716">-2.3019244689999998</cx:pt>
          <cx:pt idx="4717">-2.301750105</cx:pt>
          <cx:pt idx="4718">-2.2961185319999999</cx:pt>
          <cx:pt idx="4719">-2.2954633549999999</cx:pt>
          <cx:pt idx="4720">-2.2935424640000002</cx:pt>
          <cx:pt idx="4721">-2.2891769549999998</cx:pt>
          <cx:pt idx="4722">-2.2885221279999999</cx:pt>
          <cx:pt idx="4723">-2.2829334480000001</cx:pt>
          <cx:pt idx="4724">-2.281013583</cx:pt>
          <cx:pt idx="4725">-2.279310953</cx:pt>
          <cx:pt idx="4726">-2.279048752</cx:pt>
          <cx:pt idx="4727">-2.278918</cx:pt>
          <cx:pt idx="4728">-2.2823668580000001</cx:pt>
          <cx:pt idx="4729">-2.284331356</cx:pt>
          <cx:pt idx="4730">-2.2877366229999998</cx:pt>
          <cx:pt idx="4731">-2.2886969019999999</cx:pt>
          <cx:pt idx="4732">-2.290094099</cx:pt>
          <cx:pt idx="4733">-2.2942849509999999</cx:pt>
          <cx:pt idx="4734">-2.2969482019999998</cx:pt>
          <cx:pt idx="4735">-2.2973408310000001</cx:pt>
          <cx:pt idx="4736">-2.2992627639999998</cx:pt>
          <cx:pt idx="4737">-2.3016192150000001</cx:pt>
          <cx:pt idx="4738">-2.3054610289999999</cx:pt>
          <cx:pt idx="4739">-2.306770695</cx:pt>
          <cx:pt idx="4740">-2.307425528</cx:pt>
          <cx:pt idx="4741">-2.3094775369999998</cx:pt>
          <cx:pt idx="4742">-2.3120114090000001</cx:pt>
          <cx:pt idx="4743">-2.3122283189999999</cx:pt>
          <cx:pt idx="4744">-2.3152852249999998</cx:pt>
          <cx:pt idx="4745">-2.3159400570000002</cx:pt>
          <cx:pt idx="4746">-2.3197372760000001</cx:pt>
          <cx:pt idx="4747">-2.319780191</cx:pt>
          <cx:pt idx="4748">-2.32227045</cx:pt>
          <cx:pt idx="4749">-2.3250341560000001</cx:pt>
          <cx:pt idx="4750">-2.3289481780000001</cx:pt>
          <cx:pt idx="4751">-2.329211736</cx:pt>
          <cx:pt idx="4752">-2.3321787509999998</cx:pt>
          <cx:pt idx="4753">-2.332966061</cx:pt>
          <cx:pt idx="4754">-2.333140733</cx:pt>
          <cx:pt idx="4755">-2.3332718350000001</cx:pt>
          <cx:pt idx="4756">-2.3339266680000001</cx:pt>
          <cx:pt idx="4757">-2.334450398</cx:pt>
          <cx:pt idx="4758">-2.3385104980000002</cx:pt>
          <cx:pt idx="4759">-2.3388142630000002</cx:pt>
          <cx:pt idx="4760">-2.3416089640000002</cx:pt>
          <cx:pt idx="4761">-2.3426131620000001</cx:pt>
          <cx:pt idx="4762">-2.3452324939999998</cx:pt>
          <cx:pt idx="4763">-2.3453207030000001</cx:pt>
          <cx:pt idx="4764">-2.348813829</cx:pt>
          <cx:pt idx="4765">-2.3502974889999999</cx:pt>
          <cx:pt idx="4766">-2.3531783480000001</cx:pt>
          <cx:pt idx="4767">-2.3539210399999999</cx:pt>
          <cx:pt idx="4768">-2.356190658</cx:pt>
          <cx:pt idx="4769">-2.3566268560000001</cx:pt>
          <cx:pt idx="4770">-2.3575010000000001</cx:pt>
          <cx:pt idx="4771">-2.3580900840000001</cx:pt>
          <cx:pt idx="4772">-2.358417663</cx:pt>
          <cx:pt idx="4773">-2.3611899470000002</cx:pt>
          <cx:pt idx="4774">-2.364092313</cx:pt>
          <cx:pt idx="4775">-2.3644638090000001</cx:pt>
          <cx:pt idx="4776">-2.3664941279999998</cx:pt>
          <cx:pt idx="4777">-2.3671703810000002</cx:pt>
          <cx:pt idx="4778">-2.3672154989999998</cx:pt>
          <cx:pt idx="4779">-2.3700953939999998</cx:pt>
          <cx:pt idx="4780">-2.3716014790000002</cx:pt>
          <cx:pt idx="4781">-2.3721686040000001</cx:pt>
          <cx:pt idx="4782">-2.3722128709999999</cx:pt>
          <cx:pt idx="4783">-2.3726708689999998</cx:pt>
          <cx:pt idx="4784">-2.3726926640000001</cx:pt>
          <cx:pt idx="4785">-2.3728251139999998</cx:pt>
          <cx:pt idx="4786">-2.3754426409999998</cx:pt>
          <cx:pt idx="4787">-2.3754867439999998</cx:pt>
          <cx:pt idx="4788">-2.3756626199999999</cx:pt>
          <cx:pt idx="4789">-2.3757268040000001</cx:pt>
          <cx:pt idx="4790">-2.3760542079999998</cx:pt>
          <cx:pt idx="4791">-2.3776925900000001</cx:pt>
          <cx:pt idx="4792">-2.3782163000000001</cx:pt>
          <cx:pt idx="4793">-2.3784333759999998</cx:pt>
          <cx:pt idx="4794">-2.3792628589999998</cx:pt>
          <cx:pt idx="4795">-2.3795465089999999</cx:pt>
          <cx:pt idx="4796">-2.379917667</cx:pt>
          <cx:pt idx="4797">-2.38024507</cx:pt>
          <cx:pt idx="4798">-2.3806598170000002</cx:pt>
          <cx:pt idx="4799">-2.3808780930000002</cx:pt>
          <cx:pt idx="4800">-2.3817961090000002</cx:pt>
          <cx:pt idx="4801">-2.3819052470000002</cx:pt>
          <cx:pt idx="4802">-2.382734567</cx:pt>
          <cx:pt idx="4803">-2.3833447689999998</cx:pt>
          <cx:pt idx="4804">-2.384939224</cx:pt>
          <cx:pt idx="4805">-2.385244658</cx:pt>
          <cx:pt idx="4806">-2.3874493139999999</cx:pt>
          <cx:pt idx="4807">-2.38904139</cx:pt>
          <cx:pt idx="4808">-2.3890631739999999</cx:pt>
          <cx:pt idx="4809">-2.3893032340000002</cx:pt>
          <cx:pt idx="4810">-2.3915964239999998</cx:pt>
          <cx:pt idx="4811">-2.3933633489999999</cx:pt>
          <cx:pt idx="4812">-2.3946304</cx:pt>
          <cx:pt idx="4813">-2.3949128599999998</cx:pt>
          <cx:pt idx="4814">-2.3949579779999999</cx:pt>
          <cx:pt idx="4815">-2.3953071650000002</cx:pt>
          <cx:pt idx="4816">-2.398344383</cx:pt>
          <cx:pt idx="4817">-2.398716555</cx:pt>
          <cx:pt idx="4818">-2.4021434830000001</cx:pt>
          <cx:pt idx="4819">-2.405352309</cx:pt>
          <cx:pt idx="4820">-2.4085606340000001</cx:pt>
          <cx:pt idx="4821">-2.408953586</cx:pt>
          <cx:pt idx="4822">-2.4099793759999999</cx:pt>
          <cx:pt idx="4823">-2.410634183</cx:pt>
          <cx:pt idx="4824">-2.411638189</cx:pt>
          <cx:pt idx="4825">-2.4145849959999999</cx:pt>
          <cx:pt idx="4826">-2.4151527979999998</cx:pt>
          <cx:pt idx="4827">-2.415239803</cx:pt>
          <cx:pt idx="4828">-2.4170514970000001</cx:pt>
          <cx:pt idx="4829">-2.417422491</cx:pt>
          <cx:pt idx="4830">-2.4176628889999998</cx:pt>
          <cx:pt idx="4831">-2.4187103099999998</cx:pt>
          <cx:pt idx="4832">-2.4194524610000001</cx:pt>
          <cx:pt idx="4833">-2.4196051779999999</cx:pt>
          <cx:pt idx="4834">-2.4197364490000002</cx:pt>
          <cx:pt idx="4835">-2.420587389</cx:pt>
          <cx:pt idx="4836">-2.4221380899999998</cx:pt>
          <cx:pt idx="4837">-2.4240578959999999</cx:pt>
          <cx:pt idx="4838">-2.4261099989999999</cx:pt>
          <cx:pt idx="4839">-2.426480829</cx:pt>
          <cx:pt idx="4840">-2.4294278</cx:pt>
          <cx:pt idx="4841">-2.4298639930000001</cx:pt>
          <cx:pt idx="4842">-2.4308026140000001</cx:pt>
          <cx:pt idx="4843">-2.431937553</cx:pt>
          <cx:pt idx="4844">-2.4323245459999998</cx:pt>
          <cx:pt idx="4845">-2.4336404570000001</cx:pt>
          <cx:pt idx="4846">-2.4341207530000002</cx:pt>
          <cx:pt idx="4847">-2.4360849999999998</cx:pt>
          <cx:pt idx="4848">-2.4358668880000001</cx:pt>
          <cx:pt idx="4849">-2.435785675</cx:pt>
          <cx:pt idx="4850">-2.4333556569999999</cx:pt>
          <cx:pt idx="4851">-2.433072846</cx:pt>
          <cx:pt idx="4852">-2.4318496679999999</cx:pt>
          <cx:pt idx="4853">-2.4317849680000001</cx:pt>
          <cx:pt idx="4854">-2.430278301</cx:pt>
          <cx:pt idx="4855">-2.4299512210000001</cx:pt>
          <cx:pt idx="4856">-2.4299294250000001</cx:pt>
          <cx:pt idx="4857">-2.4297760240000001</cx:pt>
          <cx:pt idx="4858">-2.4297324329999999</cx:pt>
          <cx:pt idx="4859">-2.429580385</cx:pt>
          <cx:pt idx="4860">-2.429536455</cx:pt>
          <cx:pt idx="4861">-2.4271793239999999</cx:pt>
          <cx:pt idx="4862">-2.426480556</cx:pt>
          <cx:pt idx="4863">-2.4251053310000001</cx:pt>
          <cx:pt idx="4864">-2.4247336439999998</cx:pt>
          <cx:pt idx="4865">-2.4241230749999998</cx:pt>
          <cx:pt idx="4866">-2.4241012799999999</cx:pt>
          <cx:pt idx="4867">-2.4228346840000001</cx:pt>
          <cx:pt idx="4868">-2.421067002</cx:pt>
          <cx:pt idx="4869">-2.4193211049999999</cx:pt>
          <cx:pt idx="4870">-2.4192771749999999</cx:pt>
          <cx:pt idx="4871">-2.4192548770000002</cx:pt>
          <cx:pt idx="4872">-2.4150638130000002</cx:pt>
          <cx:pt idx="4873">-2.414955183</cx:pt>
          <cx:pt idx="4874">-2.4149325460000002</cx:pt>
          <cx:pt idx="4875">-2.4127286410000002</cx:pt>
          <cx:pt idx="4876">-2.4096720540000001</cx:pt>
          <cx:pt idx="4877">-2.4095418030000002</cx:pt>
          <cx:pt idx="4878">-2.4082752080000001</cx:pt>
          <cx:pt idx="4879">-2.4082321289999999</cx:pt>
          <cx:pt idx="4880">-2.4074017460000001</cx:pt>
          <cx:pt idx="4881">-2.4070091140000001</cx:pt>
          <cx:pt idx="4882">-2.4067690430000002</cx:pt>
          <cx:pt idx="4883">-2.4037572379999999</cx:pt>
          <cx:pt idx="4884">-2.4036480949999999</cx:pt>
          <cx:pt idx="4885">-2.4036043399999998</cx:pt>
          <cx:pt idx="4886">-2.4031454800000001</cx:pt>
          <cx:pt idx="4887">-2.4027530229999998</cx:pt>
          <cx:pt idx="4888">-2.4027089180000001</cx:pt>
          <cx:pt idx="4889">-2.4025766260000001</cx:pt>
          <cx:pt idx="4890">-2.401137726</cx:pt>
          <cx:pt idx="4891">-2.3991291110000001</cx:pt>
          <cx:pt idx="4892">-2.3990199680000002</cx:pt>
          <cx:pt idx="4893">-2.3989763869999998</cx:pt>
          <cx:pt idx="4894">-2.3980819910000002</cx:pt>
          <cx:pt idx="4895">-2.3978637049999998</cx:pt>
          <cx:pt idx="4896">-2.3958549260000002</cx:pt>
          <cx:pt idx="4897">-2.3952874359999998</cx:pt>
          <cx:pt idx="4898">-2.3952656399999999</cx:pt>
          <cx:pt idx="4899">-2.3949160869999999</cx:pt>
          <cx:pt idx="4900">-2.3943705679999998</cx:pt>
          <cx:pt idx="4901">-2.393781282</cx:pt>
          <cx:pt idx="4902">-2.3932355780000001</cx:pt>
          <cx:pt idx="4903">-2.3917948010000001</cx:pt>
          <cx:pt idx="4904">-2.3906598209999999</cx:pt>
          <cx:pt idx="4905">-2.3894373199999999</cx:pt>
          <cx:pt idx="4906">-2.3881930329999999</cx:pt>
          <cx:pt idx="4907">-2.3881058500000001</cx:pt>
          <cx:pt idx="4908">-2.3873856359999999</cx:pt>
          <cx:pt idx="4909">-2.3865123490000002</cx:pt>
          <cx:pt idx="4910">-2.3843077670000001</cx:pt>
          <cx:pt idx="4911">-2.3841112870000001</cx:pt>
          <cx:pt idx="4912">-2.3832819199999999</cx:pt>
          <cx:pt idx="4913">-2.3824741949999999</cx:pt>
          <cx:pt idx="4914">-2.381797562</cx:pt>
          <cx:pt idx="4915">-2.3815137239999999</cx:pt>
          <cx:pt idx="4916">-2.3803131930000001</cx:pt>
          <cx:pt idx="4917">-2.3764715189999999</cx:pt>
          <cx:pt idx="4918">-2.3762968240000002</cx:pt>
          <cx:pt idx="4919">-2.3760785489999998</cx:pt>
          <cx:pt idx="4920">-2.3760129970000001</cx:pt>
          <cx:pt idx="4921">-2.3748340880000001</cx:pt>
          <cx:pt idx="4922">-2.3743977009999999</cx:pt>
          <cx:pt idx="4923">-2.3723446529999999</cx:pt>
          <cx:pt idx="4924">-2.3702926199999999</cx:pt>
          <cx:pt idx="4925">-2.3682639220000001</cx:pt>
          <cx:pt idx="4926">-2.3682203409999998</cx:pt>
          <cx:pt idx="4927">-2.3672162889999999</cx:pt>
          <cx:pt idx="4928">-2.3663200170000001</cx:pt>
          <cx:pt idx="4929">-2.3639201339999998</cx:pt>
          <cx:pt idx="4930">-2.3636798990000001</cx:pt>
          <cx:pt idx="4931">-2.362588675</cx:pt>
          <cx:pt idx="4932">-2.362064766</cx:pt>
          <cx:pt idx="4933">-2.3606445950000001</cx:pt>
          <cx:pt idx="4934">-2.3602529900000002</cx:pt>
          <cx:pt idx="4935">-2.3595531969999999</cx:pt>
          <cx:pt idx="4936">-2.3593349209999999</cx:pt>
          <cx:pt idx="4937">-2.3593131249999999</cx:pt>
          <cx:pt idx="4938">-2.3580907990000002</cx:pt>
          <cx:pt idx="4939">-2.3575010000000001</cx:pt>
          <cx:pt idx="4940">-2.3558425949999999</cx:pt>
          <cx:pt idx="4941">-2.3557547329999999</cx:pt>
          <cx:pt idx="4942">-2.3545768100000002</cx:pt>
          <cx:pt idx="4943">-2.3486392139999999</cx:pt>
          <cx:pt idx="4944">-2.34457899</cx:pt>
          <cx:pt idx="4945">-2.3438805450000002</cx:pt>
          <cx:pt idx="4946">-2.3406519029999999</cx:pt>
          <cx:pt idx="4947">-2.3402132899999999</cx:pt>
          <cx:pt idx="4948">-2.3362406020000002</cx:pt>
          <cx:pt idx="4949">-2.3361966600000001</cx:pt>
          <cx:pt idx="4950">-2.3356729129999998</cx:pt>
          <cx:pt idx="4951">-2.3337519470000001</cx:pt>
          <cx:pt idx="4952">-2.3295602689999999</cx:pt>
          <cx:pt idx="4953">-2.3294298609999999</cx:pt>
          <cx:pt idx="4954">-2.3271581229999998</cx:pt>
          <cx:pt idx="4955">-2.326766857</cx:pt>
          <cx:pt idx="4956">-2.326723264</cx:pt>
          <cx:pt idx="4957">-2.3241910379999999</cx:pt>
          <cx:pt idx="4958">-2.3241467689999999</cx:pt>
          <cx:pt idx="4959">-2.3185149549999999</cx:pt>
          <cx:pt idx="4960">-2.3145861870000002</cx:pt>
          <cx:pt idx="4961">-2.3137562869999999</cx:pt>
          <cx:pt idx="4962">-2.312883491</cx:pt>
          <cx:pt idx="4963">-2.3081231419999999</cx:pt>
          <cx:pt idx="4964">-2.3061585830000002</cx:pt>
          <cx:pt idx="4965">-2.3046319390000001</cx:pt>
          <cx:pt idx="4966">-2.2979965739999999</cx:pt>
          <cx:pt idx="4967">-2.297516092</cx:pt>
          <cx:pt idx="4968">-2.2974725</cx:pt>
          <cx:pt idx="4969">-2.295114951</cx:pt>
          <cx:pt idx="4970">-2.294765902</cx:pt>
          <cx:pt idx="4971">-2.2930615250000002</cx:pt>
          <cx:pt idx="4972">-2.2917484140000002</cx:pt>
          <cx:pt idx="4973">-2.2915788240000001</cx:pt>
          <cx:pt idx="4974">-2.291490961</cx:pt>
          <cx:pt idx="4975">-2.2904383589999999</cx:pt>
          <cx:pt idx="4976">-2.2890030050000001</cx:pt>
          <cx:pt idx="4977">-2.2838898310000002</cx:pt>
          <cx:pt idx="4978">-2.2830211170000001</cx:pt>
          <cx:pt idx="4979">-2.278918</cx:pt>
          <cx:pt idx="4980">-2.2783064149999999</cx:pt>
          <cx:pt idx="4981">-2.2750326319999998</cx:pt>
          <cx:pt idx="4982">-2.2749447730000001</cx:pt>
          <cx:pt idx="4983">-2.2744213969999998</cx:pt>
          <cx:pt idx="4984">-2.274334214</cx:pt>
          <cx:pt idx="4985">-2.2714959490000002</cx:pt>
          <cx:pt idx="4986">-2.268134984</cx:pt>
          <cx:pt idx="4987">-2.2665634790000002</cx:pt>
          <cx:pt idx="4988">-2.2639441730000001</cx:pt>
          <cx:pt idx="4989">-2.2614113499999999</cx:pt>
          <cx:pt idx="4990">-2.2612363310000001</cx:pt>
          <cx:pt idx="4991">-2.2574388000000001</cx:pt>
          <cx:pt idx="4992">-2.2476599940000002</cx:pt>
          <cx:pt idx="4993">-2.2462635080000002</cx:pt>
          <cx:pt idx="4994">-2.2418087930000001</cx:pt>
          <cx:pt idx="4995">-2.2417226370000001</cx:pt>
          <cx:pt idx="4996">-2.2416797220000002</cx:pt>
          <cx:pt idx="4997">-2.239189487</cx:pt>
          <cx:pt idx="4998">-2.238665761</cx:pt>
          <cx:pt idx="4999">-2.2356980979999999</cx:pt>
          <cx:pt idx="5000">-2.2330787920000001</cx:pt>
          <cx:pt idx="5001">-2.2326865159999998</cx:pt>
          <cx:pt idx="5002">-2.2326412219999998</cx:pt>
          <cx:pt idx="5003">-2.2307649289999998</cx:pt>
          <cx:pt idx="5004">-2.2291498330000001</cx:pt>
          <cx:pt idx="5005">-2.2266616269999999</cx:pt>
          <cx:pt idx="5006">-2.2209850960000002</cx:pt>
          <cx:pt idx="5007">-2.2205931699999999</cx:pt>
          <cx:pt idx="5008">-2.2204150729999999</cx:pt>
          <cx:pt idx="5009">-2.2147865640000002</cx:pt>
          <cx:pt idx="5010">-2.2145246900000002</cx:pt>
          <cx:pt idx="5011">-2.2131714680000001</cx:pt>
          <cx:pt idx="5012">-2.2113367140000002</cx:pt>
          <cx:pt idx="5013">-2.2086741660000002</cx:pt>
          <cx:pt idx="5014">-2.2061420420000002</cx:pt>
          <cx:pt idx="5015">-2.2042655089999998</cx:pt>
          <cx:pt idx="5016">-2.2042208479999998</cx:pt>
          <cx:pt idx="5017">-2.20155865</cx:pt>
          <cx:pt idx="5018">-2.2003349999999999</cx:pt>
          <cx:pt idx="5019">-2.197323387</cx:pt>
          <cx:pt idx="5020">-2.1922077569999998</cx:pt>
          <cx:pt idx="5021">-2.1919978680000001</cx:pt>
          <cx:pt idx="5022">-2.1741842899999999</cx:pt>
          <cx:pt idx="5023">-2.1739659969999998</cx:pt>
          <cx:pt idx="5024">-2.1719131919999999</cx:pt>
          <cx:pt idx="5025">-2.1682022989999998</cx:pt>
          <cx:pt idx="5026">-2.164928669</cx:pt>
          <cx:pt idx="5027">-2.1618726549999998</cx:pt>
          <cx:pt idx="5028">-2.1617847920000002</cx:pt>
          <cx:pt idx="5029">-2.161217798</cx:pt>
          <cx:pt idx="5030">-2.1498223169999999</cx:pt>
          <cx:pt idx="5031">-2.1493857529999998</cx:pt>
          <cx:pt idx="5032">-2.1492546460000002</cx:pt>
          <cx:pt idx="5033">-2.1482507380000002</cx:pt>
          <cx:pt idx="5034">-2.1391263330000001</cx:pt>
          <cx:pt idx="5035">-2.1373797059999999</cx:pt>
          <cx:pt idx="5036">-2.1336688559999999</cx:pt>
          <cx:pt idx="5037">-2.1329274900000001</cx:pt>
          <cx:pt idx="5038">-2.1319225570000002</cx:pt>
          <cx:pt idx="5039">-2.1261596229999999</cx:pt>
          <cx:pt idx="5040">-2.1256801420000002</cx:pt>
          <cx:pt idx="5041">-2.123448577</cx:pt>
          <cx:pt idx="5042">-2.1234100919999999</cx:pt>
          <cx:pt idx="5043">-2.1233225779999998</cx:pt>
          <cx:pt idx="5044">-2.1217510000000002</cx:pt>
          <cx:pt idx="5045">-2.1211833210000002</cx:pt>
          <cx:pt idx="5046">-2.1210961589999999</cx:pt>
          <cx:pt idx="5047">-2.118212883</cx:pt>
          <cx:pt idx="5048">-2.1170360060000002</cx:pt>
          <cx:pt idx="5049">-2.1166859379999998</cx:pt>
          <cx:pt idx="5050">-2.115769217</cx:pt>
          <cx:pt idx="5051">-2.1126704040000002</cx:pt>
          <cx:pt idx="5052">-2.105335347</cx:pt>
          <cx:pt idx="5053">-2.1018854400000002</cx:pt>
          <cx:pt idx="5054">-2.0976952099999999</cx:pt>
          <cx:pt idx="5055">-2.091889825</cx:pt>
          <cx:pt idx="5056">-2.0915397570000001</cx:pt>
          <cx:pt idx="5057">-2.0903172589999999</cx:pt>
          <cx:pt idx="5058">-2.0853403849999999</cx:pt>
          <cx:pt idx="5059">-2.076216198</cx:pt>
          <cx:pt idx="5060">-2.0657813009999999</cx:pt>
          <cx:pt idx="5061">-2.0633812489999999</cx:pt>
          <cx:pt idx="5062">-2.0606307799999999</cx:pt>
          <cx:pt idx="5063">-2.0604114660000001</cx:pt>
          <cx:pt idx="5064">-2.0595819510000002</cx:pt>
          <cx:pt idx="5065">-2.059144699</cx:pt>
          <cx:pt idx="5066">-2.0577492070000001</cx:pt>
          <cx:pt idx="5067">-2.057487327</cx:pt>
          <cx:pt idx="5068">-2.0529470289999998</cx:pt>
          <cx:pt idx="5069">-2.0527723330000001</cx:pt>
          <cx:pt idx="5070">-2.0526415789999999</cx:pt>
          <cx:pt idx="5071">-2.049847518</cx:pt>
          <cx:pt idx="5072">-2.0497164140000002</cx:pt>
          <cx:pt idx="5073">-2.0496728219999998</cx:pt>
          <cx:pt idx="5074">-2.0468787609999999</cx:pt>
          <cx:pt idx="5075">-2.0457434459999999</cx:pt>
          <cx:pt idx="5076">-2.0431680000000001</cx:pt>
          <cx:pt idx="5077">-2.0430145909999999</cx:pt>
          <cx:pt idx="5078">-2.040809877</cx:pt>
          <cx:pt idx="5079">-2.0402866639999999</cx:pt>
          <cx:pt idx="5080">-2.0400239490000001</cx:pt>
          <cx:pt idx="5081">-2.0378629799999999</cx:pt>
          <cx:pt idx="5082">-2.0378413590000002</cx:pt>
          <cx:pt idx="5083">-2.0373172940000002</cx:pt>
          <cx:pt idx="5084">-2.0359206319999998</cx:pt>
          <cx:pt idx="5085">-2.035811501</cx:pt>
          <cx:pt idx="5086">-2.0357663819999998</cx:pt>
          <cx:pt idx="5087">-2.03476371</cx:pt>
          <cx:pt idx="5088">-2.0312062530000001</cx:pt>
          <cx:pt idx="5089">-2.0302633459999999</cx:pt>
          <cx:pt idx="5090">-2.0298739509999999</cx:pt>
          <cx:pt idx="5091">-2.0268400569999998</cx:pt>
          <cx:pt idx="5092">-2.0265332489999999</cx:pt>
          <cx:pt idx="5093">-2.0264911969999999</cx:pt>
          <cx:pt idx="5094">-2.0257268900000001</cx:pt>
          <cx:pt idx="5095">-2.0241334019999999</cx:pt>
          <cx:pt idx="5096">-2.0241102529999999</cx:pt>
          <cx:pt idx="5097">-2.0229315240000001</cx:pt>
          <cx:pt idx="5098">-2.020072147</cx:pt>
          <cx:pt idx="5099">-2.014091192</cx:pt>
          <cx:pt idx="5100">-2.0127171760000002</cx:pt>
          <cx:pt idx="5101">-2.012324387</cx:pt>
          <cx:pt idx="5102">-2.010618188</cx:pt>
          <cx:pt idx="5103">-2.0102945179999998</cx:pt>
          <cx:pt idx="5104">-2.0098797589999999</cx:pt>
          <cx:pt idx="5105">-2.0075878629999999</cx:pt>
          <cx:pt idx="5106">-2.0053831500000001</cx:pt>
          <cx:pt idx="5107">-2.0052958040000002</cx:pt>
          <cx:pt idx="5108">-2.0046130469999999</cx:pt>
          <cx:pt idx="5109">-2.003177236</cx:pt>
          <cx:pt idx="5110">-2.0018893769999999</cx:pt>
          <cx:pt idx="5111">-2.0016710940000002</cx:pt>
          <cx:pt idx="5112">-1.999205707</cx:pt>
          <cx:pt idx="5113">-1.9991622899999999</cx:pt>
          <cx:pt idx="5114">-1.9976985490000001</cx:pt>
          <cx:pt idx="5115">-1.9956479110000001</cx:pt>
          <cx:pt idx="5116">-1.994665506</cx:pt>
          <cx:pt idx="5117">-1.9930490329999999</cx:pt>
          <cx:pt idx="5118">-1.991805955</cx:pt>
          <cx:pt idx="5119">-1.991674003</cx:pt>
          <cx:pt idx="5120">-1.990538865</cx:pt>
          <cx:pt idx="5121">-1.9882044050000001</cx:pt>
          <cx:pt idx="5122">-1.9876369229999999</cx:pt>
          <cx:pt idx="5123">-1.9872429330000001</cx:pt>
          <cx:pt idx="5124">-1.985976357</cx:pt>
          <cx:pt idx="5125">-1.9839027440000001</cx:pt>
          <cx:pt idx="5126">-1.9826153870000001</cx:pt>
          <cx:pt idx="5127">-1.9822889990000001</cx:pt>
          <cx:pt idx="5128">-1.981916805</cx:pt>
          <cx:pt idx="5129">-1.981851255</cx:pt>
          <cx:pt idx="5130">-1.9809127689999999</cx:pt>
          <cx:pt idx="5131">-1.9803885290000001</cx:pt>
          <cx:pt idx="5132">-1.980237172</cx:pt>
          <cx:pt idx="5133">-1.97971327</cx:pt>
          <cx:pt idx="5134">-1.978467977</cx:pt>
          <cx:pt idx="5135">-1.9781197930000001</cx:pt>
          <cx:pt idx="5136">-1.9780969829999999</cx:pt>
          <cx:pt idx="5137">-1.977289259</cx:pt>
          <cx:pt idx="5138">-1.9759349980000001</cx:pt>
          <cx:pt idx="5139">-1.9746253439999999</cx:pt>
          <cx:pt idx="5140">-1.9743207410000001</cx:pt>
          <cx:pt idx="5141">-1.9741678439999999</cx:pt>
          <cx:pt idx="5142">-1.97054416</cx:pt>
          <cx:pt idx="5143">-1.9698459159999999</cx:pt>
          <cx:pt idx="5144">-1.969627644</cx:pt>
          <cx:pt idx="5145">-1.968645228</cx:pt>
          <cx:pt idx="5146">-1.9686013099999999</cx:pt>
          <cx:pt idx="5147">-1.9657642310000001</cx:pt>
          <cx:pt idx="5148">-1.964585</cx:pt>
          <cx:pt idx="5149">4.493499473</cx:pt>
          <cx:pt idx="5150">9.4370628889999999</cx:pt>
          <cx:pt idx="5151">19.226548690000001</cx:pt>
          <cx:pt idx="5152">21.347251579999998</cx:pt>
          <cx:pt idx="5153">25.283976899999999</cx:pt>
          <cx:pt idx="5154">30.732902110000001</cx:pt>
          <cx:pt idx="5155">33.758815650000003</cx:pt>
          <cx:pt idx="5156">34.467280879999997</cx:pt>
          <cx:pt idx="5157">47.08437052</cx:pt>
          <cx:pt idx="5158">51.318661339999998</cx:pt>
          <cx:pt idx="5159">61.511931959999998</cx:pt>
          <cx:pt idx="5160">74.835115189999996</cx:pt>
          <cx:pt idx="5161">78.873417480000001</cx:pt>
          <cx:pt idx="5162">81.998536340000001</cx:pt>
          <cx:pt idx="5163">85.026064629999993</cx:pt>
          <cx:pt idx="5164">91.787214770000006</cx:pt>
          <cx:pt idx="5165">94.108649470000003</cx:pt>
          <cx:pt idx="5166">99.962166839999995</cx:pt>
          <cx:pt idx="5167">101.0744674</cx:pt>
          <cx:pt idx="5168">103.4943</cx:pt>
          <cx:pt idx="5169">117.48220000000001</cx:pt>
          <cx:pt idx="5170">87.69905</cx:pt>
          <cx:pt idx="5171">58.211342510000001</cx:pt>
          <cx:pt idx="5172">-1.964585</cx:pt>
          <cx:pt idx="5173">-1.523955433</cx:pt>
          <cx:pt idx="5174">-1.244049381</cx:pt>
          <cx:pt idx="5175">1.0626085700000001</cx:pt>
          <cx:pt idx="5176">1.2059302780000001</cx:pt>
          <cx:pt idx="5177">3.3675731799999999</cx:pt>
          <cx:pt idx="5178">11.87024665</cx:pt>
          <cx:pt idx="5179">16.04909387</cx:pt>
          <cx:pt idx="5180">21.237353890000001</cx:pt>
          <cx:pt idx="5181">27.146185559999999</cx:pt>
          <cx:pt idx="5182">30.820884830000001</cx:pt>
          <cx:pt idx="5183">32.406971120000001</cx:pt>
          <cx:pt idx="5184">36.009721310000003</cx:pt>
          <cx:pt idx="5185">37.594150290000002</cx:pt>
          <cx:pt idx="5186">43.143813029999997</cx:pt>
          <cx:pt idx="5187">47.609844080000002</cx:pt>
          <cx:pt idx="5188">54.600614090000001</cx:pt>
          <cx:pt idx="5189">56.475613600000003</cx:pt>
          <cx:pt idx="5190">56.692001269999999</cx:pt>
          <cx:pt idx="5191">63.822165869999999</cx:pt>
          <cx:pt idx="5192">64.903563779999999</cx:pt>
          <cx:pt idx="5193">65.263813580000004</cx:pt>
          <cx:pt idx="5194">69.013272150000006</cx:pt>
          <cx:pt idx="5195">74.27178791</cx:pt>
          <cx:pt idx="5196">79.389251770000001</cx:pt>
          <cx:pt idx="5197">81.620033520000007</cx:pt>
          <cx:pt idx="5198">83.998064099999993</cx:pt>
          <cx:pt idx="5199">97.473762829999998</cx:pt>
          <cx:pt idx="5200">98.266823990000006</cx:pt>
          <cx:pt idx="5201">99.565150000000003</cx:pt>
          <cx:pt idx="5202">117.5607</cx:pt>
          <cx:pt idx="5203">104.1884695</cx:pt>
          <cx:pt idx="5204">91.215506910000002</cx:pt>
          <cx:pt idx="5205">77.640370000000004</cx:pt>
          <cx:pt idx="5206">94.771559999999994</cx:pt>
          <cx:pt idx="5207">108.9166</cx:pt>
          <cx:pt idx="5208">88.091970000000003</cx:pt>
          <cx:pt idx="5209">110.2525</cx:pt>
          <cx:pt idx="5210">85.577299999999994</cx:pt>
          <cx:pt idx="5211">98.779319999999998</cx:pt>
          <cx:pt idx="5212">124.79040000000001</cx:pt>
          <cx:pt idx="5213">93.357050000000001</cx:pt>
          <cx:pt idx="5214">117.4036</cx:pt>
          <cx:pt idx="5215">91.078149999999994</cx:pt>
          <cx:pt idx="5216">106.5591</cx:pt>
          <cx:pt idx="5217">123.4545</cx:pt>
          <cx:pt idx="5218">96.107470000000006</cx:pt>
          <cx:pt idx="5219">124.63330000000001</cx:pt>
          <cx:pt idx="5220">126.73965339999999</cx:pt>
          <cx:pt idx="5221">141.92160000000001</cx:pt>
          <cx:pt idx="5222">125.5762</cx:pt>
          <cx:pt idx="5223">148.60120000000001</cx:pt>
          <cx:pt idx="5224">123.5331</cx:pt>
          <cx:pt idx="5225">128.24200959999999</cx:pt>
          <cx:pt idx="5226">149.93709999999999</cx:pt>
          <cx:pt idx="5227">118.6609</cx:pt>
          <cx:pt idx="5228">140.50710000000001</cx:pt>
          <cx:pt idx="5229">123.14019999999999</cx:pt>
          <cx:pt idx="5230">134.92769999999999</cx:pt>
          <cx:pt idx="5231">121.4113</cx:pt>
          <cx:pt idx="5232">146.71520000000001</cx:pt>
          <cx:pt idx="5233">125.812</cx:pt>
          <cx:pt idx="5234">139.64269999999999</cx:pt>
          <cx:pt idx="5235">170.44739999999999</cx:pt>
          <cx:pt idx="5236">140.03559999999999</cx:pt>
          <cx:pt idx="5237">159.2885</cx:pt>
          <cx:pt idx="5238">153.16004050000001</cx:pt>
          <cx:pt idx="5239">143.9648</cx:pt>
          <cx:pt idx="5240">157.95259999999999</cx:pt>
          <cx:pt idx="5241">171.62610000000001</cx:pt>
          <cx:pt idx="5242">158.1883</cx:pt>
          <cx:pt idx="5243">170.52590000000001</cx:pt>
          <cx:pt idx="5244">172.0683128</cx:pt>
          <cx:pt idx="5245">180.8989</cx:pt>
          <cx:pt idx="5246">196.99174160000001</cx:pt>
          <cx:pt idx="5247">202.5094</cx:pt>
          <cx:pt idx="5248">189.386</cx:pt>
          <cx:pt idx="5249">204.3954</cx:pt>
          <cx:pt idx="5250">214.53270000000001</cx:pt>
          <cx:pt idx="5251">216.6104972</cx:pt>
          <cx:pt idx="5252">226.7131</cx:pt>
          <cx:pt idx="5253">209.97479999999999</cx:pt>
          <cx:pt idx="5254">226.87020000000001</cx:pt>
          <cx:pt idx="5255">209.0318</cx:pt>
          <cx:pt idx="5256">234.0213</cx:pt>
          <cx:pt idx="5257">209.4247</cx:pt>
          <cx:pt idx="5258">227.65610000000001</cx:pt>
          <cx:pt idx="5259">231.8073358</cx:pt>
          <cx:pt idx="5260">238.01448920000001</cx:pt>
          <cx:pt idx="5261">244.47290000000001</cx:pt>
          <cx:pt idx="5262">233.39259999999999</cx:pt>
          <cx:pt idx="5263">247.6163</cx:pt>
          <cx:pt idx="5264">229.5421</cx:pt>
          <cx:pt idx="5265">232.48449669999999</cx:pt>
          <cx:pt idx="5266">246.67320000000001</cx:pt>
          <cx:pt idx="5267">233.3141</cx:pt>
          <cx:pt idx="5268">248.48070000000001</cx:pt>
          <cx:pt idx="5269">260.42529999999999</cx:pt>
          <cx:pt idx="5270">245.88740000000001</cx:pt>
          <cx:pt idx="5271">249.73411770000001</cx:pt>
          <cx:pt idx="5272">268.28359999999998</cx:pt>
          <cx:pt idx="5273">254.21719999999999</cx:pt>
          <cx:pt idx="5274">340.03030000000001</cx:pt>
          <cx:pt idx="5275">277.08510000000001</cx:pt>
          <cx:pt idx="5276">333.82220000000001</cx:pt>
          <cx:pt idx="5277">293.43040000000002</cx:pt>
          <cx:pt idx="5278">313.39049999999997</cx:pt>
          <cx:pt idx="5279">311.0029553</cx:pt>
          <cx:pt idx="5280">308.57652940000003</cx:pt>
          <cx:pt idx="5281">306.15010339999998</cx:pt>
          <cx:pt idx="5282">298.8526</cx:pt>
          <cx:pt idx="5283">310.48289999999997</cx:pt>
          <cx:pt idx="5284">310.94328460000003</cx:pt>
          <cx:pt idx="5285">323.84210000000002</cx:pt>
          <cx:pt idx="5286">307.57530000000003</cx:pt>
          <cx:pt idx="5287">318.81279999999998</cx:pt>
          <cx:pt idx="5288">308.75420000000003</cx:pt>
          <cx:pt idx="5289">330.52170000000001</cx:pt>
          <cx:pt idx="5290">316.37670000000003</cx:pt>
          <cx:pt idx="5291">326.82830000000001</cx:pt>
          <cx:pt idx="5292">315.11939999999998</cx:pt>
          <cx:pt idx="5293">316.54721069999999</cx:pt>
          <cx:pt idx="5294">326.74970000000002</cx:pt>
          <cx:pt idx="5295">311.6617</cx:pt>
          <cx:pt idx="5296">298.774</cx:pt>
          <cx:pt idx="5297">328.71429999999998</cx:pt>
          <cx:pt idx="5298">309.85430000000002</cx:pt>
          <cx:pt idx="5299">320.77730000000003</cx:pt>
          <cx:pt idx="5300">309.46140000000003</cx:pt>
          <cx:pt idx="5301">313.21674410000003</cx:pt>
          <cx:pt idx="5302">320.78572789999998</cx:pt>
          <cx:pt idx="5303">322.66340000000002</cx:pt>
          <cx:pt idx="5304">314.64126019999998</cx:pt>
          <cx:pt idx="5305">306.55380000000002</cx:pt>
          <cx:pt idx="5306">317.63400000000001</cx:pt>
          <cx:pt idx="5307">334.3723</cx:pt>
          <cx:pt idx="5308">311.81880000000001</cx:pt>
          <cx:pt idx="5309">332.72199999999998</cx:pt>
          <cx:pt idx="5310">319.28429999999997</cx:pt>
          <cx:pt idx="5311">324.7019009</cx:pt>
          <cx:pt idx="5312">329.86966150000001</cx:pt>
          <cx:pt idx="5313">335.0795</cx:pt>
          <cx:pt idx="5314">322.74189999999999</cx:pt>
          <cx:pt idx="5315">337.75139999999999</cx:pt>
          <cx:pt idx="5316">323.52780000000001</cx:pt>
          <cx:pt idx="5317">341.75920000000002</cx:pt>
          <cx:pt idx="5318">325.49239999999998</cx:pt>
          <cx:pt idx="5319">338.30149999999998</cx:pt>
          <cx:pt idx="5320">323.13490000000002</cx:pt>
          <cx:pt idx="5321">354.33240000000001</cx:pt>
          <cx:pt idx="5322">322.66340000000002</cx:pt>
          <cx:pt idx="5323">338.53719999999998</cx:pt>
          <cx:pt idx="5324">335.63306449999999</cx:pt>
          <cx:pt idx="5325">326.82830000000001</cx:pt>
          <cx:pt idx="5326">353.70370000000003</cx:pt>
          <cx:pt idx="5327">329.42149999999998</cx:pt>
          <cx:pt idx="5328">341.91629999999998</cx:pt>
          <cx:pt idx="5329">330.9932</cx:pt>
          <cx:pt idx="5330">350.95339999999999</cx:pt>
          <cx:pt idx="5331">334.92230000000001</cx:pt>
          <cx:pt idx="5332">348.91019999999997</cx:pt>
          <cx:pt idx="5333">352.45937889999999</cx:pt>
          <cx:pt idx="5334">353.05496060000002</cx:pt>
          <cx:pt idx="5335">366.35570000000001</cx:pt>
          <cx:pt idx="5336">354.96109999999999</cx:pt>
          <cx:pt idx="5337">360.10541690000002</cx:pt>
          <cx:pt idx="5338">365.4938358</cx:pt>
          <cx:pt idx="5339">370.5992</cx:pt>
          <cx:pt idx="5340">398.4178</cx:pt>
          <cx:pt idx="5341">392.8838902</cx:pt>
          <cx:pt idx="5342">366.19850000000002</cx:pt>
          <cx:pt idx="5343">379.4006</cx:pt>
          <cx:pt idx="5344">389.88276880000001</cx:pt>
          <cx:pt idx="5345">392.60090150000002</cx:pt>
          <cx:pt idx="5346">395.19589999999999</cx:pt>
          <cx:pt idx="5347">376.96449999999999</cx:pt>
          <cx:pt idx="5348">389.46513190000002</cx:pt>
          <cx:pt idx="5349">393.5455</cx:pt>
          <cx:pt idx="5350">375.94290000000001</cx:pt>
          <cx:pt idx="5351">393.46699999999998</cx:pt>
          <cx:pt idx="5352">392.36221569999998</cx:pt>
          <cx:pt idx="5353">387.30427939999998</cx:pt>
          <cx:pt idx="5354">381.28660000000002</cx:pt>
          <cx:pt idx="5355">408.39780000000002</cx:pt>
          <cx:pt idx="5356">397.63189999999997</cx:pt>
          <cx:pt idx="5357">400.93148230000003</cx:pt>
          <cx:pt idx="5358">404.25793160000001</cx:pt>
          <cx:pt idx="5359">407.74222359999999</cx:pt>
          <cx:pt idx="5360">411.0686728</cx:pt>
          <cx:pt idx="5361">414.34306779999997</cx:pt>
          <cx:pt idx="5362">417.72325080000002</cx:pt>
          <cx:pt idx="5363">421.04969999999997</cx:pt>
          <cx:pt idx="5364">390.48079999999999</cx:pt>
          <cx:pt idx="5365">405.25450000000001</cx:pt>
          <cx:pt idx="5366">419.2423</cx:pt>
          <cx:pt idx="5367">402.26839999999999</cx:pt>
          <cx:pt idx="5368">402.89065390000002</cx:pt>
          <cx:pt idx="5369">405.88944429999998</cx:pt>
          <cx:pt idx="5370">409.42885180000002</cx:pt>
          <cx:pt idx="5371">413.19139999999999</cx:pt>
          <cx:pt idx="5372">425.1361</cx:pt>
          <cx:pt idx="5373">393.62419999999997</cx:pt>
          <cx:pt idx="5374">404.46870000000001</cx:pt>
          <cx:pt idx="5375">421.59989999999999</cx:pt>
          <cx:pt idx="5376">423.64631329999997</cx:pt>
          <cx:pt idx="5377">425.66070300000001</cx:pt>
          <cx:pt idx="5378">427.74017300000003</cx:pt>
          <cx:pt idx="5379">429.78658619999999</cx:pt>
          <cx:pt idx="5380">431.93010349999997</cx:pt>
          <cx:pt idx="5381">433.97651680000001</cx:pt>
          <cx:pt idx="5382">435.99090649999999</cx:pt>
          <cx:pt idx="5383">438.10239999999999</cx:pt>
          <cx:pt idx="5384">434.56465659999998</cx:pt>
          <cx:pt idx="5385">418.37799999999999</cx:pt>
          <cx:pt idx="5386">426.19120880000003</cx:pt>
          <cx:pt idx="5387">429.77249999999998</cx:pt>
          <cx:pt idx="5388">427.32096910000001</cx:pt>
          <cx:pt idx="5389">424.84947629999999</cx:pt>
          <cx:pt idx="5390">422.26070959999998</cx:pt>
          <cx:pt idx="5391">419.78921680000002</cx:pt>
          <cx:pt idx="5392">417.35640000000001</cx:pt>
          <cx:pt idx="5393">431.81569999999999</cx:pt>
          <cx:pt idx="5394">426.06528680000002</cx:pt>
          <cx:pt idx="5395">420.04201319999999</cx:pt>
          <cx:pt idx="5396">414.29160000000002</cx:pt>
          <cx:pt idx="5397">442.42439999999999</cx:pt>
          <cx:pt idx="5398">430.24400000000003</cx:pt>
          <cx:pt idx="5399">431.35903789999998</cx:pt>
          <cx:pt idx="5400">436.46080269999999</cx:pt>
          <cx:pt idx="5401">442.58416590000002</cx:pt>
          <cx:pt idx="5402">449.33980000000003</cx:pt>
          <cx:pt idx="5403">432.20859999999999</cx:pt>
          <cx:pt idx="5404">454.84059999999999</cx:pt>
          <cx:pt idx="5405">409.0265</cx:pt>
          <cx:pt idx="5406">453.42610000000002</cx:pt>
          <cx:pt idx="5407">420.26389999999998</cx:pt>
          <cx:pt idx="5408">434.48750000000001</cx:pt>
          <cx:pt idx="5409">441.73550970000002</cx:pt>
          <cx:pt idx="5410">448.86829999999998</cx:pt>
          <cx:pt idx="5411">426.5505</cx:pt>
          <cx:pt idx="5412">457.04090000000002</cx:pt>
          <cx:pt idx="5413">1078.4000000000001</cx:pt>
          <cx:pt idx="5414">1235.252</cx:pt>
          <cx:pt idx="5415">1284.681</cx:pt>
          <cx:pt idx="5416">878.30215759999999</cx:pt>
          <cx:pt idx="5417">452.64030000000002</cx:pt>
          <cx:pt idx="5418">1149.1893419999999</cx:pt>
          <cx:pt idx="5419">1154.8610000000001</cx:pt>
          <cx:pt idx="5420">1215.921</cx:pt>
          <cx:pt idx="5421">1249.1610000000001</cx:pt>
          <cx:pt idx="5422">1246.919474</cx:pt>
          <cx:pt idx="5423">1217.414</cx:pt>
          <cx:pt idx="5424">1204.683</cx:pt>
          <cx:pt idx="5425">1218.828</cx:pt>
          <cx:pt idx="5426">1220.7363700000001</cx:pt>
          <cx:pt idx="5427">1228.5528569999999</cx:pt>
          <cx:pt idx="5428">1234.4922919999999</cx:pt>
          <cx:pt idx="5429">1236.431</cx:pt>
          <cx:pt idx="5430">1233.9688249999999</cx:pt>
          <cx:pt idx="5431">1226.385325</cx:pt>
          <cx:pt idx="5432">1223.765318</cx:pt>
          <cx:pt idx="5433">1221.2639999999999</cx:pt>
          <cx:pt idx="5434">1234.9380000000001</cx:pt>
          <cx:pt idx="5435">1231.285378</cx:pt>
          <cx:pt idx="5436">1217.335</cx:pt>
          <cx:pt idx="5437">1232.44217</cx:pt>
          <cx:pt idx="5438">1232.502</cx:pt>
          <cx:pt idx="5439">632.20348179999996</cx:pt>
          <cx:pt idx="5440">-1.6502509999999999</cx:pt>
          <cx:pt idx="5441">-1.6505179699999999</cx:pt>
          <cx:pt idx="5442">-1.6506855300000001</cx:pt>
          <cx:pt idx="5443">-1.6513856769999999</cx:pt>
          <cx:pt idx="5444">-1.6519952330000001</cx:pt>
          <cx:pt idx="5445">-1.652173009</cx:pt>
          <cx:pt idx="5446">-1.6536543319999999</cx:pt>
          <cx:pt idx="5447">-1.657411819</cx:pt>
          <cx:pt idx="5448">-1.658807309</cx:pt>
          <cx:pt idx="5449">-1.6588931410000001</cx:pt>
          <cx:pt idx="5450">-1.6589803270000001</cx:pt>
          <cx:pt idx="5451">-1.659067512</cx:pt>
          <cx:pt idx="5452">-1.6593297229999999</cx:pt>
          <cx:pt idx="5453">-1.659418917</cx:pt>
          <cx:pt idx="5454">-1.659506103</cx:pt>
          <cx:pt idx="5455">-1.659685887</cx:pt>
          <cx:pt idx="5456">-1.6597683139999999</cx:pt>
          <cx:pt idx="5457">-1.6599406329999999</cx:pt>
          <cx:pt idx="5458">-1.6602028440000001</cx:pt>
          <cx:pt idx="5459">-1.660290029</cx:pt>
          <cx:pt idx="5460">-1.6611631499999999</cx:pt>
          <cx:pt idx="5461">-1.6612503350000001</cx:pt>
          <cx:pt idx="5462">-1.6616868730000001</cx:pt>
          <cx:pt idx="5463">-1.6619491280000001</cx:pt>
          <cx:pt idx="5464">-1.6623012319999999</cx:pt>
          <cx:pt idx="5465">-1.6635203430000001</cx:pt>
          <cx:pt idx="5466">-1.663610934</cx:pt>
          <cx:pt idx="5467">-1.6636967229999999</cx:pt>
          <cx:pt idx="5468">-1.66386974</cx:pt>
          <cx:pt idx="5469">-1.663960331</cx:pt>
          <cx:pt idx="5470">-1.6642191369999999</cx:pt>
          <cx:pt idx="5471">-1.664306278</cx:pt>
          <cx:pt idx="5472">-1.6643968689999999</cx:pt>
          <cx:pt idx="5473">-1.6644827010000001</cx:pt>
          <cx:pt idx="5474">-1.664568533</cx:pt>
          <cx:pt idx="5475">-1.664657727</cx:pt>
          <cx:pt idx="5476">-1.6647442139999999</cx:pt>
          <cx:pt idx="5477">-1.6648300460000001</cx:pt>
          <cx:pt idx="5478">-1.6650064250000001</cx:pt>
          <cx:pt idx="5479">-1.6651794419999999</cx:pt>
          <cx:pt idx="5480">-1.665355822</cx:pt>
          <cx:pt idx="5481">-1.665615981</cx:pt>
          <cx:pt idx="5482">-1.6657065719999999</cx:pt>
          <cx:pt idx="5483">-1.6657924040000001</cx:pt>
          <cx:pt idx="5484">-1.665878236</cx:pt>
          <cx:pt idx="5485">-1.6659674289999999</cx:pt>
          <cx:pt idx="5486">-1.666054615</cx:pt>
          <cx:pt idx="5487">-1.6661404470000001</cx:pt>
          <cx:pt idx="5488">-1.6663168260000001</cx:pt>
          <cx:pt idx="5489">-1.6664019590000001</cx:pt>
          <cx:pt idx="5490">-1.6664891449999999</cx:pt>
          <cx:pt idx="5491">-1.6665797360000001</cx:pt>
          <cx:pt idx="5492">-1.666751356</cx:pt>
          <cx:pt idx="5493">-1.6669256830000001</cx:pt>
          <cx:pt idx="5494">-1.667102106</cx:pt>
          <cx:pt idx="5495">-1.6671879380000001</cx:pt>
          <cx:pt idx="5496">-1.6672771319999999</cx:pt>
          <cx:pt idx="5497">-1.6673643170000001</cx:pt>
          <cx:pt idx="5498">-1.667450149</cx:pt>
          <cx:pt idx="5499">-1.6675406960000001</cx:pt>
          <cx:pt idx="5500">-1.667626528</cx:pt>
          <cx:pt idx="5501">-1.6677116620000001</cx:pt>
          <cx:pt idx="5502">-1.667798847</cx:pt>
          <cx:pt idx="5503">-1.668150252</cx:pt>
          <cx:pt idx="5504">-1.668413162</cx:pt>
          <cx:pt idx="5505">-1.668673321</cx:pt>
          <cx:pt idx="5506">-1.6686740200000001</cx:pt>
          <cx:pt idx="5507">-1.6687591530000001</cx:pt>
          <cx:pt idx="5508">-1.6689355320000001</cx:pt>
          <cx:pt idx="5509">-1.66910855</cx:pt>
          <cx:pt idx="5510">-1.669284929</cx:pt>
          <cx:pt idx="5511">-1.669545088</cx:pt>
          <cx:pt idx="5512">-1.669635679</cx:pt>
          <cx:pt idx="5513">-1.6697215110000001</cx:pt>
          <cx:pt idx="5514">-1.6698072989999999</cx:pt>
          <cx:pt idx="5515">-1.669983722</cx:pt>
          <cx:pt idx="5516">-1.670160101</cx:pt>
          <cx:pt idx="5517">-1.670331067</cx:pt>
          <cx:pt idx="5518">-1.6704182519999999</cx:pt>
          <cx:pt idx="5519">-1.6705946309999999</cx:pt>
          <cx:pt idx="5520">-1.670854791</cx:pt>
          <cx:pt idx="5521">-1.6709453809999999</cx:pt>
          <cx:pt idx="5522">-1.671031213</cx:pt>
          <cx:pt idx="5523">-1.671206239</cx:pt>
          <cx:pt idx="5524">-1.6729511699999999</cx:pt>
          <cx:pt idx="5525">-1.6730376570000001</cx:pt>
          <cx:pt idx="5526">-1.673564786</cx:pt>
          <cx:pt idx="5527">-1.6738269969999999</cx:pt>
          <cx:pt idx="5528">-1.674260174</cx:pt>
          <cx:pt idx="5529">-1.6743473600000001</cx:pt>
          <cx:pt idx="5530">-1.6745237390000001</cx:pt>
          <cx:pt idx="5531">-1.6747042219999999</cx:pt>
          <cx:pt idx="5532">-1.6748717820000001</cx:pt>
          <cx:pt idx="5533">-1.6749623730000001</cx:pt>
          <cx:pt idx="5534">-1.6750481610000001</cx:pt>
          <cx:pt idx="5535">-1.675135346</cx:pt>
          <cx:pt idx="5536">-1.676880277</cx:pt>
          <cx:pt idx="5537">-1.677667566</cx:pt>
          <cx:pt idx="5538">-1.6777547509999999</cx:pt>
          <cx:pt idx="5539">-1.6778419369999999</cx:pt>
          <cx:pt idx="5540">-1.677927725</cx:pt>
          <cx:pt idx="5541">-1.679065807</cx:pt>
          <cx:pt idx="5542">-1.6791516390000001</cx:pt>
          <cx:pt idx="5543">-1.679237428</cx:pt>
          <cx:pt idx="5544">-1.6793280180000001</cx:pt>
          <cx:pt idx="5545">-1.67941385</cx:pt>
          <cx:pt idx="5546">-1.6794996820000001</cx:pt>
          <cx:pt idx="5547">-1.679586169</cx:pt>
          <cx:pt idx="5548">-1.679762548</cx:pt>
          <cx:pt idx="5549">-1.6799389709999999</cx:pt>
          <cx:pt idx="5550">-1.6801105919999999</cx:pt>
          <cx:pt idx="5551">-1.6808093850000001</cx:pt>
          <cx:pt idx="5552">-1.680895872</cx:pt>
          <cx:pt idx="5553">-1.6811580829999999</cx:pt>
          <cx:pt idx="5554">-1.6813331090000001</cx:pt>
          <cx:pt idx="5555">-1.681423699</cx:pt>
          <cx:pt idx="5556">-1.6815094880000001</cx:pt>
          <cx:pt idx="5557">-1.68159532</cx:pt>
          <cx:pt idx="5558">-1.6816838590000001</cx:pt>
          <cx:pt idx="5559">-1.681771044</cx:pt>
          <cx:pt idx="5560">-1.681947423</cx:pt>
          <cx:pt idx="5561">-1.682119044</cx:pt>
          <cx:pt idx="5562">-1.6822055739999999</cx:pt>
          <cx:pt idx="5563">-1.6823819529999999</cx:pt>
          <cx:pt idx="5564">-1.682467785</cx:pt>
          <cx:pt idx="5565">-1.6825556260000001</cx:pt>
          <cx:pt idx="5566">-1.6826441640000001</cx:pt>
          <cx:pt idx="5567">-1.6828246469999999</cx:pt>
          <cx:pt idx="5568">-1.6836923539999999</cx:pt>
          <cx:pt idx="5569">-1.683865328</cx:pt>
          <cx:pt idx="5570">-1.683952514</cx:pt>
          <cx:pt idx="5571">-1.6840431039999999</cx:pt>
          <cx:pt idx="5572">-1.684128893</cx:pt>
          <cx:pt idx="5573">-1.684303264</cx:pt>
          <cx:pt idx="5574">-1.6844762369999999</cx:pt>
          <cx:pt idx="5575">-1.6845668279999999</cx:pt>
          <cx:pt idx="5576">-1.685263569</cx:pt>
          <cx:pt idx="5577">-1.685700151</cx:pt>
          <cx:pt idx="5578">-1.6863117590000001</cx:pt>
          <cx:pt idx="5579">-1.6865719180000001</cx:pt>
          <cx:pt idx="5580">-1.686922668</cx:pt>
          <cx:pt idx="5581">-1.688145185</cx:pt>
          <cx:pt idx="5582">-1.688233069</cx:pt>
          <cx:pt idx="5583">-1.6884053450000001</cx:pt>
          <cx:pt idx="5584">-1.688500039</cx:pt>
          <cx:pt idx="5585">-1.689542772</cx:pt>
          <cx:pt idx="5586">-1.6898914700000001</cx:pt>
          <cx:pt idx="5587">-1.690677405</cx:pt>
          <cx:pt idx="5588">-1.6909396160000001</cx:pt>
          <cx:pt idx="5589">-1.6911153400000001</cx:pt>
          <cx:pt idx="5590">-1.6912869610000001</cx:pt>
          <cx:pt idx="5591">-1.691374146</cx:pt>
          <cx:pt idx="5592">-1.6915505689999999</cx:pt>
          <cx:pt idx="5593">-1.6916363569999999</cx:pt>
          <cx:pt idx="5594">-1.6917235429999999</cx:pt>
          <cx:pt idx="5595">-1.6918107280000001</cx:pt>
          <cx:pt idx="5596">-1.6919013190000001</cx:pt>
          <cx:pt idx="5597">-1.6919871070000001</cx:pt>
          <cx:pt idx="5598">-1.692072939</cx:pt>
          <cx:pt idx="5599">-1.6921614780000001</cx:pt>
          <cx:pt idx="5600">-1.6923344520000001</cx:pt>
          <cx:pt idx="5601">-1.6924250430000001</cx:pt>
          <cx:pt idx="5602">-1.692510875</cx:pt>
          <cx:pt idx="5603">-1.692596663</cx:pt>
          <cx:pt idx="5604">-1.692683849</cx:pt>
          <cx:pt idx="5605">-1.693122483</cx:pt>
          <cx:pt idx="5606">-1.6933846939999999</cx:pt>
          <cx:pt idx="5607">-1.693471181</cx:pt>
          <cx:pt idx="5608">-1.693558366</cx:pt>
          <cx:pt idx="5609">-1.693734745</cx:pt>
          <cx:pt idx="5610">-1.6938205770000001</cx:pt>
          <cx:pt idx="5611">-1.693906366</cx:pt>
          <cx:pt idx="5612">-1.694169974</cx:pt>
          <cx:pt idx="5613">-1.6942557620000001</cx:pt>
          <cx:pt idx="5614">-1.6943429480000001</cx:pt>
          <cx:pt idx="5615">-1.694430133</cx:pt>
          <cx:pt idx="5616">-1.694520724</cx:pt>
          <cx:pt idx="5617">-1.6946923439999999</cx:pt>
          <cx:pt idx="5618">-1.6947829350000001</cx:pt>
          <cx:pt idx="5619">-1.694954555</cx:pt>
          <cx:pt idx="5620">-1.695045146</cx:pt>
          <cx:pt idx="5621">-1.6953032530000001</cx:pt>
          <cx:pt idx="5622">-1.695393844</cx:pt>
          <cx:pt idx="5623">-1.695565465</cx:pt>
          <cx:pt idx="5624">-1.6956560549999999</cx:pt>
          <cx:pt idx="5625">-1.696264258</cx:pt>
          <cx:pt idx="5626">-1.6972259169999999</cx:pt>
          <cx:pt idx="5627">-1.697488128</cx:pt>
          <cx:pt idx="5628">-1.697835473</cx:pt>
          <cx:pt idx="5629">-1.699668943</cx:pt>
          <cx:pt idx="5630">-1.699845322</cx:pt>
          <cx:pt idx="5631">-1.7000258049999999</cx:pt>
          <cx:pt idx="5632">-1.700894865</cx:pt>
          <cx:pt idx="5633">-1.700898969</cx:pt>
          <cx:pt idx="5634">-1.7018517660000001</cx:pt>
          <cx:pt idx="5635">-1.7020281880000001</cx:pt>
          <cx:pt idx="5636">-1.7026397959999999</cx:pt>
          <cx:pt idx="5637">-1.7027269380000001</cx:pt>
          <cx:pt idx="5638">-1.70281277</cx:pt>
          <cx:pt idx="5639">-1.7029033609999999</cx:pt>
          <cx:pt idx="5640">-1.702989149</cx:pt>
          <cx:pt idx="5641">-1.7030742830000001</cx:pt>
          <cx:pt idx="5642">-1.703161468</cx:pt>
          <cx:pt idx="5643">-1.7034236789999999</cx:pt>
          <cx:pt idx="5644">-1.7035142700000001</cx:pt>
          <cx:pt idx="5645">-1.703600102</cx:pt>
          <cx:pt idx="5646">-1.70403664</cx:pt>
          <cx:pt idx="5647">-1.7042130630000001</cx:pt>
          <cx:pt idx="5648">-1.7061302700000001</cx:pt>
          <cx:pt idx="5649">-1.7063958859999999</cx:pt>
          <cx:pt idx="5650">-1.706481718</cx:pt>
          <cx:pt idx="5651">-1.70656886</cx:pt>
          <cx:pt idx="5652">-1.7066560449999999</cx:pt>
          <cx:pt idx="5653">-1.706741877</cx:pt>
          <cx:pt idx="5654">-1.7070033899999999</cx:pt>
          <cx:pt idx="5655">-1.7070953339999999</cx:pt>
          <cx:pt idx="5656">-1.707181166</cx:pt>
          <cx:pt idx="5657">-1.707439972</cx:pt>
          <cx:pt idx="5658">-1.7077900239999999</cx:pt>
          <cx:pt idx="5659">-1.7078785620000001</cx:pt>
          <cx:pt idx="5660">-1.70805158</cx:pt>
          <cx:pt idx="5661">-1.708142171</cx:pt>
          <cx:pt idx="5662">-1.708227959</cx:pt>
          <cx:pt idx="5663">-1.708313092</cx:pt>
          <cx:pt idx="5664">-1.708490869</cx:pt>
          <cx:pt idx="5665">-1.7085767009999999</cx:pt>
          <cx:pt idx="5666">-1.708751028</cx:pt>
          <cx:pt idx="5667">-1.708838912</cx:pt>
          <cx:pt idx="5668">-1.7089247000000001</cx:pt>
          <cx:pt idx="5669">-1.709015291</cx:pt>
          <cx:pt idx="5670">-1.709018696</cx:pt>
          <cx:pt idx="5671">-1.7091011229999999</cx:pt>
          <cx:pt idx="5672">-1.7091882650000001</cx:pt>
          <cx:pt idx="5673">-1.70927545</cx:pt>
          <cx:pt idx="5674">-1.709623493</cx:pt>
          <cx:pt idx="5675">-1.7112900579999999</cx:pt>
          <cx:pt idx="5676">-1.7113697779999999</cx:pt>
          <cx:pt idx="5677">-1.712075338</cx:pt>
          <cx:pt idx="5678">-1.7129430450000001</cx:pt>
          <cx:pt idx="5679">-1.713552601</cx:pt>
          <cx:pt idx="5680">-1.7144270749999999</cx:pt>
          <cx:pt idx="5681">-1.714600092</cx:pt>
          <cx:pt idx="5682">-1.7146906829999999</cx:pt>
          <cx:pt idx="5683">-1.714776471</cx:pt>
          <cx:pt idx="5684">-1.7148623030000001</cx:pt>
          <cx:pt idx="5685">-1.7149494890000001</cx:pt>
          <cx:pt idx="5686">-1.7152117</cx:pt>
          <cx:pt idx="5687">-1.7153860270000001</cx:pt>
          <cx:pt idx="5688">-1.7154766180000001</cx:pt>
          <cx:pt idx="5689">-1.71556245</cx:pt>
          <cx:pt idx="5690">-1.715648238</cx:pt>
          <cx:pt idx="5691">-1.7158246610000001</cx:pt>
          <cx:pt idx="5692">-1.7159104489999999</cx:pt>
          <cx:pt idx="5693">-1.716004445</cx:pt>
          <cx:pt idx="5694">-1.716086872</cx:pt>
          <cx:pt idx="5695">-1.7161720060000001</cx:pt>
          <cx:pt idx="5696">-1.716263251</cx:pt>
          <cx:pt idx="5697">-1.716434915</cx:pt>
          <cx:pt idx="5698">-1.7166085879999999</cx:pt>
          <cx:pt idx="5699">-1.716697127</cx:pt>
          <cx:pt idx="5700">-1.716782915</cx:pt>
          <cx:pt idx="5701">-1.716873506</cx:pt>
          <cx:pt idx="5702">-1.7168776100000001</cx:pt>
          <cx:pt idx="5703">-1.717046479</cx:pt>
          <cx:pt idx="5704">-1.7172194970000001</cx:pt>
          <cx:pt idx="5705">-1.7173100880000001</cx:pt>
          <cx:pt idx="5706">-1.7176587860000001</cx:pt>
          <cx:pt idx="5707">-1.717744618</cx:pt>
          <cx:pt idx="5708">-1.718005432</cx:pt>
          <cx:pt idx="5709">-1.718096023</cx:pt>
          <cx:pt idx="5710">-1.7182676429999999</cx:pt>
          <cx:pt idx="5711">-1.7183582340000001</cx:pt>
          <cx:pt idx="5712">-1.7187062769999999</cx:pt>
          <cx:pt idx="5713">-1.718791411</cx:pt>
          <cx:pt idx="5714">-1.7188826559999999</cx:pt>
          <cx:pt idx="5715">-1.718968488</cx:pt>
          <cx:pt idx="5716">-1.7190543199999999</cx:pt>
          <cx:pt idx="5717">-1.719144867</cx:pt>
          <cx:pt idx="5718">-1.7194023199999999</cx:pt>
          <cx:pt idx="5719">-1.7194929109999999</cx:pt>
          <cx:pt idx="5720">-1.7196658840000001</cx:pt>
          <cx:pt idx="5721">-1.7197530700000001</cx:pt>
          <cx:pt idx="5722">-1.719838902</cx:pt>
          <cx:pt idx="5723">-1.720015281</cx:pt>
          <cx:pt idx="5724">-1.7201011129999999</cx:pt>
          <cx:pt idx="5725">-1.72080126</cx:pt>
          <cx:pt idx="5726">-1.7210634709999999</cx:pt>
          <cx:pt idx="5727">-1.721325682</cx:pt>
          <cx:pt idx="5728">-1.721410815</cx:pt>
          <cx:pt idx="5729">-1.722814514</cx:pt>
          <cx:pt idx="5730">-1.7228975959999999</cx:pt>
          <cx:pt idx="5731">-1.7235078500000001</cx:pt>
          <cx:pt idx="5732">-1.7236821769999999</cx:pt>
          <cx:pt idx="5733">-1.7242072980000001</cx:pt>
          <cx:pt idx="5734">-1.7243836770000001</cx:pt>
          <cx:pt idx="5735">-1.724466802</cx:pt>
          <cx:pt idx="5736">-1.7245553410000001</cx:pt>
          <cx:pt idx="5737">-1.724645888</cx:pt>
          <cx:pt idx="5738">-1.7247317200000001</cx:pt>
          <cx:pt idx="5739">-1.724817552</cx:pt>
          <cx:pt idx="5740">-1.7249046939999999</cx:pt>
          <cx:pt idx="5741">-1.725085177</cx:pt>
          <cx:pt idx="5742">-1.7269131900000001</cx:pt>
          <cx:pt idx="5743">-1.7274376119999999</cx:pt>
          <cx:pt idx="5744">-1.727524099</cx:pt>
          <cx:pt idx="5745">-1.727611284</cx:pt>
          <cx:pt idx="5746">-1.7277877070000001</cx:pt>
          <cx:pt idx="5747">-1.7279593280000001</cx:pt>
          <cx:pt idx="5748">-1.7280512720000001</cx:pt>
          <cx:pt idx="5749">-1.728053324</cx:pt>
          <cx:pt idx="5750">-1.728222892</cx:pt>
          <cx:pt idx="5751">-1.7283958660000001</cx:pt>
          <cx:pt idx="5752">-1.7285743410000001</cx:pt>
          <cx:pt idx="5753">-1.728577746</cx:pt>
          <cx:pt idx="5754">-1.7286601290000001</cx:pt>
          <cx:pt idx="5755">-1.728920987</cx:pt>
          <cx:pt idx="5756">-1.7290115779999999</cx:pt>
          <cx:pt idx="5757">-1.7290974100000001</cx:pt>
          <cx:pt idx="5758">-1.7291831980000001</cx:pt>
          <cx:pt idx="5759">-1.72926903</cx:pt>
          <cx:pt idx="5760">-1.7294467630000001</cx:pt>
          <cx:pt idx="5761">-1.7294508669999999</cx:pt>
          <cx:pt idx="5762">-1.729532595</cx:pt>
          <cx:pt idx="5763">-1.729974634</cx:pt>
          <cx:pt idx="5764">-1.730407112</cx:pt>
          <cx:pt idx="5765">-1.7306733839999999</cx:pt>
          <cx:pt idx="5766">-1.732151301</cx:pt>
          <cx:pt idx="5767">-1.7327636070000001</cx:pt>
          <cx:pt idx="5768">-1.7328507929999999</cx:pt>
          <cx:pt idx="5769">-1.7329365809999999</cx:pt>
          <cx:pt idx="5770">-1.7330271719999999</cx:pt>
          <cx:pt idx="5771">-1.733198792</cx:pt>
          <cx:pt idx="5772">-1.7333752149999999</cx:pt>
          <cx:pt idx="5773">-1.7334610029999999</cx:pt>
          <cx:pt idx="5774">-1.7335515939999999</cx:pt>
          <cx:pt idx="5775">-1.7337225599999999</cx:pt>
          <cx:pt idx="5776">-1.7338989389999999</cx:pt>
          <cx:pt idx="5777">-1.733984771</cx:pt>
          <cx:pt idx="5778">-1.7342469819999999</cx:pt>
          <cx:pt idx="5779">-1.7343375729999999</cx:pt>
          <cx:pt idx="5780">-1.7344233609999999</cx:pt>
          <cx:pt idx="5781">-1.734599784</cx:pt>
          <cx:pt idx="5782">-1.734771404</cx:pt>
          <cx:pt idx="5783">-1.7352958270000001</cx:pt>
          <cx:pt idx="5784">-1.735382314</cx:pt>
          <cx:pt idx="5785">-1.7354694989999999</cx:pt>
          <cx:pt idx="5786">-1.7355600900000001</cx:pt>
          <cx:pt idx="5787">-1.735645922</cx:pt>
          <cx:pt idx="5788">-1.735818197</cx:pt>
          <cx:pt idx="5789">-1.738790404</cx:pt>
          <cx:pt idx="5790">-1.7388755380000001</cx:pt>
          <cx:pt idx="5791">-1.73896137</cx:pt>
          <cx:pt idx="5792">-1.7390519600000001</cx:pt>
          <cx:pt idx="5793">-1.7390553660000001</cx:pt>
          <cx:pt idx="5794">-1.7393121199999999</cx:pt>
          <cx:pt idx="5795">-1.7393999600000001</cx:pt>
          <cx:pt idx="5796">-1.739485792</cx:pt>
          <cx:pt idx="5797">-1.7395763829999999</cx:pt>
          <cx:pt idx="5798">-1.739662171</cx:pt>
          <cx:pt idx="5799">-1.7397480030000001</cx:pt>
          <cx:pt idx="5800">-1.7398385940000001</cx:pt>
          <cx:pt idx="5801">-1.739841301</cx:pt>
          <cx:pt idx="5802">-1.7399243820000001</cx:pt>
          <cx:pt idx="5803">-1.740100805</cx:pt>
          <cx:pt idx="5804">-1.740186593</cx:pt>
          <cx:pt idx="5805">-1.7402724249999999</cx:pt>
          <cx:pt idx="5806">-1.740358257</cx:pt>
          <cx:pt idx="5807">-1.740448805</cx:pt>
          <cx:pt idx="5808">-1.740621822</cx:pt>
          <cx:pt idx="5809">-1.7407947960000001</cx:pt>
          <cx:pt idx="5810">-1.740971219</cx:pt>
          <cx:pt idx="5811">-1.741057007</cx:pt>
          <cx:pt idx="5812">-1.741147598</cx:pt>
          <cx:pt idx="5813">-1.7412334300000001</cx:pt>
          <cx:pt idx="5814">-1.7413192179999999</cx:pt>
          <cx:pt idx="5815">-1.7414098090000001</cx:pt>
          <cx:pt idx="5816">-1.7414949420000001</cx:pt>
          <cx:pt idx="5817">-1.7415834809999999</cx:pt>
          <cx:pt idx="5818">-1.741759904</cx:pt>
          <cx:pt idx="5819">-1.741931524</cx:pt>
          <cx:pt idx="5820">-1.74201871</cx:pt>
          <cx:pt idx="5821">-1.742104498</cx:pt>
          <cx:pt idx="5822">-1.74289183</cx:pt>
          <cx:pt idx="5823">-1.7429844729999999</cx:pt>
          <cx:pt idx="5824">-1.7432412269999999</cx:pt>
          <cx:pt idx="5825">-1.7433284120000001</cx:pt>
          <cx:pt idx="5826">-1.743418959</cx:pt>
          <cx:pt idx="5827">-1.743590623</cx:pt>
          <cx:pt idx="5828">-1.7436764119999999</cx:pt>
          <cx:pt idx="5829">-1.7437670030000001</cx:pt>
          <cx:pt idx="5830">-1.7454226960000001</cx:pt>
          <cx:pt idx="5831">-1.746386408</cx:pt>
          <cx:pt idx="5832">-1.7466520240000001</cx:pt>
          <cx:pt idx="5833">-1.7468209379999999</cx:pt>
          <cx:pt idx="5834">-1.74691358</cx:pt>
          <cx:pt idx="5835">-1.74708245</cx:pt>
          <cx:pt idx="5836">-1.747170334</cx:pt>
          <cx:pt idx="5837">-1.74725752</cx:pt>
          <cx:pt idx="5838">-1.7473480669999999</cx:pt>
          <cx:pt idx="5839">-1.747350119</cx:pt>
          <cx:pt idx="5840">-1.7475197309999999</cx:pt>
          <cx:pt idx="5841">-1.7476055189999999</cx:pt>
          <cx:pt idx="5842">-1.7476961099999999</cx:pt>
          <cx:pt idx="5843">-1.748480037</cx:pt>
          <cx:pt idx="5844">-1.7485672219999999</cx:pt>
          <cx:pt idx="5845">-1.7500567090000001</cx:pt>
          <cx:pt idx="5846">-1.7503162130000001</cx:pt>
          <cx:pt idx="5847">-1.75031892</cx:pt>
          <cx:pt idx="5848">-1.750578425</cx:pt>
          <cx:pt idx="5849">-1.7531978290000001</cx:pt>
          <cx:pt idx="5850">-1.7534600410000001</cx:pt>
          <cx:pt idx="5851">-1.7535458289999999</cx:pt>
          <cx:pt idx="5852">-1.753631661</cx:pt>
          <cx:pt idx="5853">-1.7537188459999999</cx:pt>
          <cx:pt idx="5854">-1.753806032</cx:pt>
          <cx:pt idx="5855">-1.7538965790000001</cx:pt>
          <cx:pt idx="5856">-1.753898631</cx:pt>
          <cx:pt idx="5857">-1.753982411</cx:pt>
          <cx:pt idx="5858">-1.7540682430000001</cx:pt>
          <cx:pt idx="5859">-1.75415473</cx:pt>
          <cx:pt idx="5860">-1.754155385</cx:pt>
          <cx:pt idx="5861">-1.754245321</cx:pt>
          <cx:pt idx="5862">-1.754331109</cx:pt>
          <cx:pt idx="5863">-1.7544169409999999</cx:pt>
          <cx:pt idx="5864">-1.7545075320000001</cx:pt>
          <cx:pt idx="5865">-1.7545926650000001</cx:pt>
          <cx:pt idx="5866">-1.7547690439999999</cx:pt>
          <cx:pt idx="5867">-1.7557273419999999</cx:pt>
          <cx:pt idx="5868">-1.755907127</cx:pt>
          <cx:pt idx="5869">-1.755989553</cx:pt>
          <cx:pt idx="5870">-1.7560753419999999</cx:pt>
          <cx:pt idx="5871">-1.7563382510000001</cx:pt>
          <cx:pt idx="5872">-1.7564254370000001</cx:pt>
          <cx:pt idx="5873">-1.7579156220000001</cx:pt>
          <cx:pt idx="5874">-1.7584393460000001</cx:pt>
          <cx:pt idx="5875">-1.758788743</cx:pt>
          <cx:pt idx="5876">-1.758957656</cx:pt>
          <cx:pt idx="5877">-1.76001126</cx:pt>
          <cx:pt idx="5878">-1.7620129449999999</cx:pt>
          <cx:pt idx="5879">-1.7627995780000001</cx:pt>
          <cx:pt idx="5880">-1.7633226470000001</cx:pt>
          <cx:pt idx="5881">-1.763585513</cx:pt>
          <cx:pt idx="5882">-1.7639376600000001</cx:pt>
          <cx:pt idx="5883">-1.7640275519999999</cx:pt>
          <cx:pt idx="5884">-1.764895216</cx:pt>
          <cx:pt idx="5885">-1.7651567720000001</cx:pt>
          <cx:pt idx="5886">-1.7652473630000001</cx:pt>
          <cx:pt idx="5887">-1.7653331510000001</cx:pt>
          <cx:pt idx="5888">-1.7655061679999999</cx:pt>
          <cx:pt idx="5889">-1.7655933539999999</cx:pt>
          <cx:pt idx="5890">-1.7656839010000001</cx:pt>
          <cx:pt idx="5891">-1.765769733</cx:pt>
          <cx:pt idx="5892">-1.7658555650000001</cx:pt>
          <cx:pt idx="5893">-1.765942052</cx:pt>
          <cx:pt idx="5894">-1.766032643</cx:pt>
          <cx:pt idx="5895">-1.766118431</cx:pt>
          <cx:pt idx="5896">-1.7662948540000001</cx:pt>
          <cx:pt idx="5897">-1.7663806419999999</cx:pt>
          <cx:pt idx="5898">-1.7668165259999999</cx:pt>
          <cx:pt idx="5899">-1.76734575</cx:pt>
          <cx:pt idx="5900">-1.7676903450000001</cx:pt>
          <cx:pt idx="5901">-1.7679566600000001</cx:pt>
          <cx:pt idx="5902">-1.7680383879999999</cx:pt>
          <cx:pt idx="5903">-1.7682134140000001</cx:pt>
          <cx:pt idx="5904">-1.7691764699999999</cx:pt>
          <cx:pt idx="5905">-1.7700522970000001</cx:pt>
          <cx:pt idx="5906">-1.7703962360000001</cx:pt>
          <cx:pt idx="5907">-1.770832164</cx:pt>
          <cx:pt idx="5908">-1.7708328179999999</cx:pt>
          <cx:pt idx="5909">-1.7709227110000001</cx:pt>
          <cx:pt idx="5910">-1.771008543</cx:pt>
          <cx:pt idx="5911">-1.7710943750000001</cx:pt>
          <cx:pt idx="5912">-1.771180862</cx:pt>
          <cx:pt idx="5913">-1.7712714519999999</cx:pt>
          <cx:pt idx="5914">-1.7725845600000001</cx:pt>
          <cx:pt idx="5915">-1.7726669429999999</cx:pt>
          <cx:pt idx="5916">-1.7727527750000001</cx:pt>
          <cx:pt idx="5917">-1.772843366</cx:pt>
          <cx:pt idx="5918">-1.7729291540000001</cx:pt>
          <cx:pt idx="5919">-1.773014986</cx:pt>
          <cx:pt idx="5920">-1.7731055769999999</cx:pt>
          <cx:pt idx="5921">-1.7733650379999999</cx:pt>
          <cx:pt idx="5922">-1.773452223</cx:pt>
          <cx:pt idx="5923">-1.7736286459999999</cx:pt>
          <cx:pt idx="5924">-1.773714435</cx:pt>
          <cx:pt idx="5925">-1.7738050249999999</cx:pt>
          <cx:pt idx="5926">-1.773890857</cx:pt>
          <cx:pt idx="5927">-1.7739766459999999</cx:pt>
          <cx:pt idx="5928">-1.7740624780000001</cx:pt>
          <cx:pt idx="5929">-1.774153069</cx:pt>
          <cx:pt idx="5930">-1.7742388570000001</cx:pt>
          <cx:pt idx="5931">-1.7745869000000001</cx:pt>
          <cx:pt idx="5932">-1.7746754389999999</cx:pt>
          <cx:pt idx="5933">-1.7747632790000001</cx:pt>
          <cx:pt idx="5934">-1.774849111</cx:pt>
          <cx:pt idx="5935">-1.774939702</cx:pt>
          <cx:pt idx="5936">-1.77502549</cx:pt>
          <cx:pt idx="5937">-1.7751113220000001</cx:pt>
          <cx:pt idx="5938">-1.7752911069999999</cx:pt>
          <cx:pt idx="5939">-1.775548559</cx:pt>
          <cx:pt idx="5940">-1.7756350460000001</cx:pt>
          <cx:pt idx="5941">-1.776863021</cx:pt>
          <cx:pt idx="5942">-1.7772941449999999</cx:pt>
          <cx:pt idx="5943">-1.7776435420000001</cx:pt>
          <cx:pt idx="5944">-1.7778233699999999</cx:pt>
          <cx:pt idx="5945">-1.7789545980000001</cx:pt>
          <cx:pt idx="5946">-1.77904043</cx:pt>
          <cx:pt idx="5947">-1.779131021</cx:pt>
          <cx:pt idx="5948">-1.779216809</cx:pt>
          <cx:pt idx="5949">-1.7793026409999999</cx:pt>
          <cx:pt idx="5950">-1.7796506839999999</cx:pt>
          <cx:pt idx="5951">-1.7798270629999999</cx:pt>
          <cx:pt idx="5952">-1.7799135500000001</cx:pt>
          <cx:pt idx="5953">-1.7800007360000001</cx:pt>
          <cx:pt idx="5954">-1.7812232530000001</cx:pt>
          <cx:pt idx="5955">-1.781311791</cx:pt>
          <cx:pt idx="5956">-1.7813976229999999</cx:pt>
          <cx:pt idx="5957">-1.7814882139999999</cx:pt>
          <cx:pt idx="5958">-1.781490223</cx:pt>
          <cx:pt idx="5959">-1.781574003</cx:pt>
          <cx:pt idx="5960">-1.781922046</cx:pt>
          <cx:pt idx="5961">-1.782012637</cx:pt>
          <cx:pt idx="5962">-1.782098425</cx:pt>
          <cx:pt idx="5963">-1.7821842569999999</cx:pt>
          <cx:pt idx="5964">-1.7822700890000001</cx:pt>
          <cx:pt idx="5965">-1.7822707440000001</cx:pt>
          <cx:pt idx="5966">-1.7823606359999999</cx:pt>
          <cx:pt idx="5967">-1.7824464680000001</cx:pt>
          <cx:pt idx="5968">-1.782532955</cx:pt>
          <cx:pt idx="5969">-1.782712783</cx:pt>
          <cx:pt idx="5970">-1.7843718820000001</cx:pt>
          <cx:pt idx="5971">-1.7855072139999999</cx:pt>
          <cx:pt idx="5972">-1.7857687259999999</cx:pt>
          <cx:pt idx="5973">-1.786292494</cx:pt>
          <cx:pt idx="5974">-1.786462062</cx:pt>
          <cx:pt idx="5975">-1.78734064</cx:pt>
          <cx:pt idx="5976">-1.788650343</cx:pt>
          <cx:pt idx="5977">-1.7887320710000001</cx:pt>
          <cx:pt idx="5978">-1.7889125539999999</cx:pt>
          <cx:pt idx="5979">-1.7891686529999999</cx:pt>
          <cx:pt idx="5980">-1.789872903</cx:pt>
          <cx:pt idx="5981">-1.790920351</cx:pt>
          <cx:pt idx="5982">-1.791444118</cx:pt>
          <cx:pt idx="5983">-1.7916136869999999</cx:pt>
          <cx:pt idx="5984">-1.7918807000000001</cx:pt>
          <cx:pt idx="5985">-1.792050269</cx:pt>
          <cx:pt idx="5986">-1.792841661</cx:pt>
          <cx:pt idx="5987">-1.79309776</cx:pt>
          <cx:pt idx="5988">-1.793274139</cx:pt>
          <cx:pt idx="5989">-1.793278243</cx:pt>
          <cx:pt idx="5990">-1.7934512170000001</cx:pt>
          <cx:pt idx="5991">-1.793452614</cx:pt>
          <cx:pt idx="5992">-1.793537049</cx:pt>
          <cx:pt idx="5993">-1.7937086689999999</cx:pt>
          <cx:pt idx="5994">-1.7937992599999999</cx:pt>
          <cx:pt idx="5995">-1.79397088</cx:pt>
          <cx:pt idx="5996">-1.794233092</cx:pt>
          <cx:pt idx="5997">-1.794320277</cx:pt>
          <cx:pt idx="5998">-1.7944074619999999</cx:pt>
          <cx:pt idx="5999">-1.7944980530000001</cx:pt>
          <cx:pt idx="6000">-1.794583842</cx:pt>
          <cx:pt idx="6001">-1.7946696740000001</cx:pt>
          <cx:pt idx="6002">-1.794760264</cx:pt>
          <cx:pt idx="6003">-1.795022476</cx:pt>
          <cx:pt idx="6004">-1.795111669</cx:pt>
          <cx:pt idx="6005">-1.7951940959999999</cx:pt>
          <cx:pt idx="6006">-1.7952846870000001</cx:pt>
          <cx:pt idx="6007">-1.795370519</cx:pt>
          <cx:pt idx="6008">-1.7955421389999999</cx:pt>
          <cx:pt idx="6009">-1.7956299790000001</cx:pt>
          <cx:pt idx="6010">-1.796066562</cx:pt>
          <cx:pt idx="6011">-1.7965044969999999</cx:pt>
          <cx:pt idx="6012">-1.796590285</cx:pt>
          <cx:pt idx="6013">-1.797032325</cx:pt>
          <cx:pt idx="6014">-1.797376919</cx:pt>
          <cx:pt idx="6015">-1.7978182599999999</cx:pt>
          <cx:pt idx="6016">-1.7980743589999999</cx:pt>
          <cx:pt idx="6017">-1.798163596</cx:pt>
          <cx:pt idx="6018">-1.798249384</cx:pt>
          <cx:pt idx="6019">-1.79833657</cx:pt>
          <cx:pt idx="6020">-1.7984298670000001</cx:pt>
          <cx:pt idx="6021">-1.7985987809999999</cx:pt>
          <cx:pt idx="6022">-1.799913941</cx:pt>
          <cx:pt idx="6023">-1.8009559749999999</cx:pt>
          <cx:pt idx="6024">-1.800956673</cx:pt>
          <cx:pt idx="6025">-1.801308777</cx:pt>
          <cx:pt idx="6026">-1.8013945650000001</cx:pt>
          <cx:pt idx="6027">-1.801480397</cx:pt>
          <cx:pt idx="6028">-1.8015709879999999</cx:pt>
          <cx:pt idx="6029">-1.801656776</cx:pt>
          <cx:pt idx="6030">-1.801743307</cx:pt>
          <cx:pt idx="6031">-1.8019223929999999</cx:pt>
          <cx:pt idx="6032">-1.8020913059999999</cx:pt>
          <cx:pt idx="6033">-1.8021791899999999</cx:pt>
          <cx:pt idx="6034">-1.802267729</cx:pt>
          <cx:pt idx="6035">-1.802353517</cx:pt>
          <cx:pt idx="6036">-1.802444108</cx:pt>
          <cx:pt idx="6037">-1.802615729</cx:pt>
          <cx:pt idx="6038">-1.8027063189999999</cx:pt>
          <cx:pt idx="6039">-1.802792151</cx:pt>
          <cx:pt idx="6040">-1.8028779399999999</cx:pt>
          <cx:pt idx="6041">-1.8030570690000001</cx:pt>
          <cx:pt idx="6042">-1.803140151</cx:pt>
          <cx:pt idx="6043">-1.8032259829999999</cx:pt>
          <cx:pt idx="6044">-1.8033165739999999</cx:pt>
          <cx:pt idx="6045">-1.803402406</cx:pt>
          <cx:pt idx="6046">-1.803488194</cx:pt>
          <cx:pt idx="6047">-1.8034888929999999</cx:pt>
          <cx:pt idx="6048">-1.8035753800000001</cx:pt>
          <cx:pt idx="6049">-1.803837591</cx:pt>
          <cx:pt idx="6050">-1.8039247759999999</cx:pt>
          <cx:pt idx="6051">-1.804279586</cx:pt>
          <cx:pt idx="6052">-1.804363366</cx:pt>
          <cx:pt idx="6053">-1.8045397889999999</cx:pt>
          <cx:pt idx="6054">-1.804541798</cx:pt>
          <cx:pt idx="6055">-1.8047114099999999</cx:pt>
          <cx:pt idx="6056">-1.806719905</cx:pt>
          <cx:pt idx="6057">-1.8068118500000001</cx:pt>
          <cx:pt idx="6058">-1.807159194</cx:pt>
          <cx:pt idx="6059">-1.8072483880000001</cx:pt>
          <cx:pt idx="6060">-1.807418</cx:pt>
          <cx:pt idx="6061">-1.80746159</cx:pt>
          <cx:pt idx="6062">-1.8075078870000001</cx:pt>
          <cx:pt idx="6063">-1.8075497739999999</cx:pt>
          <cx:pt idx="6064">-1.8075926870000001</cx:pt>
          <cx:pt idx="6065">-1.8076379579999999</cx:pt>
          <cx:pt idx="6066">-1.8083373840000001</cx:pt>
          <cx:pt idx="6067">-1.808771189</cx:pt>
          <cx:pt idx="6068">-1.808947579</cx:pt>
          <cx:pt idx="6069">-1.8089486050000001</cx:pt>
          <cx:pt idx="6070">-1.809600686</cx:pt>
          <cx:pt idx="6071">-1.8096459789999999</cx:pt>
          <cx:pt idx="6072">-1.809647005</cx:pt>
          <cx:pt idx="6073">-1.809819641</cx:pt>
          <cx:pt idx="6074">-1.809862554</cx:pt>
          <cx:pt idx="6075">-1.809907846</cx:pt>
          <cx:pt idx="6076">-1.80990885</cx:pt>
          <cx:pt idx="6077">-1.8099507379999999</cx:pt>
          <cx:pt idx="6078">-1.8099936510000001</cx:pt>
          <cx:pt idx="6079">-1.810080809</cx:pt>
          <cx:pt idx="6080">-1.8101261019999999</cx:pt>
          <cx:pt idx="6081">-1.810169015</cx:pt>
          <cx:pt idx="6082">-1.810170718</cx:pt>
          <cx:pt idx="6083">-1.8102119290000001</cx:pt>
          <cx:pt idx="6084">-1.810300113</cx:pt>
          <cx:pt idx="6085">-1.810343026</cx:pt>
          <cx:pt idx="6086">-1.810388297</cx:pt>
          <cx:pt idx="6087">-1.8105623070000001</cx:pt>
          <cx:pt idx="6088">-1.810648112</cx:pt>
          <cx:pt idx="6089">-1.8106920520000001</cx:pt>
          <cx:pt idx="6090">-1.81077921</cx:pt>
          <cx:pt idx="6091">-1.810824502</cx:pt>
          <cx:pt idx="6092">-1.810867416</cx:pt>
          <cx:pt idx="6093">-1.8108691180000001</cx:pt>
          <cx:pt idx="6094">-1.8109556</cx:pt>
          <cx:pt idx="6095">-1.8110414050000001</cx:pt>
          <cx:pt idx="6096">-1.8110866969999999</cx:pt>
          <cx:pt idx="6097">-1.811131313</cx:pt>
          <cx:pt idx="6098">-1.811260359</cx:pt>
          <cx:pt idx="6099">-1.8113931590000001</cx:pt>
          <cx:pt idx="6100">-1.8115239279999999</cx:pt>
          <cx:pt idx="6101">-1.8116107589999999</cx:pt>
          <cx:pt idx="6102">-1.811611436</cx:pt>
          <cx:pt idx="6103">-1.8116536510000001</cx:pt>
          <cx:pt idx="6104">-1.8117394769999999</cx:pt>
          <cx:pt idx="6105">-1.811784748</cx:pt>
          <cx:pt idx="6106">-1.8117861230000001</cx:pt>
          <cx:pt idx="6107">-1.8118276609999999</cx:pt>
          <cx:pt idx="6108">-1.8118297130000001</cx:pt>
          <cx:pt idx="6109">-1.8118705749999999</cx:pt>
          <cx:pt idx="6110">-1.811915846</cx:pt>
          <cx:pt idx="6111">-1.8119587589999999</cx:pt>
          <cx:pt idx="6112">-1.8120016720000001</cx:pt>
          <cx:pt idx="6113">-1.81204524</cx:pt>
          <cx:pt idx="6114">-1.812133446</cx:pt>
          <cx:pt idx="6115">-1.81222163</cx:pt>
          <cx:pt idx="6116">-1.8122226560000001</cx:pt>
          <cx:pt idx="6117">-1.812264544</cx:pt>
          <cx:pt idx="6118">-1.812307457</cx:pt>
          <cx:pt idx="6119">-1.812352728</cx:pt>
          <cx:pt idx="6120">-1.8123956409999999</cx:pt>
          <cx:pt idx="6121">-1.8124817950000001</cx:pt>
          <cx:pt idx="6122">-1.8125699790000001</cx:pt>
          <cx:pt idx="6123">-1.8126128930000001</cx:pt>
          <cx:pt idx="6124">-1.812656482</cx:pt>
          <cx:pt idx="6125">-1.812701077</cx:pt>
          <cx:pt idx="6126">-1.8127027790000001</cx:pt>
          <cx:pt idx="6127">-1.81274399</cx:pt>
          <cx:pt idx="6128">-1.812789282</cx:pt>
          <cx:pt idx="6129">-1.812832174</cx:pt>
          <cx:pt idx="6130">-1.813052154</cx:pt>
          <cx:pt idx="6131">-1.8131829020000001</cx:pt>
          <cx:pt idx="6132">-1.8132247889999999</cx:pt>
          <cx:pt idx="6133">-1.813267703</cx:pt>
          <cx:pt idx="6134">-1.8133558869999999</cx:pt>
          <cx:pt idx="6135">-1.813357589</cx:pt>
          <cx:pt idx="6136">-1.8133988000000001</cx:pt>
          <cx:pt idx="6137">-1.8136603179999999</cx:pt>
          <cx:pt idx="6138">-1.8137056110000001</cx:pt>
          <cx:pt idx="6139">-1.8137485019999999</cx:pt>
          <cx:pt idx="6140">-1.8137914159999999</cx:pt>
          <cx:pt idx="6141">-1.813836708</cx:pt>
          <cx:pt idx="6142">-1.8138795999999999</cx:pt>
          <cx:pt idx="6143">-1.8139661030000001</cx:pt>
          <cx:pt idx="6144">-1.8140106970000001</cx:pt>
          <cx:pt idx="6145">-1.8140124</cx:pt>
          <cx:pt idx="6146">-1.8140536110000001</cx:pt>
          <cx:pt idx="6147">-1.8140989030000001</cx:pt>
          <cx:pt idx="6148">-1.8142306770000001</cx:pt>
          <cx:pt idx="6149">-1.8143158049999999</cx:pt>
          <cx:pt idx="6150">-1.8145350870000001</cx:pt>
          <cx:pt idx="6151">-1.814578</cx:pt>
          <cx:pt idx="6152">-1.8146209129999999</cx:pt>
          <cx:pt idx="6153">-1.814664482</cx:pt>
          <cx:pt idx="6154">-1.814840872</cx:pt>
          <cx:pt idx="6155">-1.8148837849999999</cx:pt>
          <cx:pt idx="6156">-1.814885487</cx:pt>
          <cx:pt idx="6157">-1.814926676</cx:pt>
          <cx:pt idx="6158">-1.8149719689999999</cx:pt>
          <cx:pt idx="6159">-1.8150148820000001</cx:pt>
          <cx:pt idx="6160">-1.8152757239999999</cx:pt>
          <cx:pt idx="6161">-1.8155845639999999</cx:pt>
          <cx:pt idx="6162">-1.8163245029999999</cx:pt>
          <cx:pt idx="6163">-1.816369795</cx:pt>
          <cx:pt idx="6164">-1.816410984</cx:pt>
          <cx:pt idx="6165">-1.816542082</cx:pt>
          <cx:pt idx="6166">-1.8165853439999999</cx:pt>
          <cx:pt idx="6167">-1.816628913</cx:pt>
          <cx:pt idx="6168">-1.816674205</cx:pt>
          <cx:pt idx="6169">-1.8166752310000001</cx:pt>
          <cx:pt idx="6170">-1.816719148</cx:pt>
          <cx:pt idx="6171">-1.816807005</cx:pt>
          <cx:pt idx="6172">-1.816849918</cx:pt>
          <cx:pt idx="6173">-1.816891107</cx:pt>
          <cx:pt idx="6174">-1.8169810159999999</cx:pt>
          <cx:pt idx="6175">-1.817022227</cx:pt>
          <cx:pt idx="6176">-1.8170681959999999</cx:pt>
          <cx:pt idx="6177">-1.8171117640000001</cx:pt>
          <cx:pt idx="6178">-1.817153324</cx:pt>
          <cx:pt idx="6179">-1.8172013229999999</cx:pt>
          <cx:pt idx="6180">-1.817417549</cx:pt>
          <cx:pt idx="6181">-1.817458759</cx:pt>
          <cx:pt idx="6182">-1.8175047289999999</cx:pt>
          <cx:pt idx="6183">-1.817810513</cx:pt>
          <cx:pt idx="6184">-1.817894965</cx:pt>
          <cx:pt idx="6185">-1.8179838260000001</cx:pt>
          <cx:pt idx="6186">-1.8180291180000001</cx:pt>
          <cx:pt idx="6187">-1.8181159490000001</cx:pt>
          <cx:pt idx="6188">-1.818159539</cx:pt>
          <cx:pt idx="6189">-1.818331825</cx:pt>
          <cx:pt idx="6190">-1.818420031</cx:pt>
          <cx:pt idx="6191">-1.8184213849999999</cx:pt>
          <cx:pt idx="6192">-1.818554185</cx:pt>
          <cx:pt idx="6193">-1.818595395</cx:pt>
          <cx:pt idx="6194">-1.8185960720000001</cx:pt>
          <cx:pt idx="6195">-1.8186403390000001</cx:pt>
          <cx:pt idx="6196">-1.8186812000000001</cx:pt>
          <cx:pt idx="6197">-1.8187288720000001</cx:pt>
          <cx:pt idx="6198">-1.818771785</cx:pt>
          <cx:pt idx="6199">-1.8188143489999999</cx:pt>
          <cx:pt idx="6200">-1.8190761950000001</cx:pt>
          <cx:pt idx="6201">-1.8191201340000001</cx:pt>
          <cx:pt idx="6202">-1.8191613230000001</cx:pt>
          <cx:pt idx="6203">-1.8192049130000001</cx:pt>
          <cx:pt idx="6204">-1.819294821</cx:pt>
          <cx:pt idx="6205">-1.81933839</cx:pt>
          <cx:pt idx="6206">-1.8193796</cx:pt>
          <cx:pt idx="6207">-1.8194255699999999</cx:pt>
          <cx:pt idx="6208">-1.8194691599999999</cx:pt>
          <cx:pt idx="6209">-1.8195566670000001</cx:pt>
          <cx:pt idx="6210">-1.8196002570000001</cx:pt>
          <cx:pt idx="6211">-1.8196417949999999</cx:pt>
          <cx:pt idx="6212">-1.819687415</cx:pt>
          <cx:pt idx="6213">-1.819731354</cx:pt>
          <cx:pt idx="6214">-1.8197749439999999</cx:pt>
          <cx:pt idx="6215">-1.819815806</cx:pt>
          <cx:pt idx="6216">-1.8199469029999999</cx:pt>
          <cx:pt idx="6217">-1.8199932000000001</cx:pt>
          <cx:pt idx="6218">-1.8200367900000001</cx:pt>
          <cx:pt idx="6219">-1.8200780009999999</cx:pt>
          <cx:pt idx="6220">-1.820167887</cx:pt>
          <cx:pt idx="6221">-1.8202090980000001</cx:pt>
          <cx:pt idx="6222">-1.8202567700000001</cx:pt>
          <cx:pt idx="6223">-1.8202986569999999</cx:pt>
          <cx:pt idx="6224">-1.820339846</cx:pt>
          <cx:pt idx="6225">-1.8203861649999999</cx:pt>
          <cx:pt idx="6226">-1.8204297549999999</cx:pt>
          <cx:pt idx="6227">-1.820470944</cx:pt>
          <cx:pt idx="6228">-1.820514534</cx:pt>
          <cx:pt idx="6229">-1.8205605030000001</cx:pt>
          <cx:pt idx="6230">-1.820604442</cx:pt>
          <cx:pt idx="6231">-1.8206456310000001</cx:pt>
          <cx:pt idx="6232">-1.8206933030000001</cx:pt>
          <cx:pt idx="6233">-1.820736216</cx:pt>
          <cx:pt idx="6234">-1.8207787799999999</cx:pt>
          <cx:pt idx="6235">-1.820819969</cx:pt>
          <cx:pt idx="6236">-1.8208662879999999</cx:pt>
          <cx:pt idx="6237">-1.8209098779999999</cx:pt>
          <cx:pt idx="6238">-1.820951067</cx:pt>
          <cx:pt idx="6239">-1.8209970360000001</cx:pt>
          <cx:pt idx="6240">-1.8210409750000001</cx:pt>
          <cx:pt idx="6241">-1.8210821859999999</cx:pt>
          <cx:pt idx="6242">-1.8211301849999999</cx:pt>
          <cx:pt idx="6243">-1.8212153129999999</cx:pt>
          <cx:pt idx="6244">-1.821300441</cx:pt>
          <cx:pt idx="6245">-1.821348113</cx:pt>
          <cx:pt idx="6246">-1.8213910259999999</cx:pt>
          <cx:pt idx="6247">-1.8214335909999999</cx:pt>
          <cx:pt idx="6248">-1.82147478</cx:pt>
          <cx:pt idx="6249">-1.8215210980000001</cx:pt>
          <cx:pt idx="6250">-1.821564688</cx:pt>
          <cx:pt idx="6251">-1.821608278</cx:pt>
          <cx:pt idx="6252">-1.8216498160000001</cx:pt>
          <cx:pt idx="6253">-1.821824154</cx:pt>
          <cx:pt idx="6254">-1.8218701239999999</cx:pt>
          <cx:pt idx="6255">-1.821911662</cx:pt>
          <cx:pt idx="6256">-1.8219576310000001</cx:pt>
          <cx:pt idx="6257">-1.8220012210000001</cx:pt>
          <cx:pt idx="6258">-1.8220427589999999</cx:pt>
          <cx:pt idx="6259">-1.822088401</cx:pt>
          <cx:pt idx="6260">-1.822132318</cx:pt>
          <cx:pt idx="6261">-1.8221731800000001</cx:pt>
          <cx:pt idx="6262">-1.8222194979999999</cx:pt>
          <cx:pt idx="6263">-1.8222630879999999</cx:pt>
          <cx:pt idx="6264">-1.822304277</cx:pt>
          <cx:pt idx="6265">-1.8223505959999999</cx:pt>
          <cx:pt idx="6266">-1.8223941859999999</cx:pt>
          <cx:pt idx="6267">-1.822435375</cx:pt>
          <cx:pt idx="6268">-1.822478965</cx:pt>
          <cx:pt idx="6269">-1.822524934</cx:pt>
          <cx:pt idx="6270">-1.8225664720000001</cx:pt>
          <cx:pt idx="6271">-1.822612441</cx:pt>
          <cx:pt idx="6272">-1.822656031</cx:pt>
          <cx:pt idx="6273">-1.822697569</cx:pt>
          <cx:pt idx="6274">-1.8227432109999999</cx:pt>
          <cx:pt idx="6275">-1.822787129</cx:pt>
          <cx:pt idx="6276">-1.82282799</cx:pt>
          <cx:pt idx="6277">-1.8229185750000001</cx:pt>
          <cx:pt idx="6278">-1.8229590879999999</cx:pt>
          <cx:pt idx="6279">-1.8230054060000001</cx:pt>
          <cx:pt idx="6280">-1.8230901850000001</cx:pt>
          <cx:pt idx="6281">-1.8231337750000001</cx:pt>
          <cx:pt idx="6282">-1.8233108419999999</cx:pt>
          <cx:pt idx="6283">-1.8233980219999999</cx:pt>
          <cx:pt idx="6284">-1.8234419390000001</cx:pt>
          <cx:pt idx="6285">-1.823529119</cx:pt>
          <cx:pt idx="6286">-1.823616626</cx:pt>
          <cx:pt idx="6287">-1.823657488</cx:pt>
          <cx:pt idx="6288">-1.8237038059999999</cx:pt>
          <cx:pt idx="6289">-1.823965652</cx:pt>
          <cx:pt idx="6290">-1.8240102680000001</cx:pt>
          <cx:pt idx="6291">-1.8240940210000001</cx:pt>
          <cx:pt idx="6292">-1.8241839289999999</cx:pt>
          <cx:pt idx="6293">-1.824268708</cx:pt>
          <cx:pt idx="6294">-1.8246640519999999</cx:pt>
          <cx:pt idx="6295">-1.82470797</cx:pt>
          <cx:pt idx="6296">-1.82474918</cx:pt>
          <cx:pt idx="6297">-1.8247951499999999</cx:pt>
          <cx:pt idx="6298">-1.8248387399999999</cx:pt>
          <cx:pt idx="6299">-1.8249262470000001</cx:pt>
          <cx:pt idx="6300">-1.824969837</cx:pt>
          <cx:pt idx="6301">-1.8250110260000001</cx:pt>
          <cx:pt idx="6302">-1.8250590470000001</cx:pt>
          <cx:pt idx="6303">-1.8250982060000001</cx:pt>
          <cx:pt idx="6304">-1.8252316820000001</cx:pt>
          <cx:pt idx="6305">-1.825276975</cx:pt>
          <cx:pt idx="6306">-1.825318862</cx:pt>
          <cx:pt idx="6307">-1.8253627800000001</cx:pt>
          <cx:pt idx="6308">-1.8254036410000001</cx:pt>
          <cx:pt idx="6309">-1.82544996</cx:pt>
          <cx:pt idx="6310">-1.82553714</cx:pt>
          <cx:pt idx="6311">-1.8256246469999999</cx:pt>
          <cx:pt idx="6312">-1.8256682369999999</cx:pt>
          <cx:pt idx="6313">-1.825753016</cx:pt>
          <cx:pt idx="6314">-1.8258864930000001</cx:pt>
          <cx:pt idx="6315">-1.8259277039999999</cx:pt>
          <cx:pt idx="6316">-1.825974349</cx:pt>
          <cx:pt idx="6317">-1.8260588010000001</cx:pt>
          <cx:pt idx="6318">-1.826189898</cx:pt>
          <cx:pt idx="6319">-1.8262794579999999</cx:pt>
          <cx:pt idx="6320">-1.8263206460000001</cx:pt>
          <cx:pt idx="6321">-1.826368668</cx:pt>
          <cx:pt idx="6322">-1.8264517440000001</cx:pt>
          <cx:pt idx="6323">-1.826497713</cx:pt>
          <cx:pt idx="6324">-1.8265865960000001</cx:pt>
          <cx:pt idx="6325">-1.826977858</cx:pt>
          <cx:pt idx="6326">-1.827062637</cx:pt>
          <cx:pt idx="6327">-1.827106227</cx:pt>
          <cx:pt idx="6328">-1.8274995190000001</cx:pt>
          <cx:pt idx="6329">-1.8275454879999999</cx:pt>
          <cx:pt idx="6330">-1.8275884019999999</cx:pt>
          <cx:pt idx="6331">-1.8275890779999999</cx:pt>
          <cx:pt idx="6332">-1.827630616</cx:pt>
          <cx:pt idx="6333">-1.8277637659999999</cx:pt>
          <cx:pt idx="6334">-1.828067149</cx:pt>
          <cx:pt idx="6335">-1.8283726069999999</cx:pt>
          <cx:pt idx="6336">-1.828418903</cx:pt>
          <cx:pt idx="6337">-1.828504031</cx:pt>
          <cx:pt idx="6338">-1.8285057339999999</cx:pt>
          <cx:pt idx="6339">-1.828546945</cx:pt>
          <cx:pt idx="6340">-1.8285922370000001</cx:pt>
          <cx:pt idx="6341">-1.8285932629999999</cx:pt>
          <cx:pt idx="6342">-1.828898699</cx:pt>
          <cx:pt idx="6343">-1.829027068</cx:pt>
          <cx:pt idx="6344">-1.8290733859999999</cx:pt>
          <cx:pt idx="6345">-1.8292480739999999</cx:pt>
          <cx:pt idx="6346">-1.8292916420000001</cx:pt>
          <cx:pt idx="6347">-1.829378822</cx:pt>
          <cx:pt idx="6348">-1.8294663289999999</cx:pt>
          <cx:pt idx="6349">-1.829815355</cx:pt>
          <cx:pt idx="6350">-1.829858945</cx:pt>
          <cx:pt idx="6351">-1.8299004830000001</cx:pt>
          <cx:pt idx="6352">-1.8299464519999999</cx:pt>
          <cx:pt idx="6353">-1.8303370379999999</cx:pt>
          <cx:pt idx="6354">-1.830383007</cx:pt>
          <cx:pt idx="6355">-1.8306012620000001</cx:pt>
          <cx:pt idx="6356">-1.8306428219999999</cx:pt>
          <cx:pt idx="6357">-1.830688442</cx:pt>
          <cx:pt idx="6358">-1.8309063699999999</cx:pt>
          <cx:pt idx="6359">-1.830991848</cx:pt>
          <cx:pt idx="6360">-1.8310361150000001</cx:pt>
          <cx:pt idx="6361">-1.831079355</cx:pt>
          <cx:pt idx="6362">-1.8311246480000001</cx:pt>
          <cx:pt idx="6363">-1.831168216</cx:pt>
          <cx:pt idx="6364">-1.8312101030000001</cx:pt>
          <cx:pt idx="6365">-1.8312540429999999</cx:pt>
          <cx:pt idx="6366">-1.83138717</cx:pt>
          <cx:pt idx="6367">-1.8314736730000001</cx:pt>
          <cx:pt idx="6368">-1.8315172630000001</cx:pt>
          <cx:pt idx="6369">-1.831559478</cx:pt>
          <cx:pt idx="6370">-1.831607499</cx:pt>
          <cx:pt idx="6371">-1.831648012</cx:pt>
          <cx:pt idx="6372">-1.831690925</cx:pt>
          <cx:pt idx="6373">-1.831692627</cx:pt>
          <cx:pt idx="6374">-1.831779109</cx:pt>
          <cx:pt idx="6375">-1.831779786</cx:pt>
          <cx:pt idx="6376">-1.8318220220000001</cx:pt>
          <cx:pt idx="6377">-1.8318649140000001</cx:pt>
          <cx:pt idx="6378">-1.8319102060000001</cx:pt>
          <cx:pt idx="6379">-1.8319537960000001</cx:pt>
          <cx:pt idx="6380">-1.8319977140000001</cx:pt>
          <cx:pt idx="6381">-1.8319980629999999</cx:pt>
          <cx:pt idx="6382">-1.832083868</cx:pt>
          <cx:pt idx="6383">-1.832172074</cx:pt>
          <cx:pt idx="6384">-1.832215991</cx:pt>
          <cx:pt idx="6385">-1.8323450370000001</cx:pt>
          <cx:pt idx="6386">-1.8323903290000001</cx:pt>
          <cx:pt idx="6387">-1.8324332430000001</cx:pt>
          <cx:pt idx="6388">-1.832476134</cx:pt>
          <cx:pt idx="6389">-1.8325214270000001</cx:pt>
          <cx:pt idx="6390">-1.832608934</cx:pt>
          <cx:pt idx="6391">-1.832609283</cx:pt>
          <cx:pt idx="6392">-1.832652524</cx:pt>
          <cx:pt idx="6393">-1.8326944110000001</cx:pt>
          <cx:pt idx="6394">-1.8327383509999999</cx:pt>
          <cx:pt idx="6395">-1.832827561</cx:pt>
          <cx:pt idx="6396">-1.833089406</cx:pt>
          <cx:pt idx="6397">-1.8331309440000001</cx:pt>
          <cx:pt idx="6398">-1.833176914</cx:pt>
          <cx:pt idx="6399">-1.83330836</cx:pt>
          <cx:pt idx="6400">-1.833436402</cx:pt>
          <cx:pt idx="6401">-1.833524586</cx:pt>
          <cx:pt idx="6402">-1.8335259610000001</cx:pt>
          <cx:pt idx="6403">-1.8335674989999999</cx:pt>
          <cx:pt idx="6404">-1.833613468</cx:pt>
          <cx:pt idx="6405">-1.8336546570000001</cx:pt>
          <cx:pt idx="6406">-1.833700627</cx:pt>
          <cx:pt idx="6407">-1.833744217</cx:pt>
          <cx:pt idx="6408">-1.8337857550000001</cx:pt>
          <cx:pt idx="6409">-1.8338317239999999</cx:pt>
          <cx:pt idx="6410">-1.8338753139999999</cx:pt>
          <cx:pt idx="6411">-1.834311869</cx:pt>
          <cx:pt idx="6412">-1.834353058</cx:pt>
          <cx:pt idx="6413">-1.8343990269999999</cx:pt>
          <cx:pt idx="6414">-1.8344429659999999</cx:pt>
          <cx:pt idx="6415">-1.8348359089999999</cx:pt>
          <cx:pt idx="6416">-1.83487712</cx:pt>
          <cx:pt idx="6417">-1.8350953750000001</cx:pt>
          <cx:pt idx="6418">-1.835140668</cx:pt>
          <cx:pt idx="6419">-1.835184935</cx:pt>
          <cx:pt idx="6420">-1.8354025350000001</cx:pt>
          <cx:pt idx="6421">-1.835445427</cx:pt>
          <cx:pt idx="6422">-1.8354468020000001</cx:pt>
          <cx:pt idx="6423">-1.8354883399999999</cx:pt>
          <cx:pt idx="6424">-1.835532258</cx:pt>
          <cx:pt idx="6425">-1.835534309</cx:pt>
          <cx:pt idx="6426">-1.835620791</cx:pt>
          <cx:pt idx="6427">-1.8356650569999999</cx:pt>
          <cx:pt idx="6428">-1.835926248</cx:pt>
          <cx:pt idx="6429">-1.83596914</cx:pt>
          <cx:pt idx="6430">-1.835970842</cx:pt>
          <cx:pt idx="6431">-1.8360151090000001</cx:pt>
          <cx:pt idx="6432">-1.8360154580000001</cx:pt>
          <cx:pt idx="6433">-1.83605632</cx:pt>
          <cx:pt idx="6434">-1.8360992330000001</cx:pt>
          <cx:pt idx="6435">-1.836144504</cx:pt>
          <cx:pt idx="6436">-1.83618912</cx:pt>
          <cx:pt idx="6437">-1.83623033</cx:pt>
          <cx:pt idx="6438">-1.8362763</cx:pt>
          <cx:pt idx="6439">-1.8363198679999999</cx:pt>
          <cx:pt idx="6440">-1.8364073970000001</cx:pt>
          <cx:pt idx="6441">-1.836494555</cx:pt>
          <cx:pt idx="6442">-1.836670268</cx:pt>
          <cx:pt idx="6443">-1.8368439299999999</cx:pt>
          <cx:pt idx="6444">-1.8370162379999999</cx:pt>
          <cx:pt idx="6445">-1.8371493649999999</cx:pt>
          <cx:pt idx="6446">-1.8371929549999999</cx:pt>
          <cx:pt idx="6447">-1.83749874</cx:pt>
          <cx:pt idx="6448">-1.8375399509999999</cx:pt>
          <cx:pt idx="6449">-1.8375835190000001</cx:pt>
          <cx:pt idx="6450">-1.8376294879999999</cx:pt>
          <cx:pt idx="6451">-1.837673428</cx:pt>
          <cx:pt idx="6452">-1.8377146170000001</cx:pt>
          <cx:pt idx="6453">-1.8377605859999999</cx:pt>
          <cx:pt idx="6454">-1.8378041759999999</cx:pt>
          <cx:pt idx="6455">-1.837845714</cx:pt>
          <cx:pt idx="6456">-1.8378916830000001</cx:pt>
          <cx:pt idx="6457">-1.8379328939999999</cx:pt>
          <cx:pt idx="6458">-1.837978863</cx:pt>
          <cx:pt idx="6459">-1.838066043</cx:pt>
          <cx:pt idx="6460">-1.838109961</cx:pt>
          <cx:pt idx="6461">-1.838151171</cx:pt>
          <cx:pt idx="6462">-1.838194761</cx:pt>
          <cx:pt idx="6463">-1.838240731</cx:pt>
          <cx:pt idx="6464">-1.8382846479999999</cx:pt>
          <cx:pt idx="6465">-1.8383282379999999</cx:pt>
          <cx:pt idx="6466">-1.8383718280000001</cx:pt>
          <cx:pt idx="6467">-1.8384130169999999</cx:pt>
          <cx:pt idx="6468">-1.838458986</cx:pt>
          <cx:pt idx="6469">-1.838502925</cx:pt>
          <cx:pt idx="6470">-1.8385441140000001</cx:pt>
          <cx:pt idx="6471">-1.838590084</cx:pt>
          <cx:pt idx="6472">-1.838634699</cx:pt>
          <cx:pt idx="6473">-1.8387637450000001</cx:pt>
          <cx:pt idx="6474">-1.8393320740000001</cx:pt>
          <cx:pt idx="6475">-1.8396371819999999</cx:pt>
          <cx:pt idx="6476">-1.8399014069999999</cx:pt>
          <cx:pt idx="6477">-1.840074392</cx:pt>
          <cx:pt idx="6478">-1.8402926690000001</cx:pt>
          <cx:pt idx="6479">-1.8405545139999999</cx:pt>
          <cx:pt idx="6480">-1.8405960530000001</cx:pt>
          <cx:pt idx="6481">-1.8406413450000001</cx:pt>
          <cx:pt idx="6482">-1.8406849350000001</cx:pt>
          <cx:pt idx="6483">-1.840726823</cx:pt>
          <cx:pt idx="6484">-1.8408180839999999</cx:pt>
          <cx:pt idx="6485">-1.840859273</cx:pt>
          <cx:pt idx="6486">-1.8408599720000001</cx:pt>
          <cx:pt idx="6487">-1.8409450999999999</cx:pt>
          <cx:pt idx="6488">-1.841035663</cx:pt>
          <cx:pt idx="6489">-1.841122167</cx:pt>
          <cx:pt idx="6490">-1.841206946</cx:pt>
          <cx:pt idx="6491">-1.84151273</cx:pt>
          <cx:pt idx="6492">-1.8416894479999999</cx:pt>
          <cx:pt idx="6493">-1.841951315</cx:pt>
          <cx:pt idx="6494">-1.841992853</cx:pt>
          <cx:pt idx="6495">-1.8420388219999999</cx:pt>
          <cx:pt idx="6496">-1.8426936330000001</cx:pt>
          <cx:pt idx="6497">-1.8427372230000001</cx:pt>
          <cx:pt idx="6498">-1.843084196</cx:pt>
          <cx:pt idx="6499">-1.8431737560000001</cx:pt>
          <cx:pt idx="6500">-1.8435667200000001</cx:pt>
          <cx:pt idx="6501">-1.8436103100000001</cx:pt>
          <cx:pt idx="6502">-1.8441779410000001</cx:pt>
          <cx:pt idx="6503">-1.844309387</cx:pt>
          <cx:pt idx="6504">-1.8446120939999999</cx:pt>
          <cx:pt idx="6505">-1.8447431919999999</cx:pt>
          <cx:pt idx="6506">-1.844789161</cx:pt>
          <cx:pt idx="6507">-1.844876341</cx:pt>
          <cx:pt idx="6508">-1.8449634989999999</cx:pt>
          <cx:pt idx="6509">-1.8450510280000001</cx:pt>
          <cx:pt idx="6510">-1.8457034379999999</cx:pt>
          <cx:pt idx="6511">-1.845749407</cx:pt>
          <cx:pt idx="6512">-1.845791644</cx:pt>
          <cx:pt idx="6513">-1.8458345350000001</cx:pt>
          <cx:pt idx="6514">-1.845921715</cx:pt>
          <cx:pt idx="6515">-1.8459670079999999</cx:pt>
          <cx:pt idx="6516">-1.8459676840000001</cx:pt>
          <cx:pt idx="6517">-1.8460109250000001</cx:pt>
          <cx:pt idx="6518">-1.846360649</cx:pt>
          <cx:pt idx="6519">-1.8470154590000001</cx:pt>
          <cx:pt idx="6520">-1.847056998</cx:pt>
          <cx:pt idx="6521">-1.8472766279999999</cx:pt>
          <cx:pt idx="6522">-1.8473195200000001</cx:pt>
          <cx:pt idx="6523">-1.847362433</cx:pt>
          <cx:pt idx="6524">-1.8474063510000001</cx:pt>
          <cx:pt idx="6525">-1.847757428</cx:pt>
          <cx:pt idx="6526">-1.8484997460000001</cx:pt>
          <cx:pt idx="6527">-1.848718023</cx:pt>
          <cx:pt idx="6528">-1.8489798690000001</cx:pt>
          <cx:pt idx="6529">-1.849198823</cx:pt>
          <cx:pt idx="6530">-1.849634679</cx:pt>
          <cx:pt idx="6531">-1.8499840540000001</cx:pt>
          <cx:pt idx="6532">-1.8500276440000001</cx:pt>
          <cx:pt idx="6533">-1.8501563620000001</cx:pt>
          <cx:pt idx="6534">-1.850202331</cx:pt>
          <cx:pt idx="6535">-1.850243869</cx:pt>
          <cx:pt idx="6536">-1.8502877870000001</cx:pt>
          <cx:pt idx="6537">-1.8502894889999999</cx:pt>
          <cx:pt idx="6538">-1.8504216120000001</cx:pt>
          <cx:pt idx="6539">-1.8504641770000001</cx:pt>
          <cx:pt idx="6540">-1.8505077670000001</cx:pt>
          <cx:pt idx="6541">-1.850638864</cx:pt>
          <cx:pt idx="6542">-1.8509007310000001</cx:pt>
          <cx:pt idx="6543">-1.850944299</cx:pt>
          <cx:pt idx="6544">-1.8510318290000001</cx:pt>
          <cx:pt idx="6545">-1.8513808540000001</cx:pt>
          <cx:pt idx="6546">-1.8514223919999999</cx:pt>
          <cx:pt idx="6547">-1.8514683620000001</cx:pt>
          <cx:pt idx="6548">-1.8515119520000001</cx:pt>
          <cx:pt idx="6549">-1.8515555420000001</cx:pt>
          <cx:pt idx="6550">-1.8515987819999999</cx:pt>
          <cx:pt idx="6551">-1.8516406700000001</cx:pt>
          <cx:pt idx="6552">-1.851731233</cx:pt>
          <cx:pt idx="6553">-1.8519920750000001</cx:pt>
          <cx:pt idx="6554">-1.852034988</cx:pt>
          <cx:pt idx="6555">-1.8520778790000001</cx:pt>
          <cx:pt idx="6556">-1.8521207930000001</cx:pt>
          <cx:pt idx="6557">-1.8521660849999999</cx:pt>
          <cx:pt idx="6558">-1.852166762</cx:pt>
          <cx:pt idx="6559">-1.8522535929999999</cx:pt>
          <cx:pt idx="6560">-1.852343152</cx:pt>
          <cx:pt idx="6561">-1.852603295</cx:pt>
          <cx:pt idx="6562">-1.8527340649999999</cx:pt>
          <cx:pt idx="6563">-1.8527779820000001</cx:pt>
          <cx:pt idx="6564">-1.8532996429999999</cx:pt>
          <cx:pt idx="6565">-1.8535615110000001</cx:pt>
          <cx:pt idx="6566">-1.853736198</cx:pt>
          <cx:pt idx="6567">-1.8537818180000001</cx:pt>
          <cx:pt idx="6568">-1.853956505</cx:pt>
          <cx:pt idx="6569">-1.8541747829999999</cx:pt>
          <cx:pt idx="6570">-1.854307234</cx:pt>
          <cx:pt idx="6571">-1.8543504740000001</cx:pt>
          <cx:pt idx="6572">-1.8543913359999999</cx:pt>
          <cx:pt idx="6573">-1.854436628</cx:pt>
          <cx:pt idx="6574">-1.8544805680000001</cx:pt>
          <cx:pt idx="6575">-1.855616854</cx:pt>
          <cx:pt idx="6576">-1.855660095</cx:pt>
          <cx:pt idx="6577">-1.855700956</cx:pt>
          <cx:pt idx="6578">-1.8557462490000001</cx:pt>
          <cx:pt idx="6579">-1.855838187</cx:pt>
          <cx:pt idx="6580">-1.8559212860000001</cx:pt>
          <cx:pt idx="6581">-1.8559645259999999</cx:pt>
          <cx:pt idx="6582">-1.8562703110000001</cx:pt>
          <cx:pt idx="6583">-1.856357469</cx:pt>
          <cx:pt idx="6584">-1.856401059</cx:pt>
          <cx:pt idx="6585">-1.856488567</cx:pt>
          <cx:pt idx="6586">-1.8568379420000001</cx:pt>
          <cx:pt idx="6587">-1.856880855</cx:pt>
          <cx:pt idx="6588">-1.856881531</cx:pt>
          <cx:pt idx="6589">-1.8569264750000001</cx:pt>
          <cx:pt idx="6590">-1.8569268240000001</cx:pt>
          <cx:pt idx="6591">-1.85701228</cx:pt>
          <cx:pt idx="6592">-1.8570997869999999</cx:pt>
          <cx:pt idx="6593">-1.857318064</cx:pt>
          <cx:pt idx="6594">-1.8573633570000001</cx:pt>
          <cx:pt idx="6595">-1.8578833159999999</cx:pt>
          <cx:pt idx="6596">-1.858061081</cx:pt>
          <cx:pt idx="6597">-1.858234044</cx:pt>
          <cx:pt idx="6598">-1.8582793360000001</cx:pt>
          <cx:pt idx="6599">-1.8583219</cx:pt>
          <cx:pt idx="6600">-1.85836549</cx:pt>
          <cx:pt idx="6601">-1.8584087309999999</cx:pt>
          <cx:pt idx="6602">-1.8585401779999999</cx:pt>
          <cx:pt idx="6603">-1.8586276850000001</cx:pt>
          <cx:pt idx="6604">-1.8586712750000001</cx:pt>
          <cx:pt idx="6605">-1.858758455</cx:pt>
          <cx:pt idx="6606">-1.858802372</cx:pt>
          <cx:pt idx="6607">-1.8589763829999999</cx:pt>
          <cx:pt idx="6608">-1.8589773869999999</cx:pt>
          <cx:pt idx="6609">-1.8590199510000001</cx:pt>
          <cx:pt idx="6610">-1.8590642180000001</cx:pt>
          <cx:pt idx="6611">-1.8591078080000001</cx:pt>
          <cx:pt idx="6612">-1.8593277880000001</cx:pt>
          <cx:pt idx="6613">-1.859370701</cx:pt>
          <cx:pt idx="6614">-1.859893716</cx:pt>
          <cx:pt idx="6615">-1.859937306</cx:pt>
          <cx:pt idx="6616">-1.859982598</cx:pt>
          <cx:pt idx="6617">-1.860025512</cx:pt>
          <cx:pt idx="6618">-1.8600680759999999</cx:pt>
          <cx:pt idx="6619">-1.8601555830000001</cx:pt>
          <cx:pt idx="6620">-1.8601998500000001</cx:pt>
          <cx:pt idx="6621">-1.8602407110000001</cx:pt>
          <cx:pt idx="6622">-1.86028668</cx:pt>
          <cx:pt idx="6623">-1.86033027</cx:pt>
          <cx:pt idx="6624">-1.860373839</cx:pt>
          <cx:pt idx="6625">-1.8604153990000001</cx:pt>
          <cx:pt idx="6626">-1.8605049360000001</cx:pt>
          <cx:pt idx="6627">-1.8609414909999999</cx:pt>
          <cx:pt idx="6628">-1.8614652039999999</cx:pt>
          <cx:pt idx="6629">-1.861682783</cx:pt>
          <cx:pt idx="6630">-1.862423747</cx:pt>
          <cx:pt idx="6631">-1.8624693670000001</cx:pt>
          <cx:pt idx="6632">-1.86251228</cx:pt>
          <cx:pt idx="6633">-1.8625561980000001</cx:pt>
          <cx:pt idx="6634">-1.862599788</cx:pt>
          <cx:pt idx="6635">-1.862643727</cx:pt>
          <cx:pt idx="6636">-1.862686968</cx:pt>
          <cx:pt idx="6637">-1.862731234</cx:pt>
          <cx:pt idx="6638">-1.863211357</cx:pt>
          <cx:pt idx="6639">-1.863299214</cx:pt>
          <cx:pt idx="6640">-1.8634745779999999</cx:pt>
          <cx:pt idx="6641">-1.8634749269999999</cx:pt>
          <cx:pt idx="6642">-1.8635178189999999</cx:pt>
          <cx:pt idx="6643">-1.8635607320000001</cx:pt>
          <cx:pt idx="6644">-1.863604322</cx:pt>
          <cx:pt idx="6645">-1.86364789</cx:pt>
          <cx:pt idx="6646">-1.8636938590000001</cx:pt>
          <cx:pt idx="6647">-1.8637350699999999</cx:pt>
          <cx:pt idx="6648">-1.863778988</cx:pt>
          <cx:pt idx="6649">-1.8639536750000001</cx:pt>
          <cx:pt idx="6650">-1.8642591319999999</cx:pt>
          <cx:pt idx="6651">-1.8644337980000001</cx:pt>
          <cx:pt idx="6652">-1.8644777370000001</cx:pt>
          <cx:pt idx="6653">-1.864608485</cx:pt>
          <cx:pt idx="6654">-1.864652075</cx:pt>
          <cx:pt idx="6655">-1.864784199</cx:pt>
          <cx:pt idx="6656">-1.865046743</cx:pt>
          <cx:pt idx="6657">-1.865132198</cx:pt>
          <cx:pt idx="6658">-1.8651757879999999</cx:pt>
          <cx:pt idx="6659">-1.8654376560000001</cx:pt>
          <cx:pt idx="6660">-1.865874188</cx:pt>
          <cx:pt idx="6661">-1.866005286</cx:pt>
          <cx:pt idx="6662">-1.866048527</cx:pt>
          <cx:pt idx="6663">-1.866048876</cx:pt>
          <cx:pt idx="6664">-1.8660941680000001</cx:pt>
          <cx:pt idx="6665">-1.86613706</cx:pt>
          <cx:pt idx="6666">-1.8661799729999999</cx:pt>
          <cx:pt idx="6667">-1.8662235629999999</cx:pt>
          <cx:pt idx="6668">-1.8663151520000001</cx:pt>
          <cx:pt idx="6669">-1.8665310289999999</cx:pt>
          <cx:pt idx="6670">-1.8667036859999999</cx:pt>
          <cx:pt idx="6671">-1.866748979</cx:pt>
          <cx:pt idx="6672">-1.8667918699999999</cx:pt>
          <cx:pt idx="6673">-1.8669226400000001</cx:pt>
          <cx:pt idx="6674">-1.867096629</cx:pt>
          <cx:pt idx="6675">-1.867185512</cx:pt>
          <cx:pt idx="6676">-1.8672287519999999</cx:pt>
          <cx:pt idx="6677">-1.867622721</cx:pt>
          <cx:pt idx="6678">-1.8676659840000001</cx:pt>
          <cx:pt idx="6679">-1.8677078490000001</cx:pt>
          <cx:pt idx="6680">-1.8677521159999999</cx:pt>
          <cx:pt idx="6681">-1.8677950290000001</cx:pt>
          <cx:pt idx="6682">-1.8678389470000001</cx:pt>
          <cx:pt idx="6683">-1.8678825370000001</cx:pt>
          <cx:pt idx="6684">-1.867926127</cx:pt>
          <cx:pt idx="6685">-1.868013307</cx:pt>
          <cx:pt idx="6686">-1.8686681169999999</cx:pt>
          <cx:pt idx="6687">-1.8689343940000001</cx:pt>
          <cx:pt idx="6688">-1.869061737</cx:pt>
          <cx:pt idx="6689">-1.869149943</cx:pt>
          <cx:pt idx="6690">-1.869279337</cx:pt>
          <cx:pt idx="6691">-1.869322578</cx:pt>
          <cx:pt idx="6692">-1.8693681980000001</cx:pt>
          <cx:pt idx="6693">-1.869541532</cx:pt>
          <cx:pt idx="6694">-1.869584446</cx:pt>
          <cx:pt idx="6695">-1.869759111</cx:pt>
          <cx:pt idx="6696">-1.869802701</cx:pt>
          <cx:pt idx="6697">-1.869934475</cx:pt>
          <cx:pt idx="6698">-1.869977389</cx:pt>
          <cx:pt idx="6699">-1.8701071330000001</cx:pt>
          <cx:pt idx="6700">-1.8701963429999999</cx:pt>
          <cx:pt idx="6701">-1.8701966919999999</cx:pt>
          <cx:pt idx="6702">-1.8702392560000001</cx:pt>
          <cx:pt idx="6703">-1.870326414</cx:pt>
          <cx:pt idx="6704">-1.8703270910000001</cx:pt>
          <cx:pt idx="6705">-1.8705017779999999</cx:pt>
          <cx:pt idx="6706">-1.8709819009999999</cx:pt>
          <cx:pt idx="6707">-1.871026168</cx:pt>
          <cx:pt idx="6708">-1.871243768</cx:pt>
          <cx:pt idx="6709">-1.8712876860000001</cx:pt>
          <cx:pt idx="6710">-1.871330599</cx:pt>
          <cx:pt idx="6711">-1.871331276</cx:pt>
          <cx:pt idx="6712">-1.871418456</cx:pt>
          <cx:pt idx="6713">-1.871462722</cx:pt>
          <cx:pt idx="6714">-1.8715059629999999</cx:pt>
          <cx:pt idx="6715">-1.8716809780000001</cx:pt>
          <cx:pt idx="6716">-1.8721168340000001</cx:pt>
          <cx:pt idx="6717">-1.8725533889999999</cx:pt>
          <cx:pt idx="6718">-1.8725973060000001</cx:pt>
          <cx:pt idx="6719">-1.8726402200000001</cx:pt>
          <cx:pt idx="6720">-1.8726855120000001</cx:pt>
          <cx:pt idx="6721">-1.872728076</cx:pt>
          <cx:pt idx="6722">-1.872771645</cx:pt>
          <cx:pt idx="6723">-1.872815584</cx:pt>
          <cx:pt idx="6724">-1.872859174</cx:pt>
          <cx:pt idx="6725">-1.873252117</cx:pt>
          <cx:pt idx="6726">-1.873295707</cx:pt>
          <cx:pt idx="6727">-1.873339297</cx:pt>
          <cx:pt idx="6728">-1.8735558720000001</cx:pt>
          <cx:pt idx="6729">-1.873688671</cx:pt>
          <cx:pt idx="6730">-1.873731563</cx:pt>
          <cx:pt idx="6731">-1.874212384</cx:pt>
          <cx:pt idx="6732">-1.8743870499999999</cx:pt>
          <cx:pt idx="6733">-1.8745178199999999</cx:pt>
          <cx:pt idx="6734">-1.8747360749999999</cx:pt>
          <cx:pt idx="6735">-1.874780015</cx:pt>
          <cx:pt idx="6736">-1.8751733070000001</cx:pt>
          <cx:pt idx="6737">-1.8753908859999999</cx:pt>
          <cx:pt idx="6738">-1.875959215</cx:pt>
          <cx:pt idx="6739">-1.8765254920000001</cx:pt>
          <cx:pt idx="6740">-1.8765711119999999</cx:pt>
          <cx:pt idx="6741">-1.8766143740000001</cx:pt>
          <cx:pt idx="6742">-1.8766552359999999</cx:pt>
          <cx:pt idx="6743">-1.8767005059999999</cx:pt>
          <cx:pt idx="6744">-1.876743769</cx:pt>
          <cx:pt idx="6745">-1.876833306</cx:pt>
          <cx:pt idx="6746">-1.8768748660000001</cx:pt>
          <cx:pt idx="6747">-1.8770505580000001</cx:pt>
          <cx:pt idx="6748">-1.877093471</cx:pt>
          <cx:pt idx="6749">-1.877312425</cx:pt>
          <cx:pt idx="6750">-1.8773985790000001</cx:pt>
          <cx:pt idx="6751">-1.877441143</cx:pt>
          <cx:pt idx="6752">-1.8774871129999999</cx:pt>
          <cx:pt idx="6753">-1.877573943</cx:pt>
          <cx:pt idx="6754">-1.877616835</cx:pt>
          <cx:pt idx="6755">-1.877705041</cx:pt>
          <cx:pt idx="6756">-1.8777921989999999</cx:pt>
          <cx:pt idx="6757">-1.878054066</cx:pt>
          <cx:pt idx="6758">-1.8781848139999999</cx:pt>
          <cx:pt idx="6759">-1.878228754</cx:pt>
          <cx:pt idx="6760">-1.878272344</cx:pt>
          <cx:pt idx="6761">-1.878317287</cx:pt>
          <cx:pt idx="6762">-1.878360528</cx:pt>
          <cx:pt idx="6763">-1.8784030920000001</cx:pt>
          <cx:pt idx="6764">-1.8784470090000001</cx:pt>
          <cx:pt idx="6765">-1.8784899230000001</cx:pt>
          <cx:pt idx="6766">-1.8785788050000001</cx:pt>
          <cx:pt idx="6767">-1.878621697</cx:pt>
          <cx:pt idx="6768">-1.878665287</cx:pt>
          <cx:pt idx="6769">-1.878757574</cx:pt>
          <cx:pt idx="6770">-1.8787960349999999</cx:pt>
          <cx:pt idx="6771">-1.8789271320000001</cx:pt>
          <cx:pt idx="6772">-1.879058251</cx:pt>
          <cx:pt idx="6773">-1.8792765069999999</cx:pt>
          <cx:pt idx="6774">-1.8793200969999999</cx:pt>
          <cx:pt idx="6775">-1.8793636869999999</cx:pt>
          <cx:pt idx="6776">-1.8794116860000001</cx:pt>
          <cx:pt idx="6777">-1.879538374</cx:pt>
          <cx:pt idx="6778">-1.879670148</cx:pt>
          <cx:pt idx="6779">-1.8797995430000001</cx:pt>
          <cx:pt idx="6780">-1.8798002199999999</cx:pt>
          <cx:pt idx="6781">-1.8798884259999999</cx:pt>
          <cx:pt idx="6782">-1.879931317</cx:pt>
          <cx:pt idx="6783">-1.880149595</cx:pt>
          <cx:pt idx="6784">-1.8803246090000001</cx:pt>
          <cx:pt idx="6785">-1.8808476460000001</cx:pt>
          <cx:pt idx="6786">-1.880891563</cx:pt>
          <cx:pt idx="6787">-1.8809365280000001</cx:pt>
          <cx:pt idx="6788">-1.8809797690000001</cx:pt>
          <cx:pt idx="6789">-1.881198046</cx:pt>
          <cx:pt idx="6790">-1.881374087</cx:pt>
          <cx:pt idx="6791">-1.8814173279999999</cx:pt>
          <cx:pt idx="6792">-1.881633903</cx:pt>
          <cx:pt idx="6793">-1.8816771430000001</cx:pt>
          <cx:pt idx="6794">-1.8817639740000001</cx:pt>
          <cx:pt idx="6795">-1.881894046</cx:pt>
          <cx:pt idx="6796">-1.881939338</cx:pt>
          <cx:pt idx="6797">-1.881982928</cx:pt>
          <cx:pt idx="6798">-1.8821133489999999</cx:pt>
          <cx:pt idx="6799">-1.882157616</cx:pt>
          <cx:pt idx="6800">-1.8822011839999999</cx:pt>
          <cx:pt idx="6801">-1.8824201380000001</cx:pt>
          <cx:pt idx="6802">-1.8828566929999999</cx:pt>
          <cx:pt idx="6803">-1.8832925490000001</cx:pt>
          <cx:pt idx="6804">-1.883379707</cx:pt>
          <cx:pt idx="6805">-1.8834239740000001</cx:pt>
          <cx:pt idx="6806">-1.883467236</cx:pt>
          <cx:pt idx="6807">-1.8837730210000001</cx:pt>
          <cx:pt idx="6808">-1.883947359</cx:pt>
          <cx:pt idx="6809">-1.884034867</cx:pt>
          <cx:pt idx="6810">-1.8846021690000001</cx:pt>
          <cx:pt idx="6811">-1.8849515219999999</cx:pt>
          <cx:pt idx="6812">-1.8849934100000001</cx:pt>
          <cx:pt idx="6813">-1.885039052</cx:pt>
          <cx:pt idx="6814">-1.8850819430000001</cx:pt>
          <cx:pt idx="6815">-1.8851262099999999</cx:pt>
          <cx:pt idx="6816">-1.8851697999999999</cx:pt>
          <cx:pt idx="6817">-1.8852140660000001</cx:pt>
          <cx:pt idx="6818">-1.885344487</cx:pt>
          <cx:pt idx="6819">-1.8859577590000001</cx:pt>
          <cx:pt idx="6820">-1.886001</cx:pt>
          <cx:pt idx="6821">-1.8861753489999999</cx:pt>
          <cx:pt idx="6822">-1.8862611600000001</cx:pt>
          <cx:pt idx="6823">-1.886697743</cx:pt>
          <cx:pt idx="6824">-1.886784579</cx:pt>
          <cx:pt idx="6825">-1.886873118</cx:pt>
          <cx:pt idx="6826">-1.8869596049999999</cx:pt>
          <cx:pt idx="6827">-1.8870031979999999</cx:pt>
          <cx:pt idx="6828">-1.887132601</cx:pt>
          <cx:pt idx="6829">-1.887263707</cx:pt>
          <cx:pt idx="6830">-1.887307649</cx:pt>
          <cx:pt idx="6831">-1.887350893</cx:pt>
          <cx:pt idx="6832">-1.8873525950000001</cx:pt>
          <cx:pt idx="6833">-1.8874394320000001</cx:pt>
          <cx:pt idx="6834">-1.887485055</cx:pt>
          <cx:pt idx="6835">-1.8875279709999999</cx:pt>
          <cx:pt idx="6836">-1.8875691619999999</cx:pt>
          <cx:pt idx="6837">-1.887657701</cx:pt>
          <cx:pt idx="6838">-1.8876580510000001</cx:pt>
          <cx:pt idx="6839">-1.8877033459999999</cx:pt>
          <cx:pt idx="6840">-1.8877465899999999</cx:pt>
          <cx:pt idx="6841">-1.8877891570000001</cx:pt>
          <cx:pt idx="6842">-1.887832749</cx:pt>
          <cx:pt idx="6843">-1.8879250430000001</cx:pt>
          <cx:pt idx="6844">-1.8879655580000001</cx:pt>
          <cx:pt idx="6845">-1.888007448</cx:pt>
          <cx:pt idx="6846">-1.8880946119999999</cx:pt>
          <cx:pt idx="6847">-1.888313253</cx:pt>
          <cx:pt idx="6848">-1.8885791970000001</cx:pt>
          <cx:pt idx="6849">-1.8886623010000001</cx:pt>
          <cx:pt idx="6850">-1.8888380039999999</cx:pt>
          <cx:pt idx="6851">-1.8888812690000001</cx:pt>
          <cx:pt idx="6852">-1.8890130519999999</cx:pt>
          <cx:pt idx="6853">-1.8894039899999999</cx:pt>
          <cx:pt idx="6854">-1.8894475829999999</cx:pt>
          <cx:pt idx="6855">-1.8894918519999999</cx:pt>
          <cx:pt idx="6856">-1.8895354230000001</cx:pt>
          <cx:pt idx="6857">-1.8901048149999999</cx:pt>
          <cx:pt idx="6858">-1.890408917</cx:pt>
          <cx:pt idx="6859">-1.890409244</cx:pt>
          <cx:pt idx="6860">-1.8904518109999999</cx:pt>
          <cx:pt idx="6861">-1.8904960799999999</cx:pt>
          <cx:pt idx="6862">-1.8905389960000001</cx:pt>
          <cx:pt idx="6863">-1.8906704519999999</cx:pt>
          <cx:pt idx="6864">-1.8908022339999999</cx:pt>
          <cx:pt idx="6865">-1.890845128</cx:pt>
          <cx:pt idx="6866">-1.8908893980000001</cx:pt>
          <cx:pt idx="6867">-1.8909326630000001</cx:pt>
          <cx:pt idx="6868">-1.8909779369999999</cx:pt>
          <cx:pt idx="6869">-1.8910208529999999</cx:pt>
          <cx:pt idx="6870">-1.8910640970000001</cx:pt>
          <cx:pt idx="6871">-1.8911070130000001</cx:pt>
          <cx:pt idx="6872">-1.891194526</cx:pt>
          <cx:pt idx="6873">-1.8912381190000001</cx:pt>
          <cx:pt idx="6874">-1.891281711</cx:pt>
          <cx:pt idx="6875">-1.891325981</cx:pt>
          <cx:pt idx="6876">-1.8913695740000001</cx:pt>
          <cx:pt idx="6877">-1.891457414</cx:pt>
          <cx:pt idx="6878">-1.89150068</cx:pt>
          <cx:pt idx="6879">-1.8915435739999999</cx:pt>
          <cx:pt idx="6880">-1.8917189489999999</cx:pt>
          <cx:pt idx="6881">-1.8917618650000001</cx:pt>
          <cx:pt idx="6882">-1.891847676</cx:pt>
          <cx:pt idx="6883">-1.8920240770000001</cx:pt>
          <cx:pt idx="6884">-1.892548501</cx:pt>
          <cx:pt idx="6885">-1.892635686</cx:pt>
          <cx:pt idx="6886">-1.8927654169999999</cx:pt>
          <cx:pt idx="6887">-1.8928083330000001</cx:pt>
          <cx:pt idx="6888">-1.8928096860000001</cx:pt>
          <cx:pt idx="6889">-1.8928536279999999</cx:pt>
          <cx:pt idx="6890">-1.8928539559999999</cx:pt>
          <cx:pt idx="6891">-1.8928972209999999</cx:pt>
          <cx:pt idx="6892">-1.8929843850000001</cx:pt>
          <cx:pt idx="6893">-1.8937264229999999</cx:pt>
          <cx:pt idx="6894">-1.893814286</cx:pt>
          <cx:pt idx="6895">-1.8939443659999999</cx:pt>
          <cx:pt idx="6896">-1.894076825</cx:pt>
          <cx:pt idx="6897">-1.8941200899999999</cx:pt>
          <cx:pt idx="6898">-1.8943383600000001</cx:pt>
          <cx:pt idx="6899">-1.8944732200000001</cx:pt>
          <cx:pt idx="6900">-1.8945123820000001</cx:pt>
          <cx:pt idx="6901">-1.894949969</cx:pt>
          <cx:pt idx="6902">-1.8950800489999999</cx:pt>
          <cx:pt idx="6903">-1.8952115039999999</cx:pt>
          <cx:pt idx="6904">-1.8952983400000001</cx:pt>
          <cx:pt idx="6905">-1.8953855260000001</cx:pt>
          <cx:pt idx="6906">-1.895428093</cx:pt>
          <cx:pt idx="6907">-1.8954290970000001</cx:pt>
          <cx:pt idx="6908">-1.8955602030000001</cx:pt>
          <cx:pt idx="6909">-1.8956477380000001</cx:pt>
          <cx:pt idx="6910">-1.895822764</cx:pt>
          <cx:pt idx="6911">-1.8961265169999999</cx:pt>
          <cx:pt idx="6912">-1.896127892</cx:pt>
          <cx:pt idx="6913">-1.896172161</cx:pt>
          <cx:pt idx="6914">-1.8963008880000001</cx:pt>
          <cx:pt idx="6915">-1.8963461610000001</cx:pt>
          <cx:pt idx="6916">-1.896475565</cx:pt>
          <cx:pt idx="6917">-1.8964769400000001</cx:pt>
          <cx:pt idx="6918">-1.8965208600000001</cx:pt>
          <cx:pt idx="6919">-1.8965212090000001</cx:pt>
          <cx:pt idx="6920">-1.896563776</cx:pt>
          <cx:pt idx="6921">-1.8965644530000001</cx:pt>
          <cx:pt idx="6922">-1.896957094</cx:pt>
          <cx:pt idx="6923">-1.897001014</cx:pt>
          <cx:pt idx="6924">-1.8976562159999999</cx:pt>
          <cx:pt idx="6925">-1.897874158</cx:pt>
          <cx:pt idx="6926">-1.8982232059999999</cx:pt>
          <cx:pt idx="6927">-1.8983979049999999</cx:pt>
          <cx:pt idx="6928">-1.8984854179999999</cx:pt>
          <cx:pt idx="6929">-1.8985290109999999</cx:pt>
          <cx:pt idx="6930">-1.8985726039999999</cx:pt>
          <cx:pt idx="6931">-1.8987037099999999</cx:pt>
          <cx:pt idx="6932">-1.8988344660000001</cx:pt>
        </cx:lvl>
      </cx:numDim>
    </cx:data>
    <cx:data id="4">
      <cx:numDim type="val">
        <cx:f>'Box Plots'!$E$151:$E$7083</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1.807418</cx:pt>
          <cx:pt idx="421">-1.8081017260000001</cx:pt>
          <cx:pt idx="422">-1.808143686</cx:pt>
          <cx:pt idx="423">-1.8083073199999999</cx:pt>
          <cx:pt idx="424">-1.8085126060000001</cx:pt>
          <cx:pt idx="425">-1.8090051490000001</cx:pt>
          <cx:pt idx="426">-1.80908712</cx:pt>
          <cx:pt idx="427">-1.809620987</cx:pt>
          <cx:pt idx="428">-1.8100321749999999</cx:pt>
          <cx:pt idx="429">-1.8103604280000001</cx:pt>
          <cx:pt idx="430">-1.8104420910000001</cx:pt>
          <cx:pt idx="431">-1.8118790520000001</cx:pt>
          <cx:pt idx="432">-1.8122486289999999</cx:pt>
          <cx:pt idx="433">-1.8124129200000001</cx:pt>
          <cx:pt idx="434">-1.8126591809999999</cx:pt>
          <cx:pt idx="435">-1.812741808</cx:pt>
          <cx:pt idx="436">-1.812946438</cx:pt>
          <cx:pt idx="437">-1.8133986419999999</cx:pt>
          <cx:pt idx="438">-1.8136036</cx:pt>
          <cx:pt idx="439">-1.814096143</cx:pt>
          <cx:pt idx="440">-1.814342404</cx:pt>
          <cx:pt idx="441">-1.8144663350000001</cx:pt>
          <cx:pt idx="442">-1.8147536129999999</cx:pt>
          <cx:pt idx="443">-1.8147942800000001</cx:pt>
          <cx:pt idx="444">-1.8148769069999999</cx:pt>
          <cx:pt idx="445">-1.816025955</cx:pt>
          <cx:pt idx="446">-1.8161079259999999</cx:pt>
          <cx:pt idx="447">-1.816189917</cx:pt>
          <cx:pt idx="448">-1.816395204</cx:pt>
          <cx:pt idx="449">-1.8165594940000001</cx:pt>
          <cx:pt idx="450">-1.8166004689999999</cx:pt>
          <cx:pt idx="451">-1.8166417930000001</cx:pt>
          <cx:pt idx="452">-1.8170933410000001</cx:pt>
          <cx:pt idx="453">-1.817216307</cx:pt>
          <cx:pt idx="454">-1.81795544</cx:pt>
          <cx:pt idx="455">-1.8181607259999999</cx:pt>
          <cx:pt idx="456">-1.8186122730000001</cx:pt>
          <cx:pt idx="457">-1.8186532689999999</cx:pt>
          <cx:pt idx="458">-1.8203368209999999</cx:pt>
          <cx:pt idx="459">-1.8203778159999999</cx:pt>
          <cx:pt idx="460">-1.820418791</cx:pt>
          <cx:pt idx="461">-1.8207480089999999</cx:pt>
          <cx:pt idx="462">-1.820829364</cx:pt>
          <cx:pt idx="463">-1.8212405519999999</cx:pt>
          <cx:pt idx="464">-1.8212809109999999</cx:pt>
          <cx:pt idx="465">-1.821527501</cx:pt>
          <cx:pt idx="466">-1.8218147579999999</cx:pt>
          <cx:pt idx="467">-1.822061039</cx:pt>
          <cx:pt idx="468">-1.82222533</cx:pt>
          <cx:pt idx="469">-1.8223073009999999</cx:pt>
          <cx:pt idx="470">-1.8223902569999999</cx:pt>
          <cx:pt idx="471">-1.823292715</cx:pt>
          <cx:pt idx="472">-1.823334019</cx:pt>
          <cx:pt idx="473">-1.823867557</cx:pt>
          <cx:pt idx="474">-1.8239908520000001</cx:pt>
          <cx:pt idx="475">-1.8258390019999999</cx:pt>
          <cx:pt idx="476">-1.826002656</cx:pt>
          <cx:pt idx="477">-1.826166618</cx:pt>
          <cx:pt idx="478">-1.8262088869999999</cx:pt>
          <cx:pt idx="479">-1.827439598</cx:pt>
          <cx:pt idx="480">-1.8278088459999999</cx:pt>
          <cx:pt idx="481">-1.8285070029999999</cx:pt>
          <cx:pt idx="482">-1.8289594950000001</cx:pt>
          <cx:pt idx="483">-1.829041178</cx:pt>
          <cx:pt idx="484">-1.8291644730000001</cx:pt>
          <cx:pt idx="485">-1.829370704</cx:pt>
          <cx:pt idx="486">-1.829575025</cx:pt>
          <cx:pt idx="487">-1.8297386790000001</cx:pt>
          <cx:pt idx="488">-1.8297812550000001</cx:pt>
          <cx:pt idx="489">-1.8298626099999999</cx:pt>
          <cx:pt idx="490">-1.8299029490000001</cx:pt>
          <cx:pt idx="491">-1.8305194440000001</cx:pt>
          <cx:pt idx="492">-1.8306840419999999</cx:pt>
          <cx:pt idx="493">-1.8308886710000001</cx:pt>
          <cx:pt idx="494">-1.8340508170000001</cx:pt>
          <cx:pt idx="495">-1.8355694419999999</cx:pt>
          <cx:pt idx="496">-1.835650776</cx:pt>
          <cx:pt idx="497">-1.8356930440000001</cx:pt>
          <cx:pt idx="498">-1.835733404</cx:pt>
          <cx:pt idx="499">-1.8362262549999999</cx:pt>
          <cx:pt idx="500">-1.8363076089999999</cx:pt>
          <cx:pt idx="501">-1.8365128749999999</cx:pt>
          <cx:pt idx="502">-1.837253609</cx:pt>
          <cx:pt idx="503">-1.837539593</cx:pt>
          <cx:pt idx="504">-1.837909478</cx:pt>
          <cx:pt idx="505">-1.838443345</cx:pt>
          <cx:pt idx="506">-1.83868897</cx:pt>
          <cx:pt idx="507">-1.838731238</cx:pt>
          <cx:pt idx="508">-1.8388948919999999</cx:pt>
          <cx:pt idx="509">-1.839018187</cx:pt>
          <cx:pt idx="510">-1.8396743840000001</cx:pt>
          <cx:pt idx="511">-1.8397973510000001</cx:pt>
          <cx:pt idx="512">-1.8400859009999999</cx:pt>
          <cx:pt idx="513">-1.8402902219999999</cx:pt>
          <cx:pt idx="514">-1.84123462</cx:pt>
          <cx:pt idx="515">-1.8435746770000001</cx:pt>
          <cx:pt idx="516">-1.843657305</cx:pt>
          <cx:pt idx="517">-1.843697972</cx:pt>
          <cx:pt idx="518">-1.843904859</cx:pt>
          <cx:pt idx="519">-1.8440685130000001</cx:pt>
          <cx:pt idx="520">-1.8441921160000001</cx:pt>
          <cx:pt idx="521">-1.8450132400000001</cx:pt>
          <cx:pt idx="522">-1.845177531</cx:pt>
          <cx:pt idx="523">-1.845300825</cx:pt>
          <cx:pt idx="524">-1.845464459</cx:pt>
          <cx:pt idx="525">-1.8455454849999999</cx:pt>
          <cx:pt idx="526">-1.845588411</cx:pt>
          <cx:pt idx="527">-1.845915698</cx:pt>
          <cx:pt idx="528">-1.8459986340000001</cx:pt>
          <cx:pt idx="529">-1.846614472</cx:pt>
          <cx:pt idx="530">-1.8468200859999999</cx:pt>
          <cx:pt idx="531">-1.8474762629999999</cx:pt>
          <cx:pt idx="532">-1.8478871429999999</cx:pt>
          <cx:pt idx="533">-1.849652686</cx:pt>
          <cx:pt idx="534">-1.849939615</cx:pt>
          <cx:pt idx="535">-1.85190915</cx:pt>
          <cx:pt idx="536">-1.852196736</cx:pt>
          <cx:pt idx="537">-1.852319702</cx:pt>
          <cx:pt idx="538">-1.852730274</cx:pt>
          <cx:pt idx="539">-1.8529771719999999</cx:pt>
          <cx:pt idx="540">-1.8530178390000001</cx:pt>
          <cx:pt idx="541">-1.855316921</cx:pt>
          <cx:pt idx="542">-1.8573293609999999</cx:pt>
          <cx:pt idx="543">-1.857615982</cx:pt>
          <cx:pt idx="544">-1.8580265330000001</cx:pt>
          <cx:pt idx="545">-1.858765666</cx:pt>
          <cx:pt idx="546">-1.8589725530000001</cx:pt>
          <cx:pt idx="547">-1.859012584</cx:pt>
          <cx:pt idx="548">-1.8590529229999999</cx:pt>
          <cx:pt idx="549">-1.8590955199999999</cx:pt>
          <cx:pt idx="550">-1.8592594819999999</cx:pt>
          <cx:pt idx="551">-1.85958679</cx:pt>
          <cx:pt idx="552">-1.860163233</cx:pt>
          <cx:pt idx="553">-1.8602032639999999</cx:pt>
          <cx:pt idx="554">-1.860490521</cx:pt>
          <cx:pt idx="555">-1.8610246960000001</cx:pt>
          <cx:pt idx="556">-1.861065363</cx:pt>
          <cx:pt idx="557">-1.8611479909999999</cx:pt>
          <cx:pt idx="558">-1.8615985740000001</cx:pt>
          <cx:pt idx="559">-1.861682166</cx:pt>
          <cx:pt idx="560">-1.861763192</cx:pt>
          <cx:pt idx="561">-1.8619268470000001</cx:pt>
          <cx:pt idx="562">-1.8622160130000001</cx:pt>
          <cx:pt idx="563">-1.862297675</cx:pt>
          <cx:pt idx="564">-1.862790875</cx:pt>
          <cx:pt idx="565">-1.862832179</cx:pt>
          <cx:pt idx="566">-1.863570983</cx:pt>
          <cx:pt idx="567">-1.8637346370000001</cx:pt>
          <cx:pt idx="568">-1.8637749969999999</cx:pt>
          <cx:pt idx="569">-1.867019113</cx:pt>
          <cx:pt idx="570">-1.867430301</cx:pt>
          <cx:pt idx="571">-1.8674706599999999</cx:pt>
          <cx:pt idx="572">-1.86820852</cx:pt>
          <cx:pt idx="573">-1.868251425</cx:pt>
          <cx:pt idx="574">-1.868415079</cx:pt>
          <cx:pt idx="575">-1.8687430030000001</cx:pt>
          <cx:pt idx="576">-1.868825631</cx:pt>
          <cx:pt idx="577">-1.8691125799999999</cx:pt>
          <cx:pt idx="578">-1.870385231</cx:pt>
          <cx:pt idx="579">-1.8708380710000001</cx:pt>
          <cx:pt idx="580">-1.870879067</cx:pt>
          <cx:pt idx="581">-1.871821556</cx:pt>
          <cx:pt idx="582">-1.8719864829999999</cx:pt>
          <cx:pt idx="583">-1.872150773</cx:pt>
          <cx:pt idx="584">-1.8721930419999999</cx:pt>
          <cx:pt idx="585">-1.872643624</cx:pt>
          <cx:pt idx="586">-1.8726855849999999</cx:pt>
          <cx:pt idx="587">-1.8728902140000001</cx:pt>
          <cx:pt idx="588">-1.8729305730000001</cx:pt>
          <cx:pt idx="589">-1.873013837</cx:pt>
          <cx:pt idx="590">-1.873137461</cx:pt>
          <cx:pt idx="591">-1.873301423</cx:pt>
          <cx:pt idx="592">-1.874080258</cx:pt>
          <cx:pt idx="593">-1.8749833730000001</cx:pt>
          <cx:pt idx="594">-1.875066637</cx:pt>
          <cx:pt idx="595">-1.8770367889999999</cx:pt>
          <cx:pt idx="596">-1.8778998730000001</cx:pt>
          <cx:pt idx="597">-1.878022203</cx:pt>
          <cx:pt idx="598">-1.8792128829999999</cx:pt>
          <cx:pt idx="599">-1.8804861909999999</cx:pt>
          <cx:pt idx="600">-1.880568182</cx:pt>
          <cx:pt idx="601">-1.8806488800000001</cx:pt>
          <cx:pt idx="602">-1.8811013919999999</cx:pt>
          <cx:pt idx="603">-1.881142388</cx:pt>
          <cx:pt idx="604">-1.8813076230000001</cx:pt>
          <cx:pt idx="605">-1.881716902</cx:pt>
          <cx:pt idx="606">-1.881757261</cx:pt>
          <cx:pt idx="607">-1.882497995</cx:pt>
          <cx:pt idx="608">-1.8827436200000001</cx:pt>
          <cx:pt idx="609">-1.8827852519999999</cx:pt>
          <cx:pt idx="610">-1.88348341</cx:pt>
          <cx:pt idx="611">-1.8877116469999999</cx:pt>
          <cx:pt idx="612">-1.8889833540000001</cx:pt>
          <cx:pt idx="613">-1.8890259300000001</cx:pt>
          <cx:pt idx="614">-1.8913240469999999</cx:pt>
          <cx:pt idx="615">-1.891365679</cx:pt>
          <cx:pt idx="616">-1.8927209570000001</cx:pt>
          <cx:pt idx="617">-1.89284651</cx:pt>
          <cx:pt idx="618">-1.892885248</cx:pt>
          <cx:pt idx="619">-1.8929662739999999</cx:pt>
          <cx:pt idx="620">-1.893089569</cx:pt>
          <cx:pt idx="621">-1.893255132</cx:pt>
          <cx:pt idx="622">-1.8954718939999999</cx:pt>
          <cx:pt idx="623">-1.8955529200000001</cx:pt>
          <cx:pt idx="624">-1.895595189</cx:pt>
          <cx:pt idx="625">-1.895881809</cx:pt>
          <cx:pt idx="626">-1.8962923810000001</cx:pt>
          <cx:pt idx="627">-1.8963333769999999</cx:pt>
          <cx:pt idx="628">-1.896416313</cx:pt>
          <cx:pt idx="629">-1.896497976</cx:pt>
          <cx:pt idx="630">-1.896538335</cx:pt>
          <cx:pt idx="631">-1.89662127</cx:pt>
          <cx:pt idx="632">-1.8967035699999999</cx:pt>
          <cx:pt idx="633">-1.897401399</cx:pt>
          <cx:pt idx="634">-1.897485936</cx:pt>
          <cx:pt idx="635">-1.8976479879999999</cx:pt>
          <cx:pt idx="636">-1.897852946</cx:pt>
          <cx:pt idx="637">-1.897935245</cx:pt>
          <cx:pt idx="638">-1.898016272</cx:pt>
          <cx:pt idx="639">-1.89830706</cx:pt>
          <cx:pt idx="640">-1.8985510830000001</cx:pt>
          <cx:pt idx="641">-1.898840906</cx:pt>
          <cx:pt idx="642">-1.8991246530000001</cx:pt>
          <cx:pt idx="643">-1.899207917</cx:pt>
          <cx:pt idx="644">-1.899247948</cx:pt>
          <cx:pt idx="645">-1.8992905440000001</cx:pt>
          <cx:pt idx="646">-1.901136457</cx:pt>
          <cx:pt idx="647">-1.9016306009999999</cx:pt>
          <cx:pt idx="648">-1.9017128999999999</cx:pt>
          <cx:pt idx="649">-1.9020020870000001</cx:pt>
          <cx:pt idx="650">-1.9024107290000001</cx:pt>
          <cx:pt idx="651">-1.9060634679999999</cx:pt>
          <cx:pt idx="652">-1.90663833</cx:pt>
          <cx:pt idx="653">-1.9066825080000001</cx:pt>
          <cx:pt idx="654">-1.9071318180000001</cx:pt>
          <cx:pt idx="655">-1.907295143</cx:pt>
          <cx:pt idx="656">-1.907377463</cx:pt>
          <cx:pt idx="657">-1.9102523309999999</cx:pt>
          <cx:pt idx="658">-1.91095014</cx:pt>
          <cx:pt idx="659">-1.9114016869999999</cx:pt>
          <cx:pt idx="660">-1.9114417180000001</cx:pt>
          <cx:pt idx="661">-1.912016581</cx:pt>
          <cx:pt idx="662">-1.912099845</cx:pt>
          <cx:pt idx="663">-1.912758916</cx:pt>
          <cx:pt idx="664">-1.913046501</cx:pt>
          <cx:pt idx="665">-1.913208534</cx:pt>
          <cx:pt idx="666">-1.9135771450000001</cx:pt>
          <cx:pt idx="667">-1.913824371</cx:pt>
          <cx:pt idx="668">-1.913990592</cx:pt>
          <cx:pt idx="669">-1.9140696880000001</cx:pt>
          <cx:pt idx="670">-1.9150137789999999</cx:pt>
          <cx:pt idx="671">-1.915260368</cx:pt>
          <cx:pt idx="672">-1.9154275329999999</cx:pt>
          <cx:pt idx="673">-1.9176004250000001</cx:pt>
          <cx:pt idx="674">-1.917642386</cx:pt>
          <cx:pt idx="675">-1.9176833609999999</cx:pt>
          <cx:pt idx="676">-1.918093933</cx:pt>
          <cx:pt idx="677">-1.9181765609999999</cx:pt>
          <cx:pt idx="678">-1.918301765</cx:pt>
          <cx:pt idx="679">-1.9184628530000001</cx:pt>
          <cx:pt idx="680">-1.919245855</cx:pt>
          <cx:pt idx="681">-1.9194902069999999</cx:pt>
          <cx:pt idx="682">-1.91957187</cx:pt>
          <cx:pt idx="683">-1.9196564270000001</cx:pt>
          <cx:pt idx="684">-1.91973616</cx:pt>
          <cx:pt idx="685">-1.9201057370000001</cx:pt>
          <cx:pt idx="686">-1.920641821</cx:pt>
          <cx:pt idx="687">-1.9211314900000001</cx:pt>
          <cx:pt idx="688">-1.9212954520000001</cx:pt>
          <cx:pt idx="689">-1.921380954</cx:pt>
          <cx:pt idx="690">-1.9219967920000001</cx:pt>
          <cx:pt idx="691">-1.9220762170000001</cx:pt>
          <cx:pt idx="692">-1.9222398709999999</cx:pt>
          <cx:pt idx="693">-1.9222840489999999</cx:pt>
          <cx:pt idx="694">-1.9224464299999999</cx:pt>
          <cx:pt idx="695">-1.922486769</cx:pt>
          <cx:pt idx="696">-1.922527128</cx:pt>
          <cx:pt idx="697">-1.9226126299999999</cx:pt>
          <cx:pt idx="698">-1.922773718</cx:pt>
          <cx:pt idx="699">-1.9228589110000001</cx:pt>
          <cx:pt idx="700">-1.922897649</cx:pt>
          <cx:pt idx="701">-1.922938008</cx:pt>
          <cx:pt idx="702">-1.9230209439999999</cx:pt>
          <cx:pt idx="703">-1.923228468</cx:pt>
          <cx:pt idx="704">-1.9233895560000001</cx:pt>
          <cx:pt idx="705">-1.9235538459999999</cx:pt>
          <cx:pt idx="706">-1.923594842</cx:pt>
          <cx:pt idx="707">-1.923842396</cx:pt>
          <cx:pt idx="708">-1.9239676000000001</cx:pt>
          <cx:pt idx="709">-1.9240053930000001</cx:pt>
          <cx:pt idx="710">-1.9245398970000001</cx:pt>
          <cx:pt idx="711">-1.924867493</cx:pt>
          <cx:pt idx="712">-1.924950449</cx:pt>
          <cx:pt idx="713">-1.9251970380000001</cx:pt>
          <cx:pt idx="714">-1.9253610000000001</cx:pt>
          <cx:pt idx="715">-1.9256918190000001</cx:pt>
          <cx:pt idx="716">-1.926715663</cx:pt>
          <cx:pt idx="717">-1.9269622529999999</cx:pt>
          <cx:pt idx="718">-1.9271262149999999</cx:pt>
          <cx:pt idx="719">-1.9285221809999999</cx:pt>
          <cx:pt idx="720">-1.9285625200000001</cx:pt>
          <cx:pt idx="721">-1.9286067179999999</cx:pt>
          <cx:pt idx="722">-1.9291793230000001</cx:pt>
          <cx:pt idx="723">-1.929219682</cx:pt>
          <cx:pt idx="724">-1.9292638799999999</cx:pt>
          <cx:pt idx="725">-1.9296744320000001</cx:pt>
          <cx:pt idx="726">-1.929753528</cx:pt>
          <cx:pt idx="727">-1.930002684</cx:pt>
          <cx:pt idx="728">-1.9309448650000001</cx:pt>
          <cx:pt idx="729">-1.931191127</cx:pt>
          <cx:pt idx="730">-1.931357655</cx:pt>
          <cx:pt idx="731">-1.9314809500000001</cx:pt>
          <cx:pt idx="732">-1.9315197079999999</cx:pt>
          <cx:pt idx="733">-1.9316430019999999</cx:pt>
          <cx:pt idx="734">-1.931806964</cx:pt>
          <cx:pt idx="735">-1.9318889560000001</cx:pt>
          <cx:pt idx="736">-1.9319734930000001</cx:pt>
          <cx:pt idx="737">-1.932052589</cx:pt>
          <cx:pt idx="738">-1.9332871599999999</cx:pt>
          <cx:pt idx="739">-1.9338594360000001</cx:pt>
          <cx:pt idx="740">-1.933900103</cx:pt>
          <cx:pt idx="741">-1.9339443009999999</cx:pt>
          <cx:pt idx="742">-1.934147021</cx:pt>
          <cx:pt idx="743">-1.9343548530000001</cx:pt>
          <cx:pt idx="744">-1.934968145</cx:pt>
          <cx:pt idx="745">-1.935050752</cx:pt>
          <cx:pt idx="746">-1.9351759770000001</cx:pt>
          <cx:pt idx="747">-1.935298943</cx:pt>
          <cx:pt idx="748">-1.9353780599999999</cx:pt>
          <cx:pt idx="749">-1.935706621</cx:pt>
          <cx:pt idx="750">-1.9357482530000001</cx:pt>
          <cx:pt idx="751">-1.935791815</cx:pt>
          <cx:pt idx="752">-1.937228776</cx:pt>
          <cx:pt idx="753">-1.937390809</cx:pt>
          <cx:pt idx="754">-1.9374750380000001</cx:pt>
          <cx:pt idx="755">-1.9378013810000001</cx:pt>
          <cx:pt idx="756">-1.938008905</cx:pt>
          <cx:pt idx="757">-1.9380498799999999</cx:pt>
          <cx:pt idx="758">-1.938131871</cx:pt>
          <cx:pt idx="759">-1.9382116039999999</cx:pt>
          <cx:pt idx="760">-1.9382961620000001</cx:pt>
          <cx:pt idx="761">-1.938334899</cx:pt>
          <cx:pt idx="762">-1.938375258</cx:pt>
          <cx:pt idx="763">-1.9400174859999999</cx:pt>
          <cx:pt idx="764">-1.9401026800000001</cx:pt>
          <cx:pt idx="765">-1.9403489410000001</cx:pt>
          <cx:pt idx="766">-1.940388027</cx:pt>
          <cx:pt idx="767">-1.9406775220000001</cx:pt>
          <cx:pt idx="768">-1.9414134519999999</cx:pt>
          <cx:pt idx="769">-1.94145765</cx:pt>
          <cx:pt idx="770">-1.942358179</cx:pt>
          <cx:pt idx="771">-1.9435514250000001</cx:pt>
          <cx:pt idx="772">-1.9436334159999999</cx:pt>
          <cx:pt idx="773">-1.944246688</cx:pt>
          <cx:pt idx="774">-1.9446188310000001</cx:pt>
          <cx:pt idx="775">-1.9447398680000001</cx:pt>
          <cx:pt idx="776">-1.944781192</cx:pt>
          <cx:pt idx="777">-1.9448650919999999</cx:pt>
          <cx:pt idx="778">-1.9462200629999999</cx:pt>
          <cx:pt idx="779">-1.9470001910000001</cx:pt>
          <cx:pt idx="780">-1.947161916</cx:pt>
          <cx:pt idx="781">-1.9472848819999999</cx:pt>
          <cx:pt idx="782">-1.9475750329999999</cx:pt>
          <cx:pt idx="783">-1.947655095</cx:pt>
          <cx:pt idx="784">-1.947819057</cx:pt>
          <cx:pt idx="785">-1.9485165579999999</cx:pt>
          <cx:pt idx="786">-1.9488067090000001</cx:pt>
          <cx:pt idx="787">-1.949504538</cx:pt>
          <cx:pt idx="788">-1.9498330989999999</cx:pt>
          <cx:pt idx="789">-1.949871857</cx:pt>
          <cx:pt idx="790">-1.9502824080000001</cx:pt>
          <cx:pt idx="791">-1.9503256419999999</cx:pt>
          <cx:pt idx="792">-1.9503666369999999</cx:pt>
          <cx:pt idx="793">-1.9506926520000001</cx:pt>
          <cx:pt idx="794">-1.9510237989999999</cx:pt>
          <cx:pt idx="795">-1.951803599</cx:pt>
          <cx:pt idx="796">-1.9526224649999999</cx:pt>
          <cx:pt idx="797">-1.9528690550000001</cx:pt>
          <cx:pt idx="798">-1.953076579</cx:pt>
          <cx:pt idx="799">-1.9531563320000001</cx:pt>
          <cx:pt idx="800">-1.9532818649999999</cx:pt>
          <cx:pt idx="801">-1.9536488750000001</cx:pt>
          <cx:pt idx="802">-1.953938698</cx:pt>
          <cx:pt idx="803">-1.9542259550000001</cx:pt>
          <cx:pt idx="804">-1.9543492499999999</cx:pt>
          <cx:pt idx="805">-1.95451354</cx:pt>
          <cx:pt idx="806">-1.95455197</cx:pt>
          <cx:pt idx="807">-1.9551293780000001</cx:pt>
          <cx:pt idx="808">-1.9559069410000001</cx:pt>
          <cx:pt idx="809">-1.955991477</cx:pt>
          <cx:pt idx="810">-1.956361054</cx:pt>
          <cx:pt idx="811">-1.9564020499999999</cx:pt>
          <cx:pt idx="812">-1.9565640820000001</cx:pt>
          <cx:pt idx="813">-1.956810672</cx:pt>
          <cx:pt idx="814">-1.9570153210000001</cx:pt>
          <cx:pt idx="815">-1.957631796</cx:pt>
          <cx:pt idx="816">-1.957672791</cx:pt>
          <cx:pt idx="817">-1.9587401769999999</cx:pt>
          <cx:pt idx="818">-1.9603023420000001</cx:pt>
          <cx:pt idx="819">-1.9607516519999999</cx:pt>
          <cx:pt idx="820">-1.9609595040000001</cx:pt>
          <cx:pt idx="821">-1.9610824710000001</cx:pt>
          <cx:pt idx="822">-1.9615753419999999</cx:pt>
          <cx:pt idx="823">-1.961613772</cx:pt>
          <cx:pt idx="824">-1.9619016650000001</cx:pt>
          <cx:pt idx="825">-1.962065956</cx:pt>
          <cx:pt idx="826">-1.9621498559999999</cx:pt>
          <cx:pt idx="827">-1.96219118</cx:pt>
          <cx:pt idx="828">-1.9622296100000001</cx:pt>
          <cx:pt idx="829">-1.9623141470000001</cx:pt>
          <cx:pt idx="830">-1.9624374410000001</cx:pt>
          <cx:pt idx="831">-1.962847993</cx:pt>
          <cx:pt idx="832">-1.9637075470000001</cx:pt>
          <cx:pt idx="833">-1.964325951</cx:pt>
          <cx:pt idx="834">-1.964818822</cx:pt>
          <cx:pt idx="835">-1.965147075</cx:pt>
          <cx:pt idx="836">-1.9651858120000001</cx:pt>
          <cx:pt idx="837">-1.965968178</cx:pt>
          <cx:pt idx="838">-1.966007244</cx:pt>
          <cx:pt idx="839">-1.9660914730000001</cx:pt>
          <cx:pt idx="840">-1.9679799819999999</cx:pt>
          <cx:pt idx="841">-1.96859582</cx:pt>
          <cx:pt idx="842">-1.968634886</cx:pt>
          <cx:pt idx="843">-1.968678119</cx:pt>
          <cx:pt idx="844">-1.9688830770000001</cx:pt>
          <cx:pt idx="845">-1.9690473669999999</cx:pt>
          <cx:pt idx="846">-1.9690886919999999</cx:pt>
          <cx:pt idx="847">-1.9697045289999999</cx:pt>
          <cx:pt idx="848">-1.970484329</cx:pt>
          <cx:pt idx="849">-1.970689615</cx:pt>
          <cx:pt idx="850">-1.9711414709999999</cx:pt>
          <cx:pt idx="851">-1.972044586</cx:pt>
          <cx:pt idx="852">-1.972329913</cx:pt>
          <cx:pt idx="853">-1.9724141420000001</cx:pt>
          <cx:pt idx="854">-1.9733172370000001</cx:pt>
          <cx:pt idx="855">-1.9734405319999999</cx:pt>
          <cx:pt idx="856">-1.9735205929999999</cx:pt>
          <cx:pt idx="857">-1.974382713</cx:pt>
          <cx:pt idx="858">-1.975614389</cx:pt>
          <cx:pt idx="859">-1.9756576219999999</cx:pt>
          <cx:pt idx="860">-1.975737684</cx:pt>
          <cx:pt idx="861">-1.975821912</cx:pt>
          <cx:pt idx="862">-1.9760271780000001</cx:pt>
          <cx:pt idx="863">-1.9761091690000001</cx:pt>
          <cx:pt idx="864">-1.976150165</cx:pt>
          <cx:pt idx="865">-1.9772178789999999</cx:pt>
          <cx:pt idx="866">-1.9777494879999999</cx:pt>
          <cx:pt idx="867">-1.977792392</cx:pt>
          <cx:pt idx="868">-1.977833717</cx:pt>
          <cx:pt idx="869">-1.979352649</cx:pt>
          <cx:pt idx="870">-1.9795579350000001</cx:pt>
          <cx:pt idx="871">-1.97959891</cx:pt>
          <cx:pt idx="872">-1.980050458</cx:pt>
          <cx:pt idx="873">-1.9800917819999999</cx:pt>
          <cx:pt idx="874">-1.9809948770000001</cx:pt>
          <cx:pt idx="875">-1.981241158</cx:pt>
          <cx:pt idx="876">-1.981282462</cx:pt>
          <cx:pt idx="877">-1.9814877479999999</cx:pt>
          <cx:pt idx="878">-1.9820622619999999</cx:pt>
          <cx:pt idx="879">-1.982185557</cx:pt>
          <cx:pt idx="880">-1.9822243150000001</cx:pt>
          <cx:pt idx="881">-1.982514138</cx:pt>
          <cx:pt idx="882">-1.9827604190000001</cx:pt>
          <cx:pt idx="883">-1.983252942</cx:pt>
          <cx:pt idx="884">-1.9833762370000001</cx:pt>
          <cx:pt idx="885">-1.9834582279999999</cx:pt>
          <cx:pt idx="886">-1.9836635140000001</cx:pt>
          <cx:pt idx="887">-1.983827805</cx:pt>
          <cx:pt idx="888">-1.984402647</cx:pt>
          <cx:pt idx="889">-1.984484618</cx:pt>
          <cx:pt idx="890">-1.984525613</cx:pt>
          <cx:pt idx="891">-1.984731228</cx:pt>
          <cx:pt idx="892">-1.9847722029999999</cx:pt>
          <cx:pt idx="893">-1.98514178</cx:pt>
          <cx:pt idx="894">-1.985182775</cx:pt>
          <cx:pt idx="895">-1.986617479</cx:pt>
          <cx:pt idx="896">-1.988015683</cx:pt>
          <cx:pt idx="897">-1.9882209689999999</cx:pt>
          <cx:pt idx="898">-1.9884262349999999</cx:pt>
          <cx:pt idx="899">-1.9884672299999999</cx:pt>
          <cx:pt idx="900">-1.9886315210000001</cx:pt>
          <cx:pt idx="901">-1.9892063630000001</cx:pt>
          <cx:pt idx="902">-1.989904192</cx:pt>
          <cx:pt idx="903">-1.990150453</cx:pt>
          <cx:pt idx="904">-1.990479034</cx:pt>
          <cx:pt idx="905">-1.9905200300000001</cx:pt>
          <cx:pt idx="906">-1.990561026</cx:pt>
          <cx:pt idx="907">-1.992037053</cx:pt>
          <cx:pt idx="908">-1.9920802870000001</cx:pt>
          <cx:pt idx="909">-1.9921622569999999</cx:pt>
          <cx:pt idx="910">-1.9925728300000001</cx:pt>
          <cx:pt idx="911">-1.992942386</cx:pt>
          <cx:pt idx="912">-1.993065681</cx:pt>
          <cx:pt idx="913">-1.993886805</cx:pt>
          <cx:pt idx="914">-1.9939278</cx:pt>
          <cx:pt idx="915">-1.9939668660000001</cx:pt>
          <cx:pt idx="916">-1.9940507670000001</cx:pt>
          <cx:pt idx="917">-1.9960215750000001</cx:pt>
          <cx:pt idx="918">-1.9967607080000001</cx:pt>
          <cx:pt idx="919">-1.99700699</cx:pt>
          <cx:pt idx="920">-1.997130284</cx:pt>
          <cx:pt idx="921">-1.9975411649999999</cx:pt>
          <cx:pt idx="922">-1.9980743750000001</cx:pt>
          <cx:pt idx="923">-1.998115678</cx:pt>
          <cx:pt idx="924">-1.99827964</cx:pt>
          <cx:pt idx="925">-1.9983206360000001</cx:pt>
          <cx:pt idx="926">-1.998893569</cx:pt>
          <cx:pt idx="927">-1.999018773</cx:pt>
          <cx:pt idx="928">-1.999100764</cx:pt>
          <cx:pt idx="929">-1.999265055</cx:pt>
          <cx:pt idx="930">-1.999429345</cx:pt>
          <cx:pt idx="931">-1.9995523120000001</cx:pt>
          <cx:pt idx="932">-1.9997166019999999</cx:pt>
          <cx:pt idx="933">-2.0000041880000001</cx:pt>
          <cx:pt idx="934">-2.0000451830000001</cx:pt>
          <cx:pt idx="935">-2.0003324400000002</cx:pt>
          <cx:pt idx="936">-2.0007429920000002</cx:pt>
          <cx:pt idx="937">-2.000907282</cx:pt>
          <cx:pt idx="938">-2.0009482780000001</cx:pt>
          <cx:pt idx="939">-2.001399825</cx:pt>
          <cx:pt idx="940">-2.0015231199999999</cx:pt>
          <cx:pt idx="941">-2.001564444</cx:pt>
          <cx:pt idx="942">-2.0018517010000001</cx:pt>
          <cx:pt idx="943">-2.0025495100000001</cx:pt>
          <cx:pt idx="944">-2.0025905060000002</cx:pt>
          <cx:pt idx="945">-2.0026318299999999</cx:pt>
          <cx:pt idx="946">-2.0027957920000001</cx:pt>
          <cx:pt idx="947">-2.002919087</cx:pt>
          <cx:pt idx="948">-2.00341163</cx:pt>
          <cx:pt idx="949">-2.0034939289999998</cx:pt>
          <cx:pt idx="950">-2.0037402110000002</cx:pt>
          <cx:pt idx="951">-2.0038221809999999</cx:pt>
          <cx:pt idx="952">-2.0048898949999998</cx:pt>
          <cx:pt idx="953">-2.0050538570000001</cx:pt>
          <cx:pt idx="954">-2.0051361559999998</cx:pt>
          <cx:pt idx="955">-2.0053004470000002</cx:pt>
          <cx:pt idx="956">-2.0053824379999998</cx:pt>
          <cx:pt idx="957">-2.0059162850000001</cx:pt>
          <cx:pt idx="958">-2.0062858609999998</cx:pt>
          <cx:pt idx="959">-2.0063268569999999</cx:pt>
          <cx:pt idx="960">-2.0073122510000001</cx:pt>
          <cx:pt idx="961">-2.007517537</cx:pt>
          <cx:pt idx="962">-2.0075995080000002</cx:pt>
          <cx:pt idx="963">-2.007763798</cx:pt>
          <cx:pt idx="964">-2.0092417560000002</cx:pt>
          <cx:pt idx="965">-2.0100218839999999</cx:pt>
          <cx:pt idx="966">-2.0104324359999999</cx:pt>
          <cx:pt idx="967">-2.0128137960000001</cx:pt>
          <cx:pt idx="968">-2.014415048</cx:pt>
          <cx:pt idx="969">-2.0148665960000001</cx:pt>
          <cx:pt idx="970">-2.015318143</cx:pt>
          <cx:pt idx="971">-2.0153594469999998</cx:pt>
          <cx:pt idx="972">-2.0158113229999999</cx:pt>
          <cx:pt idx="973">-2.0163445329999998</cx:pt>
          <cx:pt idx="974">-2.0168784</cx:pt>
          <cx:pt idx="975">-2.0169603710000001</cx:pt>
          <cx:pt idx="976">-2.0170423620000002</cx:pt>
          <cx:pt idx="977">-2.0170836649999999</cx:pt>
          <cx:pt idx="978">-2.0173299469999999</cx:pt>
          <cx:pt idx="979">-2.0184799600000001</cx:pt>
          <cx:pt idx="980">-2.018520627</cx:pt>
          <cx:pt idx="981">-2.0186436140000001</cx:pt>
          <cx:pt idx="982">-2.019423722</cx:pt>
          <cx:pt idx="983">-2.0201628550000001</cx:pt>
          <cx:pt idx="984">-2.020778693</cx:pt>
          <cx:pt idx="985">-2.0209429829999999</cx:pt>
          <cx:pt idx="986">-2.023981177</cx:pt>
          <cx:pt idx="987">-2.0244327449999999</cx:pt>
          <cx:pt idx="988">-2.02447372</cx:pt>
          <cx:pt idx="989">-2.024720002</cx:pt>
          <cx:pt idx="990">-2.0257053960000002</cx:pt>
          <cx:pt idx="991">-2.0266498140000002</cx:pt>
          <cx:pt idx="992">-2.0266908099999998</cx:pt>
          <cx:pt idx="993">-2.0268551010000002</cx:pt>
          <cx:pt idx="994">-2.0270193910000001</cx:pt>
          <cx:pt idx="995">-2.0270603660000002</cx:pt>
          <cx:pt idx="996">-2.02788149</cx:pt>
          <cx:pt idx="997">-2.028825581</cx:pt>
          <cx:pt idx="998">-2.0289488750000002</cx:pt>
          <cx:pt idx="999">-2.029401059</cx:pt>
          <cx:pt idx="1000">-2.0296880079999999</cx:pt>
          <cx:pt idx="1001">-2.029729004</cx:pt>
          <cx:pt idx="1002">-2.0300575850000002</cx:pt>
          <cx:pt idx="1003">-2.0316585090000001</cx:pt>
          <cx:pt idx="1004">-2.0318234359999998</cx:pt>
          <cx:pt idx="1005">-2.0318637740000001</cx:pt>
          <cx:pt idx="1006">-2.0338762149999998</cx:pt>
          <cx:pt idx="1007">-2.0342451549999998</cx:pt>
          <cx:pt idx="1008">-2.034327454</cx:pt>
          <cx:pt idx="1009">-2.034819997</cx:pt>
          <cx:pt idx="1010">-2.0356001259999998</cx:pt>
          <cx:pt idx="1011">-2.0358873819999999</cx:pt>
          <cx:pt idx="1012">-2.036011314</cx:pt>
          <cx:pt idx="1013">-2.0362575949999999</cx:pt>
          <cx:pt idx="1014">-2.0365442159999998</cx:pt>
          <cx:pt idx="1015">-2.0367091429999999</cx:pt>
          <cx:pt idx="1016">-2.0371196949999999</cx:pt>
          <cx:pt idx="1017">-2.0371600540000001</cx:pt>
          <cx:pt idx="1018">-2.0372013569999998</cx:pt>
          <cx:pt idx="1019">-2.0381050680000001</cx:pt>
          <cx:pt idx="1020">-2.0381871</cx:pt>
          <cx:pt idx="1021">-2.038269482</cx:pt>
          <cx:pt idx="1022">-2.0383925299999999</cx:pt>
          <cx:pt idx="1023">-2.038721357</cx:pt>
          <cx:pt idx="1024">-2.0389267869999999</cx:pt>
          <cx:pt idx="1025">-2.039173254</cx:pt>
          <cx:pt idx="1026">-2.0392145780000002</cx:pt>
          <cx:pt idx="1027">-2.0404446109999999</cx:pt>
          <cx:pt idx="1028">-2.0405292300000002</cx:pt>
          <cx:pt idx="1029">-2.040732094</cx:pt>
          <cx:pt idx="1030">-2.0413877989999998</cx:pt>
          <cx:pt idx="1031">-2.0427848119999998</cx:pt>
          <cx:pt idx="1032">-2.0434834620000002</cx:pt>
          <cx:pt idx="1033">-2.0435244579999998</cx:pt>
          <cx:pt idx="1034">-2.043729785</cx:pt>
          <cx:pt idx="1035">-2.0447154460000001</cx:pt>
          <cx:pt idx="1036">-2.0454134599999998</cx:pt>
          <cx:pt idx="1037">-2.046111781</cx:pt>
          <cx:pt idx="1038">-2.046193793</cx:pt>
          <cx:pt idx="1039">-2.0467687790000002</cx:pt>
          <cx:pt idx="1040">-2.0472614660000001</cx:pt>
          <cx:pt idx="1041">-2.0475491130000001</cx:pt>
          <cx:pt idx="1042">-2.0477134440000002</cx:pt>
          <cx:pt idx="1043">-2.0478364519999999</cx:pt>
          <cx:pt idx="1044">-2.0480417790000001</cx:pt>
          <cx:pt idx="1045">-2.0481625490000002</cx:pt>
          <cx:pt idx="1046">-2.0484088919999999</cx:pt>
          <cx:pt idx="1047">-2.0489021950000001</cx:pt>
          <cx:pt idx="1048">-2.04947911</cx:pt>
          <cx:pt idx="1049">-2.050215143</cx:pt>
          <cx:pt idx="1050">-2.0502980989999999</cx:pt>
          <cx:pt idx="1051">-2.0503384589999998</cx:pt>
          <cx:pt idx="1052">-2.0504620820000001</cx:pt>
          <cx:pt idx="1053">-2.0507086920000002</cx:pt>
          <cx:pt idx="1054">-2.0509553020000002</cx:pt>
          <cx:pt idx="1055">-2.0512426000000001</cx:pt>
          <cx:pt idx="1056">-2.0513268290000002</cx:pt>
          <cx:pt idx="1057">-2.051365916</cx:pt>
          <cx:pt idx="1058">-2.05152957</cx:pt>
          <cx:pt idx="1059">-2.0515734399999999</cx:pt>
          <cx:pt idx="1060">-2.0516528850000002</cx:pt>
          <cx:pt idx="1061">-2.052025048</cx:pt>
          <cx:pt idx="1062">-2.0524740709999998</cx:pt>
          <cx:pt idx="1063">-2.0525153949999999</cx:pt>
          <cx:pt idx="1064">-2.0528052379999999</cx:pt>
          <cx:pt idx="1065">-2.052843996</cx:pt>
          <cx:pt idx="1066">-2.0548957080000001</cx:pt>
          <cx:pt idx="1067">-2.055143283</cx:pt>
          <cx:pt idx="1068">-2.055347297</cx:pt>
          <cx:pt idx="1069">-2.0559225080000001</cx:pt>
          <cx:pt idx="1070">-2.057114194</cx:pt>
          <cx:pt idx="1071">-2.057442467</cx:pt>
          <cx:pt idx="1072">-2.0575270250000002</cx:pt>
          <cx:pt idx="1073">-2.0587155080000001</cx:pt>
          <cx:pt idx="1074">-2.0587962059999998</cx:pt>
          <cx:pt idx="1075">-2.0594136660000002</cx:pt>
          <cx:pt idx="1076">-2.05978197</cx:pt>
          <cx:pt idx="1077">-2.0598261679999998</cx:pt>
          <cx:pt idx="1078">-2.0598649259999999</cx:pt>
          <cx:pt idx="1079">-2.0599882209999998</cx:pt>
          <cx:pt idx="1080">-2.0601522029999999</cx:pt>
          <cx:pt idx="1081">-2.0602348309999998</cx:pt>
          <cx:pt idx="1082">-2.062492014</cx:pt>
          <cx:pt idx="1083">-2.0626982439999999</cx:pt>
          <cx:pt idx="1084">-2.0630261889999999</cx:pt>
          <cx:pt idx="1085">-2.063272778</cx:pt>
          <cx:pt idx="1086">-2.0634767919999999</cx:pt>
          <cx:pt idx="1087">-2.0635193680000001</cx:pt>
          <cx:pt idx="1088">-2.0636010310000001</cx:pt>
          <cx:pt idx="1089">-2.0636426829999999</cx:pt>
          <cx:pt idx="1090">-2.0639296119999999</cx:pt>
          <cx:pt idx="1091">-2.0644638070000001</cx:pt>
          <cx:pt idx="1092">-2.0645890109999998</cx:pt>
          <cx:pt idx="1093">-2.0648327270000002</cx:pt>
          <cx:pt idx="1094">-2.0649973460000002</cx:pt>
          <cx:pt idx="1095">-2.0650780439999998</cx:pt>
          <cx:pt idx="1096">-2.0652868409999998</cx:pt>
          <cx:pt idx="1097">-2.0654895610000001</cx:pt>
          <cx:pt idx="1098">-2.0656128759999999</cx:pt>
          <cx:pt idx="1099">-2.0661057270000001</cx:pt>
          <cx:pt idx="1100">-2.0666383210000001</cx:pt>
          <cx:pt idx="1101">-2.0666805899999998</cx:pt>
          <cx:pt idx="1102">-2.0669271789999999</cx:pt>
          <cx:pt idx="1103">-2.0674181210000002</cx:pt>
          <cx:pt idx="1104">-2.067541437</cx:pt>
          <cx:pt idx="1105">-2.0676247010000002</cx:pt>
          <cx:pt idx="1106">-2.0677502329999999</cx:pt>
          <cx:pt idx="1107">-2.067992984</cx:pt>
          <cx:pt idx="1108">-2.0690610060000001</cx:pt>
          <cx:pt idx="1109">-2.0693082519999999</cx:pt>
          <cx:pt idx="1110">-2.0695535490000001</cx:pt>
          <cx:pt idx="1111">-2.0696358680000002</cx:pt>
          <cx:pt idx="1112">-2.0698821299999999</cx:pt>
          <cx:pt idx="1113">-2.0700883810000001</cx:pt>
          <cx:pt idx="1114">-2.0701290480000001</cx:pt>
          <cx:pt idx="1115">-2.0702100739999998</cx:pt>
          <cx:pt idx="1116">-2.07025265</cx:pt>
          <cx:pt idx="1117">-2.0702933379999999</cx:pt>
          <cx:pt idx="1118">-2.07050117</cx:pt>
          <cx:pt idx="1119">-2.070539599</cx:pt>
          <cx:pt idx="1120">-2.0705799589999998</cx:pt>
          <cx:pt idx="1121">-2.0709085190000001</cx:pt>
          <cx:pt idx="1122">-2.0711554369999998</cx:pt>
          <cx:pt idx="1123">-2.0714843260000002</cx:pt>
          <cx:pt idx="1124">-2.0718523019999999</cx:pt>
          <cx:pt idx="1125">-2.0725923989999999</cx:pt>
          <cx:pt idx="1126">-2.0732898999999998</cx:pt>
          <cx:pt idx="1127">-2.0733340980000001</cx:pt>
          <cx:pt idx="1128">-2.0737446500000001</cx:pt>
          <cx:pt idx="1129">-2.073783079</cx:pt>
          <cx:pt idx="1130">-2.0739476780000001</cx:pt>
          <cx:pt idx="1131">-2.0750550940000001</cx:pt>
          <cx:pt idx="1132">-2.0750960890000001</cx:pt>
          <cx:pt idx="1133">-2.0752200410000001</cx:pt>
          <cx:pt idx="1134">-2.0757532510000001</cx:pt>
          <cx:pt idx="1135">-2.0758361870000002</cx:pt>
          <cx:pt idx="1136">-2.075959482</cx:pt>
          <cx:pt idx="1137">-2.0763277649999998</cx:pt>
          <cx:pt idx="1138">-2.0763722919999998</cx:pt>
          <cx:pt idx="1139">-2.0766979779999999</cx:pt>
          <cx:pt idx="1140">-2.0772318250000001</cx:pt>
          <cx:pt idx="1141">-2.0778892949999999</cx:pt>
          <cx:pt idx="1142">-2.0795315429999999</cx:pt>
          <cx:pt idx="1143">-2.0797797340000002</cx:pt>
          <cx:pt idx="1144">-2.0803103780000001</cx:pt>
          <cx:pt idx="1145">-2.080393334</cx:pt>
          <cx:pt idx="1146">-2.0804336729999999</cx:pt>
          <cx:pt idx="1147">-2.0812954640000001</cx:pt>
          <cx:pt idx="1148">-2.081501694</cx:pt>
          <cx:pt idx="1149">-2.0818328410000002</cx:pt>
          <cx:pt idx="1150">-2.082774058</cx:pt>
          <cx:pt idx="1151">-2.0833082329999999</cx:pt>
          <cx:pt idx="1152">-2.0838821099999998</cx:pt>
          <cx:pt idx="1153">-2.0849940220000001</cx:pt>
          <cx:pt idx="1154">-2.0850330879999999</cx:pt>
          <cx:pt idx="1155">-2.085853883</cx:pt>
          <cx:pt idx="1156">-2.0859384200000002</cx:pt>
          <cx:pt idx="1157">-2.0860614069999999</cx:pt>
          <cx:pt idx="1158">-2.0861814989999998</cx:pt>
          <cx:pt idx="1159">-2.0865920509999998</cx:pt>
          <cx:pt idx="1160">-2.086633355</cx:pt>
          <cx:pt idx="1161">-2.0867569779999999</cx:pt>
          <cx:pt idx="1162">-2.0881141859999999</cx:pt>
          <cx:pt idx="1163">-2.0885634959999999</cx:pt>
          <cx:pt idx="1164">-2.0896334470000002</cx:pt>
          <cx:pt idx="1165">-2.0908651229999999</cx:pt>
          <cx:pt idx="1166">-2.096322491</cx:pt>
          <cx:pt idx="1167">-2.096405426</cx:pt>
          <cx:pt idx="1168">-2.0964899629999998</cx:pt>
          <cx:pt idx="1169">-2.0981322109999998</cx:pt>
          <cx:pt idx="1170">-2.099610148</cx:pt>
          <cx:pt idx="1171">-2.0996899020000002</cx:pt>
          <cx:pt idx="1172">-2.1011262070000001</cx:pt>
          <cx:pt idx="1173">-2.1011678389999999</cx:pt>
          <cx:pt idx="1174">-2.10124983</cx:pt>
          <cx:pt idx="1175">-2.101496091</cx:pt>
          <cx:pt idx="1176">-2.1015396530000001</cx:pt>
          <cx:pt idx="1177">-2.101865976</cx:pt>
          <cx:pt idx="1178">-2.1029356190000001</cx:pt>
          <cx:pt idx="1179">-2.1030976520000002</cx:pt>
          <cx:pt idx="1180">-2.103138011</cx:pt>
          <cx:pt idx="1181">-2.1033849290000002</cx:pt>
          <cx:pt idx="1182">-2.1036311900000002</cx:pt>
          <cx:pt idx="1183">-2.103713489</cx:pt>
          <cx:pt idx="1184">-2.1055222659999999</cx:pt>
          <cx:pt idx="1185">-2.1062200739999999</cx:pt>
          <cx:pt idx="1186">-2.1090501079999999</cx:pt>
          <cx:pt idx="1187">-2.1102026870000001</cx:pt>
          <cx:pt idx="1188">-2.1103647400000001</cx:pt>
          <cx:pt idx="1189">-2.1105722629999999</cx:pt>
          <cx:pt idx="1190">-2.1134436000000001</cx:pt>
          <cx:pt idx="1191">-2.113526228</cx:pt>
          <cx:pt idx="1192">-2.1136104570000001</cx:pt>
          <cx:pt idx="1193">-2.1139364719999998</cx:pt>
          <cx:pt idx="1194">-2.1140597670000001</cx:pt>
          <cx:pt idx="1195">-2.1141007420000002</cx:pt>
          <cx:pt idx="1196">-2.1143905850000002</cx:pt>
          <cx:pt idx="1197">-2.1146346089999999</cx:pt>
          <cx:pt idx="1198">-2.1149215579999998</cx:pt>
          <cx:pt idx="1199">-2.1165231179999999</cx:pt>
          <cx:pt idx="1200">-2.116810375</cx:pt>
          <cx:pt idx="1201">-2.1171799309999999</cx:pt>
          <cx:pt idx="1202">-2.118167583</cx:pt>
          <cx:pt idx="1203">-2.118370632</cx:pt>
          <cx:pt idx="1204">-2.1184116070000001</cx:pt>
          <cx:pt idx="1205">-2.1193147219999999</cx:pt>
          <cx:pt idx="1206">-2.1193973499999998</cx:pt>
          <cx:pt idx="1207">-2.1195616199999998</cx:pt>
          <cx:pt idx="1208">-2.1213700680000001</cx:pt>
          <cx:pt idx="1209">-2.1231330439999998</cx:pt>
          <cx:pt idx="1210">-2.1232566469999998</cx:pt>
          <cx:pt idx="1211">-2.1237104530000002</cx:pt>
          <cx:pt idx="1212">-2.1241620000000001</cx:pt>
          <cx:pt idx="1213">-2.124818833</cx:pt>
          <cx:pt idx="1214">-2.1253936759999998</cx:pt>
          <cx:pt idx="1215">-2.1254756459999999</cx:pt>
          <cx:pt idx="1216">-2.1259685180000001</cx:pt>
          <cx:pt idx="1217">-2.1260505090000001</cx:pt>
          <cx:pt idx="1218">-2.1261302419999999</cx:pt>
          <cx:pt idx="1219">-2.1267073220000001</cx:pt>
          <cx:pt idx="1220">-2.1267486459999998</cx:pt>
          <cx:pt idx="1221">-2.1269923620000002</cx:pt>
          <cx:pt idx="1222">-2.12777247</cx:pt>
          <cx:pt idx="1223">-2.1278160320000001</cx:pt>
          <cx:pt idx="1224">-2.1281442840000002</cx:pt>
          <cx:pt idx="1225">-2.1290477069999998</cx:pt>
          <cx:pt idx="1226">-2.1294970169999998</cx:pt>
          <cx:pt idx="1227">-2.129540558</cx:pt>
          <cx:pt idx="1228">-2.1297023030000002</cx:pt>
          <cx:pt idx="1229">-2.1300740970000001</cx:pt>
          <cx:pt idx="1230">-2.1301973919999999</cx:pt>
          <cx:pt idx="1231">-2.1305644020000001</cx:pt>
          <cx:pt idx="1232">-2.1320423389999998</cx:pt>
          <cx:pt idx="1233">-2.132535539</cx:pt>
          <cx:pt idx="1234">-2.1327427339999998</cx:pt>
          <cx:pt idx="1235">-2.1333585720000001</cx:pt>
          <cx:pt idx="1236">-2.1335206250000001</cx:pt>
          <cx:pt idx="1237">-2.1338078820000002</cx:pt>
          <cx:pt idx="1238">-2.135983977</cx:pt>
          <cx:pt idx="1239">-2.1368870709999999</cx:pt>
          <cx:pt idx="1240">-2.1395560169999999</cx:pt>
          <cx:pt idx="1241">-2.1397222170000001</cx:pt>
          <cx:pt idx="1242">-2.1398868360000001</cx:pt>
          <cx:pt idx="1243">-2.139927503</cx:pt>
          <cx:pt idx="1244">-2.1400895559999999</cx:pt>
          <cx:pt idx="1245">-2.1401327889999999</cx:pt>
          <cx:pt idx="1246">-2.1402128500000002</cx:pt>
          <cx:pt idx="1247">-2.140582099</cx:pt>
          <cx:pt idx="1248">-2.141321231</cx:pt>
          <cx:pt idx="1249">-2.143540539</cx:pt>
          <cx:pt idx="1250">-2.1441154010000001</cx:pt>
          <cx:pt idx="1251">-2.144443962</cx:pt>
          <cx:pt idx="1252">-2.1448545339999998</cx:pt>
          <cx:pt idx="1253">-2.144936505</cx:pt>
          <cx:pt idx="1254">-2.1450162590000001</cx:pt>
          <cx:pt idx="1255">-2.1451395529999999</cx:pt>
          <cx:pt idx="1256">-2.1455523429999999</cx:pt>
          <cx:pt idx="1257">-2.1456346630000001</cx:pt>
          <cx:pt idx="1258">-2.1456756380000002</cx:pt>
          <cx:pt idx="1259">-2.1460452139999999</cx:pt>
          <cx:pt idx="1260">-2.1462914749999999</cx:pt>
          <cx:pt idx="1261">-2.146578753</cx:pt>
          <cx:pt idx="1262">-2.1468640799999998</cx:pt>
          <cx:pt idx="1263">-2.1469073129999998</cx:pt>
          <cx:pt idx="1264">-2.146989305</cx:pt>
          <cx:pt idx="1265">-2.1471513579999999</cx:pt>
          <cx:pt idx="1266">-2.1472746520000001</cx:pt>
          <cx:pt idx="1267">-2.1475231510000001</cx:pt>
          <cx:pt idx="1268">-2.148631532</cx:pt>
          <cx:pt idx="1269">-2.1487958229999999</cx:pt>
          <cx:pt idx="1270">-2.149039846</cx:pt>
          <cx:pt idx="1271">-2.1490834080000001</cx:pt>
          <cx:pt idx="1272">-2.1496582499999999</cx:pt>
          <cx:pt idx="1273">-2.1510129130000002</cx:pt>
          <cx:pt idx="1274">-2.1513001699999998</cx:pt>
          <cx:pt idx="1275">-2.151341473</cx:pt>
          <cx:pt idx="1276">-2.1517107210000002</cx:pt>
          <cx:pt idx="1277">-2.1519140779999999</cx:pt>
          <cx:pt idx="1278">-2.1519983069999999</cx:pt>
          <cx:pt idx="1279">-2.152285564</cx:pt>
          <cx:pt idx="1280">-2.15249085</cx:pt>
          <cx:pt idx="1281">-2.1525321530000001</cx:pt>
          <cx:pt idx="1282">-2.1528604260000002</cx:pt>
          <cx:pt idx="1283">-2.1530224590000002</cx:pt>
          <cx:pt idx="1284">-2.1532690479999999</cx:pt>
          <cx:pt idx="1285">-2.153884578</cx:pt>
          <cx:pt idx="1286">-2.1540101109999998</cx:pt>
          <cx:pt idx="1287">-2.154254135</cx:pt>
          <cx:pt idx="1288">-2.1545026539999999</cx:pt>
          <cx:pt idx="1289">-2.154790239</cx:pt>
          <cx:pt idx="1290">-2.1549132059999998</cx:pt>
          <cx:pt idx="1291">-2.1555290440000001</cx:pt>
          <cx:pt idx="1292">-2.1556113429999999</cx:pt>
          <cx:pt idx="1293">-2.1558166289999998</cx:pt>
          <cx:pt idx="1294">-2.1559396159999999</cx:pt>
          <cx:pt idx="1295">-2.1561019770000001</cx:pt>
          <cx:pt idx="1296">-2.1562271810000002</cx:pt>
          <cx:pt idx="1297">-2.1571302960000001</cx:pt>
          <cx:pt idx="1298">-2.1576231469999998</cx:pt>
          <cx:pt idx="1299">-2.1577051379999999</cx:pt>
          <cx:pt idx="1300">-2.1608253230000001</cx:pt>
          <cx:pt idx="1301">-2.1611129080000002</cx:pt>
          <cx:pt idx="1302">-2.1625088539999999</cx:pt>
          <cx:pt idx="1303">-2.162590845</cx:pt>
          <cx:pt idx="1304">-2.1627551359999999</cx:pt>
          <cx:pt idx="1305">-2.162796132</cx:pt>
          <cx:pt idx="1306">-2.1628784310000002</cx:pt>
          <cx:pt idx="1307">-2.1638225210000002</cx:pt>
          <cx:pt idx="1308">-2.1638635169999998</cx:pt>
          <cx:pt idx="1309">-2.1640687820000002</cx:pt>
          <cx:pt idx="1310">-2.164848911</cx:pt>
          <cx:pt idx="1311">-2.1651364960000001</cx:pt>
          <cx:pt idx="1312">-2.1652184870000002</cx:pt>
          <cx:pt idx="1313">-2.1655880430000001</cx:pt>
          <cx:pt idx="1314">-2.1656290390000001</cx:pt>
          <cx:pt idx="1315">-2.1677641379999999</cx:pt>
          <cx:pt idx="1316">-2.167846129</cx:pt>
          <cx:pt idx="1317">-2.1681333860000001</cx:pt>
          <cx:pt idx="1318">-2.1682156849999998</cx:pt>
          <cx:pt idx="1319">-2.1685029419999999</cx:pt>
          <cx:pt idx="1320">-2.1685852620000001</cx:pt>
          <cx:pt idx="1321">-2.1687082279999998</cx:pt>
          <cx:pt idx="1322">-2.1696116519999999</cx:pt>
          <cx:pt idx="1323">-2.1696526469999999</cx:pt>
          <cx:pt idx="1324">-2.1698169379999999</cx:pt>
          <cx:pt idx="1325">-2.169898909</cx:pt>
          <cx:pt idx="1326">-2.1712948750000001</cx:pt>
          <cx:pt idx="1327">-2.1713358700000001</cx:pt>
          <cx:pt idx="1328">-2.1717874180000001</cx:pt>
          <cx:pt idx="1329">-2.1719517079999999</cx:pt>
          <cx:pt idx="1330">-2.1722392940000002</cx:pt>
          <cx:pt idx="1331">-2.1728138069999998</cx:pt>
          <cx:pt idx="1332">-2.1735119649999999</cx:pt>
          <cx:pt idx="1333">-2.173840218</cx:pt>
          <cx:pt idx="1334">-2.1738815210000002</cx:pt>
          <cx:pt idx="1335">-2.1758110259999999</cx:pt>
          <cx:pt idx="1336">-2.1762215779999998</cx:pt>
          <cx:pt idx="1337">-2.1763038770000001</cx:pt>
          <cx:pt idx="1338">-2.1763858680000001</cx:pt>
          <cx:pt idx="1339">-2.1766734539999999</cx:pt>
          <cx:pt idx="1340">-2.1767964200000001</cx:pt>
          <cx:pt idx="1341">-2.1768784110000001</cx:pt>
          <cx:pt idx="1342">-2.177001706</cx:pt>
          <cx:pt idx="1343">-2.177083697</cx:pt>
          <cx:pt idx="1344">-2.1773302870000002</cx:pt>
          <cx:pt idx="1345">-2.1777818340000001</cx:pt>
          <cx:pt idx="1346">-2.1786849290000001</cx:pt>
          <cx:pt idx="1347">-2.178890215</cx:pt>
          <cx:pt idx="1348">-2.1791368050000002</cx:pt>
          <cx:pt idx="1349">-2.1797936390000001</cx:pt>
          <cx:pt idx="1350">-2.1798756090000002</cx:pt>
          <cx:pt idx="1351">-2.1799989040000001</cx:pt>
          <cx:pt idx="1352">-2.180163195</cx:pt>
          <cx:pt idx="1353">-2.180450451</cx:pt>
          <cx:pt idx="1354">-2.1805737459999999</cx:pt>
          <cx:pt idx="1355">-2.1806970410000002</cx:pt>
          <cx:pt idx="1356">-2.1807790319999998</cx:pt>
          <cx:pt idx="1357">-2.1808200279999999</cx:pt>
          <cx:pt idx="1358">-2.1821336950000001</cx:pt>
          <cx:pt idx="1359">-2.18225699</cx:pt>
          <cx:pt idx="1360">-2.1825855500000002</cx:pt>
          <cx:pt idx="1361">-2.1826675419999999</cx:pt>
          <cx:pt idx="1362">-2.1832833800000002</cx:pt>
          <cx:pt idx="1363">-2.183899217</cx:pt>
          <cx:pt idx="1364">-2.1850489020000001</cx:pt>
          <cx:pt idx="1365">-2.1859929920000001</cx:pt>
          <cx:pt idx="1366">-2.1860343160000002</cx:pt>
          <cx:pt idx="1367">-2.188456344</cx:pt>
          <cx:pt idx="1368">-2.189154501</cx:pt>
          <cx:pt idx="1369">-2.1892364720000002</cx:pt>
          <cx:pt idx="1370">-2.189606049</cx:pt>
          <cx:pt idx="1371">-2.189688656</cx:pt>
          <cx:pt idx="1372">-2.1900575959999999</cx:pt>
          <cx:pt idx="1373">-2.1902218869999999</cx:pt>
          <cx:pt idx="1374">-2.1903451810000001</cx:pt>
          <cx:pt idx="1375">-2.1903861569999998</cx:pt>
          <cx:pt idx="1376">-2.1904271519999998</cx:pt>
          <cx:pt idx="1377">-2.1921926950000001</cx:pt>
          <cx:pt idx="1378">-2.1937939270000002</cx:pt>
          <cx:pt idx="1379">-2.1940402090000002</cx:pt>
          <cx:pt idx="1380">-2.1941221789999998</cx:pt>
          <cx:pt idx="1381">-2.194533388</cx:pt>
          <cx:pt idx="1382">-2.1947793409999998</cx:pt>
          <cx:pt idx="1383">-2.1972013690000001</cx:pt>
          <cx:pt idx="1384">-2.1977762109999999</cx:pt>
          <cx:pt idx="1385">-2.198802621</cx:pt>
          <cx:pt idx="1386">-2.1992544760000001</cx:pt>
          <cx:pt idx="1387">-2.1992954720000002</cx:pt>
          <cx:pt idx="1388">-2.1993774629999998</cx:pt>
          <cx:pt idx="1389">-2.1999113100000001</cx:pt>
          <cx:pt idx="1390">-2.1999933010000001</cx:pt>
          <cx:pt idx="1391">-2.2001575920000001</cx:pt>
          <cx:pt idx="1392">-2.2003218819999999</cx:pt>
          <cx:pt idx="1393">-2.2003349999999999</cx:pt>
          <cx:pt idx="1394">-2.0919743230000001</cx:pt>
          <cx:pt idx="1395">-2.0710049239999999</cx:pt>
          <cx:pt idx="1396">-2.0431680000000001</cx:pt>
          <cx:pt idx="1397">-2.0431523739999999</cx:pt>
          <cx:pt idx="1398">-2.0430157420000001</cx:pt>
          <cx:pt idx="1399">-2.0429700830000002</cx:pt>
          <cx:pt idx="1400">-2.0426737319999999</cx:pt>
          <cx:pt idx="1401">-2.0421270420000002</cx:pt>
          <cx:pt idx="1402">-2.0421046629999999</cx:pt>
          <cx:pt idx="1403">-2.0416034590000001</cx:pt>
          <cx:pt idx="1404">-2.040965634</cx:pt>
          <cx:pt idx="1405">-2.0406696370000001</cx:pt>
          <cx:pt idx="1406">-2.040601235</cx:pt>
          <cx:pt idx="1407">-2.0405784910000002</cx:pt>
          <cx:pt idx="1408">-2.0403279799999998</cx:pt>
          <cx:pt idx="1409">-2.040236835</cx:pt>
          <cx:pt idx="1410">-2.039667412</cx:pt>
          <cx:pt idx="1411">-2.0396219250000001</cx:pt>
          <cx:pt idx="1412">-2.0394851209999998</cx:pt>
          <cx:pt idx="1413">-2.0394396339999998</cx:pt>
          <cx:pt idx="1414">-2.039303012</cx:pt>
          <cx:pt idx="1415">-2.0390976250000001</cx:pt>
          <cx:pt idx="1416">-2.0386879200000001</cx:pt>
          <cx:pt idx="1417">-2.0366379829999999</cx:pt>
          <cx:pt idx="1418">-2.0366152510000002</cx:pt>
          <cx:pt idx="1419">-2.0365695819999998</cx:pt>
          <cx:pt idx="1420">-2.0364786179999999</cx:pt>
          <cx:pt idx="1421">-2.03643296</cx:pt>
          <cx:pt idx="1422">-2.0353168469999998</cx:pt>
          <cx:pt idx="1423">-2.0352486270000001</cx:pt>
          <cx:pt idx="1424">-2.0352257009999999</cx:pt>
          <cx:pt idx="1425">-2.0348840450000001</cx:pt>
          <cx:pt idx="1426">-2.0342691350000002</cx:pt>
          <cx:pt idx="1427">-2.0315586300000001</cx:pt>
          <cx:pt idx="1428">-2.030237493</cx:pt>
          <cx:pt idx="1429">-2.0298046909999998</cx:pt>
          <cx:pt idx="1430">-2.029668059</cx:pt>
          <cx:pt idx="1431">-2.029235269</cx:pt>
          <cx:pt idx="1432">-2.0285974320000002</cx:pt>
          <cx:pt idx="1433">-2.0277089149999998</cx:pt>
          <cx:pt idx="1434">-2.0269799439999998</cx:pt>
          <cx:pt idx="1435">-2.0269348100000002</cx:pt>
          <cx:pt idx="1436">-2.0266158980000002</cx:pt>
          <cx:pt idx="1437">-2.0264105219999999</cx:pt>
          <cx:pt idx="1438">-2.0263652159999999</cx:pt>
          <cx:pt idx="1439">-2.0252489210000002</cx:pt>
          <cx:pt idx="1440">-2.0252036150000001</cx:pt>
          <cx:pt idx="1441">-2.025135031</cx:pt>
          <cx:pt idx="1442">-2.02506663</cx:pt>
          <cx:pt idx="1443">-2.0249987630000001</cx:pt>
          <cx:pt idx="1444">-2.0246571069999999</cx:pt>
          <cx:pt idx="1445">-2.0244975599999999</cx:pt>
          <cx:pt idx="1446">-2.0244748160000001</cx:pt>
          <cx:pt idx="1447">-2.0241559040000001</cx:pt>
          <cx:pt idx="1448">-2.0239965390000001</cx:pt>
          <cx:pt idx="1449">-2.0238826489999999</cx:pt>
          <cx:pt idx="1450">-2.0236545289999999</cx:pt>
          <cx:pt idx="1451">-2.0232448249999999</cx:pt>
          <cx:pt idx="1452">-2.0229486560000001</cx:pt>
          <cx:pt idx="1453">-2.0228804249999999</cx:pt>
          <cx:pt idx="1454">-2.022834767</cx:pt>
          <cx:pt idx="1455">-2.0214681419999998</cx:pt>
          <cx:pt idx="1456">-2.0210125969999999</cx:pt>
          <cx:pt idx="1457">-2.0198510079999998</cx:pt>
          <cx:pt idx="1458">-2.019828264</cx:pt>
          <cx:pt idx="1459">-2.019759509</cx:pt>
          <cx:pt idx="1460">-2.019144952</cx:pt>
          <cx:pt idx="1461">-2.0190992940000001</cx:pt>
          <cx:pt idx="1462">-2.0180743259999998</cx:pt>
          <cx:pt idx="1463">-2.0179376929999999</cx:pt>
          <cx:pt idx="1464">-2.0179149600000001</cx:pt>
          <cx:pt idx="1465">-2.0177554130000002</cx:pt>
          <cx:pt idx="1466">-2.017732316</cx:pt>
          <cx:pt idx="1467">-2.017163247</cx:pt>
          <cx:pt idx="1468">-2.0166162029999999</cx:pt>
          <cx:pt idx="1469">-2.0165934590000001</cx:pt>
          <cx:pt idx="1470">-2.01647957</cx:pt>
          <cx:pt idx="1471">-2.0159785490000002</cx:pt>
          <cx:pt idx="1472">-2.0159328909999998</cx:pt>
          <cx:pt idx="1473">-2.0155002710000001</cx:pt>
          <cx:pt idx="1474">-2.0154773449999999</cx:pt>
          <cx:pt idx="1475">-2.0154094790000001</cx:pt>
          <cx:pt idx="1476">-2.0140195759999999</cx:pt>
          <cx:pt idx="1477">-2.0118557620000002</cx:pt>
          <cx:pt idx="1478">-2.010967768</cx:pt>
          <cx:pt idx="1479">-2.009396121</cx:pt>
          <cx:pt idx="1480">-2.0083935429999999</cx:pt>
          <cx:pt idx="1481">-2.0083484089999999</cx:pt>
          <cx:pt idx="1482">-2.0081888609999998</cx:pt>
          <cx:pt idx="1483">-2.0079831210000001</cx:pt>
          <cx:pt idx="1484">-2.0079379980000001</cx:pt>
          <cx:pt idx="1485">-2.0074824530000002</cx:pt>
          <cx:pt idx="1486">-2.0065029719999998</cx:pt>
          <cx:pt idx="1487">-2.0063894470000001</cx:pt>
          <cx:pt idx="1488">-2.006275558</cx:pt>
          <cx:pt idx="1489">-2.0062073269999998</cx:pt>
          <cx:pt idx="1490">-2.0047268250000001</cx:pt>
          <cx:pt idx="1491">-2.0046580700000001</cx:pt>
          <cx:pt idx="1492">-2.0045214370000002</cx:pt>
          <cx:pt idx="1493">-2.0044761320000002</cx:pt>
          <cx:pt idx="1494">-2.004088989</cx:pt>
          <cx:pt idx="1495">-2.0040658919999998</cx:pt>
          <cx:pt idx="1496">-2.0028312769999999</cx:pt>
          <cx:pt idx="1497">-2.0027223639999998</cx:pt>
          <cx:pt idx="1498">-2.0026996320000001</cx:pt>
          <cx:pt idx="1499">-2.002471501</cx:pt>
          <cx:pt idx="1500">-2.0024030989999999</cx:pt>
          <cx:pt idx="1501">-2.002312307</cx:pt>
          <cx:pt idx="1502">-2.0014012280000002</cx:pt>
          <cx:pt idx="1503">-2.001264242</cx:pt>
          <cx:pt idx="1504">-2.001173461</cx:pt>
          <cx:pt idx="1505">-2.0009911699999998</cx:pt>
          <cx:pt idx="1506">-2.0009678910000002</cx:pt>
          <cx:pt idx="1507">-2.0005809299999999</cx:pt>
          <cx:pt idx="1508">-2.000489795</cx:pt>
          <cx:pt idx="1509">-2.0001026519999998</cx:pt>
          <cx:pt idx="1510">-1.9982351780000001</cx:pt>
          <cx:pt idx="1511">-1.9976657550000001</cx:pt>
          <cx:pt idx="1512">-1.9975060360000001</cx:pt>
          <cx:pt idx="1513">-1.9974596609999999</cx:pt>
          <cx:pt idx="1514">-1.9972102089999999</cx:pt>
          <cx:pt idx="1515">-1.9951373590000001</cx:pt>
          <cx:pt idx="1516">-1.99502241</cx:pt>
          <cx:pt idx="1517">-1.994999849</cx:pt>
          <cx:pt idx="1518">-1.9944309499999999</cx:pt>
          <cx:pt idx="1519">-1.994066903</cx:pt>
          <cx:pt idx="1520">-1.9937476380000001</cx:pt>
          <cx:pt idx="1521">-1.9936566739999999</cx:pt>
          <cx:pt idx="1522">-1.9929733620000001</cx:pt>
          <cx:pt idx="1523">-1.992949912</cx:pt>
          <cx:pt idx="1524">-1.992927522</cx:pt>
          <cx:pt idx="1525">-1.992517646</cx:pt>
          <cx:pt idx="1526">-1.9924257830000001</cx:pt>
          <cx:pt idx="1527">-1.991743542</cx:pt>
          <cx:pt idx="1528">-1.991287826</cx:pt>
          <cx:pt idx="1529">-1.9912652529999999</cx:pt>
          <cx:pt idx="1530">-1.991218889</cx:pt>
          <cx:pt idx="1531">-1.9911741190000001</cx:pt>
          <cx:pt idx="1532">-1.9900578229999999</cx:pt>
          <cx:pt idx="1533">-1.9900125179999999</cx:pt>
          <cx:pt idx="1534">-1.989419998</cx:pt>
          <cx:pt idx="1535">-1.9888274669999999</cx:pt>
          <cx:pt idx="1536">-1.988645005</cx:pt>
          <cx:pt idx="1537">-1.988075582</cx:pt>
          <cx:pt idx="1538">-1.9878705480000001</cx:pt>
          <cx:pt idx="1539">-1.987643134</cx:pt>
          <cx:pt idx="1540">-1.987597829</cx:pt>
          <cx:pt idx="1541">-1.9875292449999999</cx:pt>
          <cx:pt idx="1542">-1.987415014</cx:pt>
          <cx:pt idx="1543">-1.9873475</cx:pt>
          <cx:pt idx="1544">-1.9855230189999999</cx:pt>
          <cx:pt idx="1545">-1.9853883450000001</cx:pt>
          <cx:pt idx="1546">-1.9851378340000001</cx:pt>
          <cx:pt idx="1547">-1.9851142020000001</cx:pt>
          <cx:pt idx="1548">-1.9850012130000001</cx:pt>
          <cx:pt idx="1549">-1.9833137169999999</cx:pt>
          <cx:pt idx="1550">-1.9831790439999999</cx:pt>
          <cx:pt idx="1551">-1.982655096</cx:pt>
          <cx:pt idx="1552">-1.9826316470000001</cx:pt>
          <cx:pt idx="1553">-1.982586695</cx:pt>
          <cx:pt idx="1554">-1.982312734</cx:pt>
          <cx:pt idx="1555">-1.9816521659999999</cx:pt>
          <cx:pt idx="1556">-1.981425105</cx:pt>
          <cx:pt idx="1557">-1.981333424</cx:pt>
          <cx:pt idx="1558">-1.981264852</cx:pt>
          <cx:pt idx="1559">-1.9811964500000001</cx:pt>
          <cx:pt idx="1560">-1.980650112</cx:pt>
          <cx:pt idx="1561">-1.980536587</cx:pt>
          <cx:pt idx="1562">-1.9805131380000001</cx:pt>
          <cx:pt idx="1563">-1.98017237</cx:pt>
          <cx:pt idx="1564">-1.9800803360000001</cx:pt>
          <cx:pt idx="1565">-1.9800565219999999</cx:pt>
          <cx:pt idx="1566">-1.98001264</cx:pt>
          <cx:pt idx="1567">-1.978873965</cx:pt>
          <cx:pt idx="1568">-1.9788505160000001</cx:pt>
          <cx:pt idx="1569">-1.978577432</cx:pt>
          <cx:pt idx="1570">-1.97805385</cx:pt>
          <cx:pt idx="1571">-1.977893949</cx:pt>
          <cx:pt idx="1572">-1.9777104169999999</cx:pt>
          <cx:pt idx="1573">-1.9776889150000001</cx:pt>
          <cx:pt idx="1574">-1.977666535</cx:pt>
          <cx:pt idx="1575">-1.977620513</cx:pt>
          <cx:pt idx="1576">-1.977575208</cx:pt>
          <cx:pt idx="1577">-1.9761629249999999</cx:pt>
          <cx:pt idx="1578">-1.9749556660000001</cx:pt>
          <cx:pt idx="1579">-1.974477389</cx:pt>
          <cx:pt idx="1580">-1.974386596</cx:pt>
          <cx:pt idx="1581">-1.9742039520000001</cx:pt>
          <cx:pt idx="1582">-1.973634882</cx:pt>
          <cx:pt idx="1583">-1.972677963</cx:pt>
          <cx:pt idx="1584">-1.9726310629999999</cx:pt>
          <cx:pt idx="1585">-1.9725182450000001</cx:pt>
          <cx:pt idx="1586">-1.971926249</cx:pt>
          <cx:pt idx="1587">-1.97190387</cx:pt>
          <cx:pt idx="1588">-1.970992426</cx:pt>
          <cx:pt idx="1589">-1.9706964279999999</cx:pt>
          <cx:pt idx="1590">-1.970355125</cx:pt>
          <cx:pt idx="1591">-1.970218322</cx:pt>
          <cx:pt idx="1592">-1.969784996</cx:pt>
          <cx:pt idx="1593">-1.9696258019999999</cx:pt>
          <cx:pt idx="1594">-1.969603411</cx:pt>
          <cx:pt idx="1595">-1.96837342</cx:pt>
          <cx:pt idx="1596">-1.9677812530000001</cx:pt>
          <cx:pt idx="1597">-1.9677124989999999</cx:pt>
          <cx:pt idx="1598">-1.9676670110000001</cx:pt>
          <cx:pt idx="1599">-1.966938394</cx:pt>
          <cx:pt idx="1600">-1.9657977600000001</cx:pt>
          <cx:pt idx="1601">-1.9656625619999999</cx:pt>
          <cx:pt idx="1602">-1.965114448</cx:pt>
          <cx:pt idx="1603">-1.9649792500000001</cx:pt>
          <cx:pt idx="1604">-1.964585</cx:pt>
          <cx:pt idx="1605">1.7279753390000001</cx:pt>
          <cx:pt idx="1606">9.7224675690000009</cx:pt>
          <cx:pt idx="1607">10.917046859999999</cx:pt>
          <cx:pt idx="1608">11.596612739999999</cx:pt>
          <cx:pt idx="1609">13.12837991</cx:pt>
          <cx:pt idx="1610">19.423829820000002</cx:pt>
          <cx:pt idx="1611">24.016323580000002</cx:pt>
          <cx:pt idx="1612">24.199509410000001</cx:pt>
          <cx:pt idx="1613">30.311858569999998</cx:pt>
          <cx:pt idx="1614">32.358554089999998</cx:pt>
          <cx:pt idx="1615">36.441394709999997</cx:pt>
          <cx:pt idx="1616">39.330932279999999</cx:pt>
          <cx:pt idx="1617">39.514118109999998</cx:pt>
          <cx:pt idx="1618">40.025132589999998</cx:pt>
          <cx:pt idx="1619">45.980842129999999</cx:pt>
          <cx:pt idx="1620">49.884495829999999</cx:pt>
          <cx:pt idx="1621">51.757279650000001</cx:pt>
          <cx:pt idx="1622">52.61739378</cx:pt>
          <cx:pt idx="1623">53.127132000000003</cx:pt>
          <cx:pt idx="1624">55.50965403</cx:pt>
          <cx:pt idx="1625">57.030785700000003</cx:pt>
          <cx:pt idx="1626">57.54043884</cx:pt>
          <cx:pt idx="1627">57.892176079999999</cx:pt>
          <cx:pt idx="1628">58.401914290000001</cx:pt>
          <cx:pt idx="1629">58.912928770000001</cx:pt>
          <cx:pt idx="1630">59.082756430000003</cx:pt>
          <cx:pt idx="1631">65.379567690000002</cx:pt>
          <cx:pt idx="1632">65.719393170000004</cx:pt>
          <cx:pt idx="1633">68.952755179999997</cx:pt>
          <cx:pt idx="1634">69.794235880000002</cx:pt>
          <cx:pt idx="1635">73.887711999999993</cx:pt>
          <cx:pt idx="1636">74.727916460000003</cx:pt>
          <cx:pt idx="1637">74.908379620000005</cx:pt>
          <cx:pt idx="1638">75.589306829999998</cx:pt>
          <cx:pt idx="1639">76.770613030000007</cx:pt>
          <cx:pt idx="1640">78.4709316</cx:pt>
          <cx:pt idx="1641">94.137277539999999</cx:pt>
          <cx:pt idx="1642">95.147394739999996</cx:pt>
          <cx:pt idx="1643">95.327857899999998</cx:pt>
          <cx:pt idx="1644">96.000872290000004</cx:pt>
          <cx:pt idx="1645">108.43121859999999</cx:pt>
          <cx:pt idx="1646">117.6109309</cx:pt>
          <cx:pt idx="1647">118.2904968</cx:pt>
          <cx:pt idx="1648">122.7158005</cx:pt>
          <cx:pt idx="1649">123.0649001</cx:pt>
          <cx:pt idx="1650">143.1404689</cx:pt>
          <cx:pt idx="1651">152.66757910000001</cx:pt>
          <cx:pt idx="1652">158.45363119999999</cx:pt>
          <cx:pt idx="1653">159.31391540000001</cx:pt>
          <cx:pt idx="1654">159.82510009999999</cx:pt>
          <cx:pt idx="1655">159.98573870000001</cx:pt>
          <cx:pt idx="1656">160.49156300000001</cx:pt>
          <cx:pt idx="1657">160.8341112</cx:pt>
          <cx:pt idx="1658">161.00274769999999</cx:pt>
          <cx:pt idx="1659">161.17266040000001</cx:pt>
          <cx:pt idx="1660">161.41030000000001</cx:pt>
          <cx:pt idx="1661">161.50740630000001</cx:pt>
          <cx:pt idx="1662">161.67552029999999</cx:pt>
          <cx:pt idx="1663">161.73304659999999</cx:pt>
          <cx:pt idx="1664">161.7906017</cx:pt>
          <cx:pt idx="1665">161.90746920000001</cx:pt>
          <cx:pt idx="1666">161.96364159999999</cx:pt>
          <cx:pt idx="1667">162.07826209999999</cx:pt>
          <cx:pt idx="1668">162.1362494</cx:pt>
          <cx:pt idx="1669">162.19605139999999</cx:pt>
          <cx:pt idx="1670">162.2522238</cx:pt>
          <cx:pt idx="1671">162.30931810000001</cx:pt>
          <cx:pt idx="1672">162.36684439999999</cx:pt>
          <cx:pt idx="1673">162.4248316</cx:pt>
          <cx:pt idx="1674">162.48149369999999</cx:pt>
          <cx:pt idx="1675">162.59743940000001</cx:pt>
          <cx:pt idx="1676">162.65499449999999</cx:pt>
          <cx:pt idx="1677">162.76961510000001</cx:pt>
          <cx:pt idx="1678">162.8276023</cx:pt>
          <cx:pt idx="1679">162.82803440000001</cx:pt>
          <cx:pt idx="1680">162.88558950000001</cx:pt>
          <cx:pt idx="1681">162.9426838</cx:pt>
          <cx:pt idx="1682">163.0586294</cx:pt>
          <cx:pt idx="1683">163.17417180000001</cx:pt>
          <cx:pt idx="1684">163.2308051</cx:pt>
          <cx:pt idx="1685">163.2883314</cx:pt>
          <cx:pt idx="1686">163.6340079</cx:pt>
          <cx:pt idx="1687">163.7499823</cx:pt>
          <cx:pt idx="1688">163.86549590000001</cx:pt>
          <cx:pt idx="1689">164.0385646</cx:pt>
          <cx:pt idx="1690">164.09519789999999</cx:pt>
          <cx:pt idx="1691">164.21117229999999</cx:pt>
          <cx:pt idx="1692">164.32625379999999</cx:pt>
          <cx:pt idx="1693">164.38331919999999</cx:pt>
          <cx:pt idx="1694">164.44087429999999</cx:pt>
          <cx:pt idx="1695">164.55684880000001</cx:pt>
          <cx:pt idx="1696">164.61437509999999</cx:pt>
          <cx:pt idx="1697">164.86789999999999</cx:pt>
          <cx:pt idx="1698">165.19815</cx:pt>
          <cx:pt idx="1699">165.74755830000001</cx:pt>
          <cx:pt idx="1700">166.8417005</cx:pt>
          <cx:pt idx="1701">167.9487666</cx:pt>
          <cx:pt idx="1702">168.49350039999999</cx:pt>
          <cx:pt idx="1703">169.60056650000001</cx:pt>
          <cx:pt idx="1704">170.14997489999999</cx:pt>
          <cx:pt idx="1705">170.69910830000001</cx:pt>
          <cx:pt idx="1706">171.24411699999999</cx:pt>
          <cx:pt idx="1707">172.35118320000001</cx:pt>
          <cx:pt idx="1708">172.89179229999999</cx:pt>
          <cx:pt idx="1709">173.11920000000001</cx:pt>
          <cx:pt idx="1710">173.48001550000001</cx:pt>
          <cx:pt idx="1711">174.67542359999999</cx:pt>
          <cx:pt idx="1712">175.87563840000001</cx:pt>
          <cx:pt idx="1713">176.4804025</cx:pt>
          <cx:pt idx="1714">178.2898879</cx:pt>
          <cx:pt idx="1715">178.89014560000001</cx:pt>
          <cx:pt idx="1716">180.09006009999999</cx:pt>
          <cx:pt idx="1717">180.6948242</cx:pt>
          <cx:pt idx="1718">181.89954549999999</cx:pt>
          <cx:pt idx="1719">182.07769999999999</cx:pt>
          <cx:pt idx="1720">182.33757399999999</cx:pt>
          <cx:pt idx="1721">183.07684520000001</cx:pt>
          <cx:pt idx="1722">183.44074280000001</cx:pt>
          <cx:pt idx="1723">183.81037839999999</cx:pt>
          <cx:pt idx="1724">184.9250231</cx:pt>
          <cx:pt idx="1725">194.922583</cx:pt>
          <cx:pt idx="1726">196.40408690000001</cx:pt>
          <cx:pt idx="1727">196.77372249999999</cx:pt>
          <cx:pt idx="1728">197.1403966</cx:pt>
          <cx:pt idx="1729">197.51003209999999</cx:pt>
          <cx:pt idx="1730">197.88540570000001</cx:pt>
          <cx:pt idx="1731">198.25800280000001</cx:pt>
          <cx:pt idx="1732">198.6246769</cx:pt>
          <cx:pt idx="1733">198.73740000000001</cx:pt>
          <cx:pt idx="1734">198.75994069999999</cx:pt>
          <cx:pt idx="1735">198.7921278</cx:pt>
          <cx:pt idx="1736">199.01990570000001</cx:pt>
          <cx:pt idx="1737">199.05181669999999</cx:pt>
          <cx:pt idx="1738">199.08450719999999</cx:pt>
          <cx:pt idx="1739">199.11693779999999</cx:pt>
          <cx:pt idx="1740">199.14987189999999</cx:pt>
          <cx:pt idx="1741">199.1817992</cx:pt>
          <cx:pt idx="1742">199.21499309999999</cx:pt>
          <cx:pt idx="1743">199.24742380000001</cx:pt>
          <cx:pt idx="1744">199.2798544</cx:pt>
          <cx:pt idx="1745">199.3122851</cx:pt>
          <cx:pt idx="1746">199.34471579999999</cx:pt>
          <cx:pt idx="1747">199.37714639999999</cx:pt>
          <cx:pt idx="1748">199.4093173</cx:pt>
          <cx:pt idx="1749">199.4417479</cx:pt>
          <cx:pt idx="1750">199.474682</cx:pt>
          <cx:pt idx="1751">199.50660930000001</cx:pt>
          <cx:pt idx="1752">199.53954340000001</cx:pt>
          <cx:pt idx="1753">199.57197400000001</cx:pt>
          <cx:pt idx="1754">199.60466450000001</cx:pt>
          <cx:pt idx="1755">199.6370952</cx:pt>
          <cx:pt idx="1756">199.6695259</cx:pt>
          <cx:pt idx="1757">199.70195649999999</cx:pt>
          <cx:pt idx="1758">199.76707769999999</cx:pt>
          <cx:pt idx="1759">199.79950840000001</cx:pt>
          <cx:pt idx="1760">199.86410979999999</cx:pt>
          <cx:pt idx="1761">199.8968003</cx:pt>
          <cx:pt idx="1762">199.9614018</cx:pt>
          <cx:pt idx="1763">199.99433590000001</cx:pt>
          <cx:pt idx="1764">200.02626319999999</cx:pt>
          <cx:pt idx="1765">200.09188779999999</cx:pt>
          <cx:pt idx="1766">200.1562457</cx:pt>
          <cx:pt idx="1767">200.18968319999999</cx:pt>
          <cx:pt idx="1768">200.25454450000001</cx:pt>
          <cx:pt idx="1769">200.3186426</cx:pt>
          <cx:pt idx="1770">200.35159290000001</cx:pt>
          <cx:pt idx="1771">200.41619439999999</cx:pt>
          <cx:pt idx="1772">200.4491285</cx:pt>
          <cx:pt idx="1773">200.48105580000001</cx:pt>
          <cx:pt idx="1774">200.64346889999999</cx:pt>
          <cx:pt idx="1775">200.6766466</cx:pt>
          <cx:pt idx="1776">200.74150789999999</cx:pt>
          <cx:pt idx="1777">200.77393860000001</cx:pt>
          <cx:pt idx="1778">200.8063693</cx:pt>
          <cx:pt idx="1779">200.83855629999999</cx:pt>
          <cx:pt idx="1780">200.8714904</cx:pt>
          <cx:pt idx="1781">200.90392109999999</cx:pt>
          <cx:pt idx="1782">200.968279</cx:pt>
          <cx:pt idx="1783">201.0012131</cx:pt>
          <cx:pt idx="1784">201.06633429999999</cx:pt>
          <cx:pt idx="1785">201.09876489999999</cx:pt>
          <cx:pt idx="1786">201.1306922</cx:pt>
          <cx:pt idx="1787">201.17349999999999</cx:pt>
          <cx:pt idx="1788">201.5927251</cx:pt>
          <cx:pt idx="1789">202.1797598</cx:pt>
          <cx:pt idx="1790">203.37711949999999</cx:pt>
          <cx:pt idx="1791">203.9778895</cx:pt>
          <cx:pt idx="1792">205.1752491</cx:pt>
          <cx:pt idx="1793">205.7715402</cx:pt>
          <cx:pt idx="1794">206.35857490000001</cx:pt>
          <cx:pt idx="1795">206.96412230000001</cx:pt>
          <cx:pt idx="1796">207.5651909</cx:pt>
          <cx:pt idx="1797">208.151927</cx:pt>
          <cx:pt idx="1798">209.3445092</cx:pt>
          <cx:pt idx="1799">209.9548341</cx:pt>
          <cx:pt idx="1800">210.1319</cx:pt>
          <cx:pt idx="1801">210.4994648</cx:pt>
          <cx:pt idx="1802">211.01416040000001</cx:pt>
          <cx:pt idx="1803">211.54508730000001</cx:pt>
          <cx:pt idx="1804">212.05978279999999</cx:pt>
          <cx:pt idx="1805">212.59070980000001</cx:pt>
          <cx:pt idx="1806">213.10959399999999</cx:pt>
          <cx:pt idx="1807">213.64052100000001</cx:pt>
          <cx:pt idx="1808">214.15521649999999</cx:pt>
          <cx:pt idx="1809">215.20476600000001</cx:pt>
          <cx:pt idx="1810">215.72757720000001</cx:pt>
          <cx:pt idx="1811">216.25850410000001</cx:pt>
          <cx:pt idx="1812">216.77319969999999</cx:pt>
          <cx:pt idx="1813">217.30412670000001</cx:pt>
          <cx:pt idx="1814">217.82301090000001</cx:pt>
          <cx:pt idx="1815">217.99029999999999</cx:pt>
          <cx:pt idx="1816">223.87865830000001</cx:pt>
          <cx:pt idx="1817">227.31021569999999</cx:pt>
          <cx:pt idx="1818">230.76601210000001</cx:pt>
          <cx:pt idx="1819">234.19756910000001</cx:pt>
          <cx:pt idx="1820">237.6550967</cx:pt>
          <cx:pt idx="1821">241.1662967</cx:pt>
          <cx:pt idx="1822">244.56842069999999</cx:pt>
          <cx:pt idx="1823">248.07962069999999</cx:pt>
          <cx:pt idx="1824">251.51117769999999</cx:pt>
          <cx:pt idx="1825">255.04834790000001</cx:pt>
          <cx:pt idx="1826">261.88202919999998</cx:pt>
          <cx:pt idx="1827">265.36725869999998</cx:pt>
          <cx:pt idx="1828">268.87845870000001</cx:pt>
          <cx:pt idx="1829">270.01249999999999</cx:pt>
          <cx:pt idx="1830">270.01765210000002</cx:pt>
          <cx:pt idx="1831">270.02549629999999</cx:pt>
          <cx:pt idx="1832">270.03347009999999</cx:pt>
          <cx:pt idx="1833">270.04119250000002</cx:pt>
          <cx:pt idx="1834">270.04910339999998</cx:pt>
          <cx:pt idx="1835">270.05707330000001</cx:pt>
          <cx:pt idx="1836">270.06479569999999</cx:pt>
          <cx:pt idx="1837">270.07264370000001</cx:pt>
          <cx:pt idx="1838">270.08840279999998</cx:pt>
          <cx:pt idx="1839">270.09630979999997</cx:pt>
          <cx:pt idx="1840">270.09637270000002</cx:pt>
          <cx:pt idx="1841">270.10409499999997</cx:pt>
          <cx:pt idx="1842">270.11194310000002</cx:pt>
          <cx:pt idx="1843">270.1198541</cx:pt>
          <cx:pt idx="1844">270.13567210000002</cx:pt>
          <cx:pt idx="1845">270.14339439999998</cx:pt>
          <cx:pt idx="1846">270.17484960000002</cx:pt>
          <cx:pt idx="1847">270.18269379999998</cx:pt>
          <cx:pt idx="1848">270.19054180000001</cx:pt>
          <cx:pt idx="1849">270.20630089999997</cx:pt>
          <cx:pt idx="1850">270.21432970000001</cx:pt>
          <cx:pt idx="1851">270.2221189</cx:pt>
          <cx:pt idx="1852">270.23781109999999</cx:pt>
          <cx:pt idx="1853">270.24560020000001</cx:pt>
          <cx:pt idx="1854">270.25344439999998</cx:pt>
          <cx:pt idx="1855">270.2692624</cx:pt>
          <cx:pt idx="1856">270.27705150000003</cx:pt>
          <cx:pt idx="1857">270.28489960000002</cx:pt>
          <cx:pt idx="1858">270.29274379999998</cx:pt>
          <cx:pt idx="1859">270.30071759999998</cx:pt>
          <cx:pt idx="1860">270.3084399</cx:pt>
          <cx:pt idx="1861">270.31640979999997</cx:pt>
          <cx:pt idx="1862">270.33204310000002</cx:pt>
          <cx:pt idx="1863">270.34001699999999</cx:pt>
          <cx:pt idx="1864">270.34780219999999</cx:pt>
          <cx:pt idx="1865">270.35565020000001</cx:pt>
          <cx:pt idx="1866">270.37146819999998</cx:pt>
          <cx:pt idx="1867">270.37919060000002</cx:pt>
          <cx:pt idx="1868">270.38716049999999</cx:pt>
          <cx:pt idx="1869">270.40279770000001</cx:pt>
          <cx:pt idx="1870">270.41064180000001</cx:pt>
          <cx:pt idx="1871">270.41861569999998</cx:pt>
          <cx:pt idx="1872">270.42633799999999</cx:pt>
          <cx:pt idx="1873">270.44209710000001</cx:pt>
          <cx:pt idx="1874">270.45012589999999</cx:pt>
          <cx:pt idx="1875">270.45791109999999</cx:pt>
          <cx:pt idx="1876">270.46563739999999</cx:pt>
          <cx:pt idx="1877">270.49727339999998</cx:pt>
          <cx:pt idx="1878">270.50505859999998</cx:pt>
          <cx:pt idx="1879">270.51284770000001</cx:pt>
          <cx:pt idx="1880">270.52081759999999</cx:pt>
          <cx:pt idx="1881">270.5285399</cx:pt>
          <cx:pt idx="1882">270.54423609999998</cx:pt>
          <cx:pt idx="1883">270.55214710000001</cx:pt>
          <cx:pt idx="1884">270.56011699999999</cx:pt>
          <cx:pt idx="1885">270.5678393</cx:pt>
          <cx:pt idx="1886">270.58365730000003</cx:pt>
          <cx:pt idx="1887">270.5914464</cx:pt>
          <cx:pt idx="1888">270.59941629999997</cx:pt>
          <cx:pt idx="1889">270.61498669999997</cx:pt>
          <cx:pt idx="1890">270.62289770000001</cx:pt>
          <cx:pt idx="1891">270.63086759999999</cx:pt>
          <cx:pt idx="1892">270.64656380000002</cx:pt>
          <cx:pt idx="1893">270.65428609999998</cx:pt>
          <cx:pt idx="1894">270.66225600000001</cx:pt>
          <cx:pt idx="1895">270.6778893</cx:pt>
          <cx:pt idx="1896">270.68592210000003</cx:pt>
          <cx:pt idx="1897">270.69370730000003</cx:pt>
          <cx:pt idx="1898">270.70940350000001</cx:pt>
          <cx:pt idx="1899">270.71718870000001</cx:pt>
          <cx:pt idx="1900">270.72516250000001</cx:pt>
          <cx:pt idx="1901">270.73288480000002</cx:pt>
          <cx:pt idx="1902">270.76433609999998</cx:pt>
          <cx:pt idx="1903">270.77218420000003</cx:pt>
          <cx:pt idx="1904">270.7801541</cx:pt>
          <cx:pt idx="1905">270.79578739999999</cx:pt>
          <cx:pt idx="1906">270.80375729999997</cx:pt>
          <cx:pt idx="1907">270.81148359999997</cx:pt>
          <cx:pt idx="1908">270.81939449999999</cx:pt>
          <cx:pt idx="1909">270.82730149999998</cx:pt>
          <cx:pt idx="1910">270.8350868</cx:pt>
          <cx:pt idx="1911">270.84305669999998</cx:pt>
          <cx:pt idx="1912">270.85875279999999</cx:pt>
          <cx:pt idx="1913">270.86653799999999</cx:pt>
          <cx:pt idx="1914">270.87451190000002</cx:pt>
          <cx:pt idx="1915">270.88223420000003</cx:pt>
          <cx:pt idx="1916">270.89008230000002</cx:pt>
          <cx:pt idx="1917">270.89799319999997</cx:pt>
          <cx:pt idx="1918">270.9058374</cx:pt>
          <cx:pt idx="1919">270.91368549999999</cx:pt>
          <cx:pt idx="1920">270.92950350000001</cx:pt>
          <cx:pt idx="1921">270.93722969999999</cx:pt>
          <cx:pt idx="1922">270.94526250000001</cx:pt>
          <cx:pt idx="1923">270.95549999999997</cx:pt>
          <cx:pt idx="1924">270.97003960000001</cx:pt>
          <cx:pt idx="1925">270.99063389999998</cx:pt>
          <cx:pt idx="1926">271.01187759999999</cx:pt>
          <cx:pt idx="1927">271.09555369999998</cx:pt>
          <cx:pt idx="1928">271.26354470000001</cx:pt>
          <cx:pt idx="1929">271.28429610000001</cx:pt>
          <cx:pt idx="1930">271.30489039999998</cx:pt>
          <cx:pt idx="1931">271.34688549999998</cx:pt>
          <cx:pt idx="1932">271.36812930000002</cx:pt>
          <cx:pt idx="1933">271.38872359999999</cx:pt>
          <cx:pt idx="1934">271.40964259999998</cx:pt>
          <cx:pt idx="1935">271.45163769999999</cx:pt>
          <cx:pt idx="1936">271.47255669999998</cx:pt>
          <cx:pt idx="1937">271.49395759999999</cx:pt>
          <cx:pt idx="1938">271.53547090000001</cx:pt>
          <cx:pt idx="1939">271.55671460000002</cx:pt>
          <cx:pt idx="1940">271.57730889999999</cx:pt>
          <cx:pt idx="1941">271.61962879999999</cx:pt>
          <cx:pt idx="1942">271.64022299999999</cx:pt>
          <cx:pt idx="1943">271.66146680000003</cx:pt>
          <cx:pt idx="1944">271.70329429999998</cx:pt>
          <cx:pt idx="1945">271.72388860000001</cx:pt>
          <cx:pt idx="1946">271.74513230000002</cx:pt>
          <cx:pt idx="1947">271.78680279999998</cx:pt>
          <cx:pt idx="1948">271.80804649999999</cx:pt>
          <cx:pt idx="1949">271.82864080000002</cx:pt>
          <cx:pt idx="1950">271.87096070000001</cx:pt>
          <cx:pt idx="1951">271.89155490000002</cx:pt>
          <cx:pt idx="1952">271.91247390000001</cx:pt>
          <cx:pt idx="1953">271.95446909999998</cx:pt>
          <cx:pt idx="1954">271.9757128</cx:pt>
          <cx:pt idx="1955">272.01755079999998</cx:pt>
          <cx:pt idx="1956">272.03813459999998</cx:pt>
          <cx:pt idx="1957">272.08014029999998</cx:pt>
          <cx:pt idx="1958">272.10105929999997</cx:pt>
          <cx:pt idx="1959">272.12246010000001</cx:pt>
          <cx:pt idx="1960">272.16413060000002</cx:pt>
          <cx:pt idx="1961">272.20629330000003</cx:pt>
          <cx:pt idx="1962">272.22672</cx:pt>
          <cx:pt idx="1963">272.24796370000001</cx:pt>
          <cx:pt idx="1964">272.2896341</cx:pt>
          <cx:pt idx="1965">272.31087789999998</cx:pt>
          <cx:pt idx="1966">272.33147220000001</cx:pt>
          <cx:pt idx="1967">272.37346730000002</cx:pt>
          <cx:pt idx="1968">272.39438630000001</cx:pt>
          <cx:pt idx="1969">272.4153053</cx:pt>
          <cx:pt idx="1970">272.45714329999998</cx:pt>
          <cx:pt idx="1971">272.47838710000002</cx:pt>
          <cx:pt idx="1972">272.49913850000002</cx:pt>
          <cx:pt idx="1973">272.54130120000002</cx:pt>
          <cx:pt idx="1974">272.56205260000002</cx:pt>
          <cx:pt idx="1975">272.58297160000001</cx:pt>
          <cx:pt idx="1976">272.62480970000001</cx:pt>
          <cx:pt idx="1977">272.64571819999998</cx:pt>
          <cx:pt idx="1978">272.66680480000002</cx:pt>
          <cx:pt idx="1979">272.68804849999998</cx:pt>
          <cx:pt idx="1980">272.7717141</cx:pt>
          <cx:pt idx="1981">272.79280069999999</cx:pt>
          <cx:pt idx="1982">272.83479590000002</cx:pt>
          <cx:pt idx="1983">272.8415</cx:pt>
          <cx:pt idx="1984">272.84184329999999</cx:pt>
          <cx:pt idx="1985">272.84237050000002</cx:pt>
          <cx:pt idx="1986">272.84341710000001</cx:pt>
          <cx:pt idx="1987">272.84394040000001</cx:pt>
          <cx:pt idx="1988">272.84447189999997</cx:pt>
          <cx:pt idx="1989">272.84499099999999</cx:pt>
          <cx:pt idx="1990">272.84603759999999</cx:pt>
          <cx:pt idx="1991">272.84656899999999</cx:pt>
          <cx:pt idx="1992">272.84708419999998</cx:pt>
          <cx:pt idx="1993">272.84813480000003</cx:pt>
          <cx:pt idx="1994">272.84866620000003</cx:pt>
          <cx:pt idx="1995">272.84918140000002</cx:pt>
          <cx:pt idx="1996">272.85023189999998</cx:pt>
          <cx:pt idx="1997">272.85075519999998</cx:pt>
          <cx:pt idx="1998">272.8512867</cx:pt>
          <cx:pt idx="1999">272.85233299999999</cx:pt>
          <cx:pt idx="2000">272.85285240000002</cx:pt>
          <cx:pt idx="2001">272.85337550000003</cx:pt>
          <cx:pt idx="2002">272.85442210000002</cx:pt>
          <cx:pt idx="2003">272.8549577</cx:pt>
          <cx:pt idx="2004">272.85547259999998</cx:pt>
          <cx:pt idx="2005">272.85600399999998</cx:pt>
          <cx:pt idx="2006">272.85704249999998</cx:pt>
          <cx:pt idx="2007">272.85756579999997</cx:pt>
          <cx:pt idx="2008">272.85861640000002</cx:pt>
          <cx:pt idx="2009">272.86280649999998</cx:pt>
          <cx:pt idx="2010">272.863338</cx:pt>
          <cx:pt idx="2011">272.86385730000001</cx:pt>
          <cx:pt idx="2012">272.86490370000001</cx:pt>
          <cx:pt idx="2013">272.86543510000001</cx:pt>
          <cx:pt idx="2014">272.86595449999999</cx:pt>
          <cx:pt idx="2015">272.86647749999997</cx:pt>
          <cx:pt idx="2016">272.86700089999999</cx:pt>
          <cx:pt idx="2017">272.86752419999999</cx:pt>
          <cx:pt idx="2018">272.86805170000002</cx:pt>
          <cx:pt idx="2019">272.86857889999999</cx:pt>
          <cx:pt idx="2020">272.86909800000001</cx:pt>
          <cx:pt idx="2021">272.86962949999997</cx:pt>
          <cx:pt idx="2022">272.8701446</cx:pt>
          <cx:pt idx="2023">272.87119519999999</cx:pt>
          <cx:pt idx="2024">272.87171849999999</cx:pt>
          <cx:pt idx="2025">272.87224179999998</cx:pt>
          <cx:pt idx="2026">272.87329649999998</cx:pt>
          <cx:pt idx="2027">272.87381570000002</cx:pt>
          <cx:pt idx="2028">272.87433900000002</cx:pt>
          <cx:pt idx="2029">272.8753853</cx:pt>
          <cx:pt idx="2030">272.8759086</cx:pt>
          <cx:pt idx="2031">272.87644010000002</cx:pt>
          <cx:pt idx="2032">272.87695939999998</cx:pt>
          <cx:pt idx="2033">272.87748249999999</cx:pt>
          <cx:pt idx="2034">272.87801389999998</cx:pt>
          <cx:pt idx="2035">272.87853330000002</cx:pt>
          <cx:pt idx="2036">272.88062630000002</cx:pt>
          <cx:pt idx="2037">272.88114960000001</cx:pt>
          <cx:pt idx="2038">272.8832549</cx:pt>
          <cx:pt idx="2039">272.88377400000002</cx:pt>
          <cx:pt idx="2040">272.88430540000002</cx:pt>
          <cx:pt idx="2041">272.88535200000001</cx:pt>
          <cx:pt idx="2042">272.8858669</cx:pt>
          <cx:pt idx="2043">272.88639439999997</cx:pt>
          <cx:pt idx="2044">272.88848739999997</cx:pt>
          <cx:pt idx="2045">272.88953800000002</cx:pt>
          <cx:pt idx="2046">272.89006940000002</cx:pt>
          <cx:pt idx="2047">272.89058460000001</cx:pt>
          <cx:pt idx="2048">272.89163120000001</cx:pt>
          <cx:pt idx="2049">272.89215840000003</cx:pt>
          <cx:pt idx="2050">272.89268989999999</cx:pt>
          <cx:pt idx="2051">272.89373649999999</cx:pt>
          <cx:pt idx="2052">272.89425560000001</cx:pt>
          <cx:pt idx="2053">272.89477890000001</cx:pt>
          <cx:pt idx="2054">272.8953022</cx:pt>
          <cx:pt idx="2055">272.8958336</cx:pt>
          <cx:pt idx="2056">272.89634860000001</cx:pt>
          <cx:pt idx="2057">272.89688000000001</cx:pt>
          <cx:pt idx="2058">272.89793079999998</cx:pt>
          <cx:pt idx="2059">272.89844570000002</cx:pt>
          <cx:pt idx="2060">272.89897719999999</cx:pt>
          <cx:pt idx="2061">272.8994965</cx:pt>
          <cx:pt idx="2062">272.90001960000001</cx:pt>
          <cx:pt idx="2063">272.90421809999998</cx:pt>
          <cx:pt idx="2064">272.9047453</cx:pt>
          <cx:pt idx="2065">272.9052605</cx:pt>
          <cx:pt idx="2066">272.90579200000002</cx:pt>
          <cx:pt idx="2067">272.9063069</cx:pt>
          <cx:pt idx="2068">272.9068383</cx:pt>
          <cx:pt idx="2069">272.9073616</cx:pt>
          <cx:pt idx="2070">272.90788099999997</cx:pt>
          <cx:pt idx="2071">272.90840400000002</cx:pt>
          <cx:pt idx="2072">272.90892739999998</cx:pt>
          <cx:pt idx="2073">272.90945879999998</cx:pt>
          <cx:pt idx="2074">272.9105012</cx:pt>
          <cx:pt idx="2075">272.9110245</cx:pt>
          <cx:pt idx="2076">272.91154779999999</cx:pt>
          <cx:pt idx="2077">272.91259839999998</cx:pt>
          <cx:pt idx="2078">272.91312169999998</cx:pt>
          <cx:pt idx="2079">272.91365309999998</cx:pt>
          <cx:pt idx="2080">272.91416829999997</cx:pt>
          <cx:pt idx="2081">272.91469970000003</cx:pt>
          <cx:pt idx="2082">272.91521879999999</cx:pt>
          <cx:pt idx="2083">272.91574220000001</cx:pt>
          <cx:pt idx="2084">272.9167885</cx:pt>
          <cx:pt idx="2085">272.91731600000003</cx:pt>
          <cx:pt idx="2086">272.91784319999999</cx:pt>
          <cx:pt idx="2087">272.91993230000003</cx:pt>
          <cx:pt idx="2088">272.92009999999999</cx:pt>
          <cx:pt idx="2089">272.94046209999999</cx:pt>
          <cx:pt idx="2090">273.00019789999999</cx:pt>
          <cx:pt idx="2091">273.0293757</cx:pt>
          <cx:pt idx="2092">273.05947359999999</cx:pt>
          <cx:pt idx="2093">273.08887399999998</cx:pt>
          <cx:pt idx="2094">273.14814969999998</cx:pt>
          <cx:pt idx="2095">273.17824769999999</cx:pt>
          <cx:pt idx="2096">273.2074106</cx:pt>
          <cx:pt idx="2097">273.32664469999997</cx:pt>
          <cx:pt idx="2098">273.35605989999999</cx:pt>
          <cx:pt idx="2099">273.3856978</cx:pt>
          <cx:pt idx="2100">273.41532080000002</cx:pt>
          <cx:pt idx="2101">273.4454187</cx:pt>
          <cx:pt idx="2102">273.47459650000002</cx:pt>
          <cx:pt idx="2103">273.53455489999999</cx:pt>
          <cx:pt idx="2104">273.5637327</cx:pt>
          <cx:pt idx="2105">273.59383059999999</cx:pt>
          <cx:pt idx="2106">273.6230084</cx:pt>
          <cx:pt idx="2107">273.6825068</cx:pt>
          <cx:pt idx="2108">273.71260469999999</cx:pt>
          <cx:pt idx="2109">273.7417825</cx:pt>
          <cx:pt idx="2110">273.77188039999999</cx:pt>
          <cx:pt idx="2111">273.80128079999997</cx:pt>
          <cx:pt idx="2112">273.83137870000002</cx:pt>
          <cx:pt idx="2113">273.86055649999997</cx:pt>
          <cx:pt idx="2114">273.9198174</cx:pt>
          <cx:pt idx="2115">273.94969270000001</cx:pt>
          <cx:pt idx="2116">273.9797906</cx:pt>
          <cx:pt idx="2117">274.03905150000003</cx:pt>
          <cx:pt idx="2118">274.06822929999998</cx:pt>
          <cx:pt idx="2119">274.1578255</cx:pt>
          <cx:pt idx="2120">274.2171012</cx:pt>
          <cx:pt idx="2121">274.24673910000001</cx:pt>
          <cx:pt idx="2122">274.25599999999997</cx:pt>
          <cx:pt idx="2123">274.42280899999997</cx:pt>
          <cx:pt idx="2124">275.40657659999999</cx:pt>
          <cx:pt idx="2125">275.65586819999999</cx:pt>
          <cx:pt idx="2126">276.14289639999998</cx:pt>
          <cx:pt idx="2127">276.39218799999998</cx:pt>
          <cx:pt idx="2128">276.63963569999999</cx:pt>
          <cx:pt idx="2129">277.13047469999998</cx:pt>
          <cx:pt idx="2130">277.37214490000002</cx:pt>
          <cx:pt idx="2131">277.62143650000002</cx:pt>
          <cx:pt idx="2132">277.86876130000002</cx:pt>
          <cx:pt idx="2133">277.94940000000003</cx:pt>
          <cx:pt idx="2134">277.97474399999999</cx:pt>
          <cx:pt idx="2135">278.01337910000001</cx:pt>
          <cx:pt idx="2136">278.05261389999998</cx:pt>
          <cx:pt idx="2137">278.0906493</cx:pt>
          <cx:pt idx="2138">278.12988410000003</cx:pt>
          <cx:pt idx="2139">278.16820969999998</cx:pt>
          <cx:pt idx="2140">278.20744450000001</cx:pt>
          <cx:pt idx="2141">278.24546049999998</cx:pt>
          <cx:pt idx="2142">278.32304019999998</cx:pt>
          <cx:pt idx="2143">278.36227509999998</cx:pt>
          <cx:pt idx="2144">278.4002911</cx:pt>
          <cx:pt idx="2145">278.478161</cx:pt>
          <cx:pt idx="2146">278.51648649999998</cx:pt>
          <cx:pt idx="2147">278.55572139999998</cx:pt>
          <cx:pt idx="2148">278.67102690000002</cx:pt>
          <cx:pt idx="2149">278.71026180000001</cx:pt>
          <cx:pt idx="2150">278.7485873</cx:pt>
          <cx:pt idx="2151">278.82585749999998</cx:pt>
          <cx:pt idx="2152">278.86509230000001</cx:pt>
          <cx:pt idx="2153">278.90341790000002</cx:pt>
          <cx:pt idx="2154">278.94294289999999</cx:pt>
          <cx:pt idx="2155">279.01930379999999</cx:pt>
          <cx:pt idx="2156">279.05853860000002</cx:pt>
          <cx:pt idx="2157">279.09686420000003</cx:pt>
          <cx:pt idx="2158">279.13549929999999</cx:pt>
          <cx:pt idx="2159">279.21336919999999</cx:pt>
          <cx:pt idx="2160">279.25200430000001</cx:pt>
          <cx:pt idx="2161">279.29032979999999</cx:pt>
          <cx:pt idx="2162">279.36819980000001</cx:pt>
          <cx:pt idx="2163">279.4062351</cx:pt>
          <cx:pt idx="2164">279.44547</cx:pt>
          <cx:pt idx="2165">279.52243060000001</cx:pt>
          <cx:pt idx="2166">279.56104629999999</cx:pt>
          <cx:pt idx="2167">279.60028119999998</cx:pt>
          <cx:pt idx="2168">279.63862610000001</cx:pt>
          <cx:pt idx="2169">279.71647669999999</cx:pt>
          <cx:pt idx="2170">279.75451199999998</cx:pt>
          <cx:pt idx="2171">279.79374680000001</cx:pt>
          <cx:pt idx="2172">279.87070749999998</cx:pt>
          <cx:pt idx="2173">279.9093426</cx:pt>
          <cx:pt idx="2174">279.98661279999999</cx:pt>
          <cx:pt idx="2175">280.02584760000002</cx:pt>
          <cx:pt idx="2176">280.1806588</cx:pt>
          <cx:pt idx="2177">280.2962546</cx:pt>
          <cx:pt idx="2178">280.33579889999999</cx:pt>
          <cx:pt idx="2179">280.37412449999999</cx:pt>
          <cx:pt idx="2180">280.56759010000002</cx:pt>
          <cx:pt idx="2181">280.60591570000003</cx:pt>
          <cx:pt idx="2182">280.64455079999999</cx:pt>
          <cx:pt idx="2183">280.68378560000002</cx:pt>
          <cx:pt idx="2184">280.76043670000001</cx:pt>
          <cx:pt idx="2185">280.79967160000001</cx:pt>
          <cx:pt idx="2186">280.8379971</cx:pt>
          <cx:pt idx="2187">280.91526729999998</cx:pt>
          <cx:pt idx="2188">280.95450210000001</cx:pt>
          <cx:pt idx="2189">280.99282770000002</cx:pt>
          <cx:pt idx="2190">281.07009790000001</cx:pt>
          <cx:pt idx="2191">281.10933269999998</cx:pt>
          <cx:pt idx="2192">281.14736799999997</cx:pt>
          <cx:pt idx="2193">281.22492840000001</cx:pt>
          <cx:pt idx="2194">281.2644535</cx:pt>
          <cx:pt idx="2195">281.30279830000001</cx:pt>
          <cx:pt idx="2196">281.37975899999998</cx:pt>
          <cx:pt idx="2197">281.41899380000001</cx:pt>
          <cx:pt idx="2198">281.45760960000001</cx:pt>
          <cx:pt idx="2199">281.5348798</cx:pt>
          <cx:pt idx="2200">281.57320529999998</cx:pt>
          <cx:pt idx="2201">281.61244010000001</cx:pt>
          <cx:pt idx="2202">281.68911059999999</cx:pt>
          <cx:pt idx="2203">281.72834540000002</cx:pt>
          <cx:pt idx="2204">281.76667099999997</cx:pt>
          <cx:pt idx="2205">281.8053061</cx:pt>
          <cx:pt idx="2206">281.84454090000003</cx:pt>
          <cx:pt idx="2207">281.92179169999997</cx:pt>
          <cx:pt idx="2208">281.9601366</cx:pt>
          <cx:pt idx="2209">281.9987524</cx:pt>
          <cx:pt idx="2210">282.1535829</cx:pt>
          <cx:pt idx="2211">282.1928178</cx:pt>
          <cx:pt idx="2212">282.26948820000001</cx:pt>
          <cx:pt idx="2213">282.30872310000001</cx:pt>
          <cx:pt idx="2214">282.38568370000002</cx:pt>
          <cx:pt idx="2215">282.46355360000001</cx:pt>
          <cx:pt idx="2216">282.50216940000001</cx:pt>
          <cx:pt idx="2217">282.54051429999998</cx:pt>
          <cx:pt idx="2218">282.57974910000002</cx:pt>
          <cx:pt idx="2219">282.61836479999999</cx:pt>
          <cx:pt idx="2220">282.65640020000001</cx:pt>
          <cx:pt idx="2221">282.69563499999998</cx:pt>
          <cx:pt idx="2222">282.73396059999999</cx:pt>
          <cx:pt idx="2223">282.77259570000001</cx:pt>
          <cx:pt idx="2224">282.81183049999999</cx:pt>
          <cx:pt idx="2225">282.8498659</cx:pt>
          <cx:pt idx="2226">282.92773579999999</cx:pt>
          <cx:pt idx="2227">282.96606129999998</cx:pt>
          <cx:pt idx="2228">283.00529619999998</cx:pt>
          <cx:pt idx="2229">283.0433122</cx:pt>
          <cx:pt idx="2230">283.54703869999997</cx:pt>
          <cx:pt idx="2231">283.5856738</cx:pt>
          <cx:pt idx="2232">283.62430890000002</cx:pt>
          <cx:pt idx="2233">283.6626344</cx:pt>
          <cx:pt idx="2234">283.70126950000002</cx:pt>
          <cx:pt idx="2235">283.74050440000002</cx:pt>
          <cx:pt idx="2236">283.8180648</cx:pt>
          <cx:pt idx="2237">283.85608079999997</cx:pt>
          <cx:pt idx="2238">283.8953156</cx:pt>
          <cx:pt idx="2239">283.97258579999999</cx:pt>
          <cx:pt idx="2240">284.01122090000001</cx:pt>
          <cx:pt idx="2241">284.0495464</cx:pt>
          <cx:pt idx="2242">284.12681659999998</cx:pt>
          <cx:pt idx="2243">284.16605140000001</cx:pt>
          <cx:pt idx="2244">284.20468649999998</cx:pt>
          <cx:pt idx="2245">284.24301209999999</cx:pt>
          <cx:pt idx="2246">284.28224690000002</cx:pt>
          <cx:pt idx="2247">284.32026289999999</cx:pt>
          <cx:pt idx="2248">284.35889800000001</cx:pt>
          <cx:pt idx="2249">284.39844240000002</cx:pt>
          <cx:pt idx="2250">284.43645839999999</cx:pt>
          <cx:pt idx="2251">284.47569320000002</cx:pt>
          <cx:pt idx="2252">284.51372859999998</cx:pt>
          <cx:pt idx="2253">284.55296340000001</cx:pt>
          <cx:pt idx="2254">284.59099880000002</cx:pt>
          <cx:pt idx="2255">284.8236799</cx:pt>
          <cx:pt idx="2256">284.86202479999997</cx:pt>
          <cx:pt idx="2257">285.01714559999999</cx:pt>
          <cx:pt idx="2258">285.09470599999997</cx:pt>
          <cx:pt idx="2259">285.13274130000002</cx:pt>
          <cx:pt idx="2260">285.17197609999999</cx:pt>
          <cx:pt idx="2261">285.49340000000001</cx:pt>
          <cx:pt idx="2262">285.49340000000001</cx:pt>
          <cx:pt idx="2263">285.49340000000001</cx:pt>
          <cx:pt idx="2264">285.49340000000001</cx:pt>
          <cx:pt idx="2265">285.49340000000001</cx:pt>
          <cx:pt idx="2266">285.49340000000001</cx:pt>
          <cx:pt idx="2267">285.49340000000001</cx:pt>
          <cx:pt idx="2268">285.49340000000001</cx:pt>
          <cx:pt idx="2269">285.49340000000001</cx:pt>
          <cx:pt idx="2270">285.49340000000001</cx:pt>
          <cx:pt idx="2271">285.49340000000001</cx:pt>
          <cx:pt idx="2272">285.49340000000001</cx:pt>
          <cx:pt idx="2273">285.49340000000001</cx:pt>
          <cx:pt idx="2274">285.49340000000001</cx:pt>
          <cx:pt idx="2275">285.49340000000001</cx:pt>
          <cx:pt idx="2276">285.49340000000001</cx:pt>
          <cx:pt idx="2277">285.49340000000001</cx:pt>
          <cx:pt idx="2278">285.49340000000001</cx:pt>
          <cx:pt idx="2279">285.49340000000001</cx:pt>
          <cx:pt idx="2280">285.49340000000001</cx:pt>
          <cx:pt idx="2281">285.49340000000001</cx:pt>
          <cx:pt idx="2282">285.49340000000001</cx:pt>
          <cx:pt idx="2283">285.49340000000001</cx:pt>
          <cx:pt idx="2284">285.49340000000001</cx:pt>
          <cx:pt idx="2285">285.49340000000001</cx:pt>
          <cx:pt idx="2286">285.49340000000001</cx:pt>
          <cx:pt idx="2287">285.49340000000001</cx:pt>
          <cx:pt idx="2288">285.49340000000001</cx:pt>
          <cx:pt idx="2289">285.49340000000001</cx:pt>
          <cx:pt idx="2290">285.49340000000001</cx:pt>
          <cx:pt idx="2291">285.49340000000001</cx:pt>
          <cx:pt idx="2292">285.49340000000001</cx:pt>
          <cx:pt idx="2293">285.49340000000001</cx:pt>
          <cx:pt idx="2294">285.49340000000001</cx:pt>
          <cx:pt idx="2295">285.49340000000001</cx:pt>
          <cx:pt idx="2296">285.49340000000001</cx:pt>
          <cx:pt idx="2297">285.49340000000001</cx:pt>
          <cx:pt idx="2298">285.49340000000001</cx:pt>
          <cx:pt idx="2299">285.49340000000001</cx:pt>
          <cx:pt idx="2300">285.49340000000001</cx:pt>
          <cx:pt idx="2301">285.49340000000001</cx:pt>
          <cx:pt idx="2302">285.49340000000001</cx:pt>
          <cx:pt idx="2303">285.49340000000001</cx:pt>
          <cx:pt idx="2304">285.49340000000001</cx:pt>
          <cx:pt idx="2305">285.49340000000001</cx:pt>
          <cx:pt idx="2306">285.49340000000001</cx:pt>
          <cx:pt idx="2307">285.49340000000001</cx:pt>
          <cx:pt idx="2308">285.49340000000001</cx:pt>
          <cx:pt idx="2309">285.49340000000001</cx:pt>
          <cx:pt idx="2310">285.49340000000001</cx:pt>
          <cx:pt idx="2311">285.49340000000001</cx:pt>
          <cx:pt idx="2312">285.49340000000001</cx:pt>
          <cx:pt idx="2313">285.49340000000001</cx:pt>
          <cx:pt idx="2314">285.49340000000001</cx:pt>
          <cx:pt idx="2315">285.49340000000001</cx:pt>
          <cx:pt idx="2316">285.49340000000001</cx:pt>
          <cx:pt idx="2317">285.49340000000001</cx:pt>
          <cx:pt idx="2318">285.49340000000001</cx:pt>
          <cx:pt idx="2319">285.49340000000001</cx:pt>
          <cx:pt idx="2320">285.49340000000001</cx:pt>
          <cx:pt idx="2321">285.49340000000001</cx:pt>
          <cx:pt idx="2322">285.49340000000001</cx:pt>
          <cx:pt idx="2323">285.49340000000001</cx:pt>
          <cx:pt idx="2324">285.49340000000001</cx:pt>
          <cx:pt idx="2325">285.49340000000001</cx:pt>
          <cx:pt idx="2326">285.49340000000001</cx:pt>
          <cx:pt idx="2327">285.49340000000001</cx:pt>
          <cx:pt idx="2328">285.49340000000001</cx:pt>
          <cx:pt idx="2329">285.49340000000001</cx:pt>
          <cx:pt idx="2330">285.49340000000001</cx:pt>
          <cx:pt idx="2331">285.49340000000001</cx:pt>
          <cx:pt idx="2332">285.49340000000001</cx:pt>
          <cx:pt idx="2333">285.49340000000001</cx:pt>
          <cx:pt idx="2334">285.49340000000001</cx:pt>
          <cx:pt idx="2335">285.49340000000001</cx:pt>
          <cx:pt idx="2336">285.49340000000001</cx:pt>
          <cx:pt idx="2337">285.49340000000001</cx:pt>
          <cx:pt idx="2338">285.49340000000001</cx:pt>
          <cx:pt idx="2339">285.49340000000001</cx:pt>
          <cx:pt idx="2340">285.49340000000001</cx:pt>
          <cx:pt idx="2341">285.49340000000001</cx:pt>
          <cx:pt idx="2342">285.49340000000001</cx:pt>
          <cx:pt idx="2343">285.49340000000001</cx:pt>
          <cx:pt idx="2344">285.49340000000001</cx:pt>
          <cx:pt idx="2345">285.49340000000001</cx:pt>
          <cx:pt idx="2346">285.49340000000001</cx:pt>
          <cx:pt idx="2347">285.49340000000001</cx:pt>
          <cx:pt idx="2348">285.49340000000001</cx:pt>
          <cx:pt idx="2349">285.49340000000001</cx:pt>
          <cx:pt idx="2350">285.49340000000001</cx:pt>
          <cx:pt idx="2351">285.49340000000001</cx:pt>
          <cx:pt idx="2352">285.49340000000001</cx:pt>
          <cx:pt idx="2353">285.49340000000001</cx:pt>
          <cx:pt idx="2354">285.49340000000001</cx:pt>
          <cx:pt idx="2355">285.49340000000001</cx:pt>
          <cx:pt idx="2356">285.49340000000001</cx:pt>
          <cx:pt idx="2357">285.49340000000001</cx:pt>
          <cx:pt idx="2358">285.49340000000001</cx:pt>
          <cx:pt idx="2359">285.49340000000001</cx:pt>
          <cx:pt idx="2360">285.49340000000001</cx:pt>
          <cx:pt idx="2361">285.49340000000001</cx:pt>
          <cx:pt idx="2362">285.49340000000001</cx:pt>
          <cx:pt idx="2363">285.49340000000001</cx:pt>
          <cx:pt idx="2364">285.49340000000001</cx:pt>
          <cx:pt idx="2365">285.49340000000001</cx:pt>
          <cx:pt idx="2366">285.49340000000001</cx:pt>
          <cx:pt idx="2367">285.49340000000001</cx:pt>
          <cx:pt idx="2368">285.49340000000001</cx:pt>
          <cx:pt idx="2369">285.49340000000001</cx:pt>
          <cx:pt idx="2370">285.49340000000001</cx:pt>
          <cx:pt idx="2371">285.49340000000001</cx:pt>
          <cx:pt idx="2372">285.49340000000001</cx:pt>
          <cx:pt idx="2373">285.49340000000001</cx:pt>
          <cx:pt idx="2374">285.49340000000001</cx:pt>
          <cx:pt idx="2375">285.49340000000001</cx:pt>
          <cx:pt idx="2376">285.49340000000001</cx:pt>
          <cx:pt idx="2377">285.49340000000001</cx:pt>
          <cx:pt idx="2378">285.49340000000001</cx:pt>
          <cx:pt idx="2379">285.49340000000001</cx:pt>
          <cx:pt idx="2380">285.49340000000001</cx:pt>
          <cx:pt idx="2381">285.49340000000001</cx:pt>
          <cx:pt idx="2382">285.49340000000001</cx:pt>
          <cx:pt idx="2383">285.49340000000001</cx:pt>
          <cx:pt idx="2384">285.49340000000001</cx:pt>
          <cx:pt idx="2385">285.49340000000001</cx:pt>
          <cx:pt idx="2386">285.49340000000001</cx:pt>
          <cx:pt idx="2387">285.49340000000001</cx:pt>
          <cx:pt idx="2388">285.49340000000001</cx:pt>
          <cx:pt idx="2389">285.49340000000001</cx:pt>
          <cx:pt idx="2390">285.49340000000001</cx:pt>
          <cx:pt idx="2391">285.49340000000001</cx:pt>
          <cx:pt idx="2392">285.49340000000001</cx:pt>
          <cx:pt idx="2393">285.49340000000001</cx:pt>
          <cx:pt idx="2394">285.49340000000001</cx:pt>
          <cx:pt idx="2395">285.49340000000001</cx:pt>
          <cx:pt idx="2396">285.49340000000001</cx:pt>
          <cx:pt idx="2397">285.49340000000001</cx:pt>
          <cx:pt idx="2398">285.49340000000001</cx:pt>
          <cx:pt idx="2399">285.49340000000001</cx:pt>
          <cx:pt idx="2400">285.49340000000001</cx:pt>
          <cx:pt idx="2401">285.49340000000001</cx:pt>
          <cx:pt idx="2402">285.49340000000001</cx:pt>
          <cx:pt idx="2403">285.49340000000001</cx:pt>
          <cx:pt idx="2404">285.49340000000001</cx:pt>
          <cx:pt idx="2405">285.49340000000001</cx:pt>
          <cx:pt idx="2406">285.49340000000001</cx:pt>
          <cx:pt idx="2407">285.49340000000001</cx:pt>
          <cx:pt idx="2408">285.49340000000001</cx:pt>
          <cx:pt idx="2409">285.49340000000001</cx:pt>
          <cx:pt idx="2410">285.49340000000001</cx:pt>
          <cx:pt idx="2411">285.49340000000001</cx:pt>
          <cx:pt idx="2412">285.49340000000001</cx:pt>
          <cx:pt idx="2413">285.49340000000001</cx:pt>
          <cx:pt idx="2414">285.49340000000001</cx:pt>
          <cx:pt idx="2415">285.49340000000001</cx:pt>
          <cx:pt idx="2416">285.49340000000001</cx:pt>
          <cx:pt idx="2417">285.49340000000001</cx:pt>
          <cx:pt idx="2418">285.49340000000001</cx:pt>
          <cx:pt idx="2419">285.49340000000001</cx:pt>
          <cx:pt idx="2420">285.49340000000001</cx:pt>
          <cx:pt idx="2421">285.49340000000001</cx:pt>
          <cx:pt idx="2422">285.49340000000001</cx:pt>
          <cx:pt idx="2423">285.49340000000001</cx:pt>
          <cx:pt idx="2424">285.49340000000001</cx:pt>
          <cx:pt idx="2425">285.49340000000001</cx:pt>
          <cx:pt idx="2426">285.49340000000001</cx:pt>
          <cx:pt idx="2427">285.49340000000001</cx:pt>
          <cx:pt idx="2428">285.49340000000001</cx:pt>
          <cx:pt idx="2429">285.49340000000001</cx:pt>
          <cx:pt idx="2430">285.49340000000001</cx:pt>
          <cx:pt idx="2431">285.49340000000001</cx:pt>
          <cx:pt idx="2432">285.49340000000001</cx:pt>
          <cx:pt idx="2433">285.49340000000001</cx:pt>
          <cx:pt idx="2434">285.49340000000001</cx:pt>
          <cx:pt idx="2435">285.49340000000001</cx:pt>
          <cx:pt idx="2436">285.49340000000001</cx:pt>
          <cx:pt idx="2437">285.49340000000001</cx:pt>
          <cx:pt idx="2438">285.49340000000001</cx:pt>
          <cx:pt idx="2439">285.49340000000001</cx:pt>
          <cx:pt idx="2440">285.49340000000001</cx:pt>
          <cx:pt idx="2441">285.49340000000001</cx:pt>
          <cx:pt idx="2442">285.49340000000001</cx:pt>
          <cx:pt idx="2443">285.49340000000001</cx:pt>
          <cx:pt idx="2444">285.49340000000001</cx:pt>
          <cx:pt idx="2445">285.49340000000001</cx:pt>
          <cx:pt idx="2446">285.49340000000001</cx:pt>
          <cx:pt idx="2447">285.49340000000001</cx:pt>
          <cx:pt idx="2448">285.49340000000001</cx:pt>
          <cx:pt idx="2449">285.49340000000001</cx:pt>
          <cx:pt idx="2450">285.49340000000001</cx:pt>
          <cx:pt idx="2451">285.49340000000001</cx:pt>
          <cx:pt idx="2452">285.49340000000001</cx:pt>
          <cx:pt idx="2453">285.49340000000001</cx:pt>
          <cx:pt idx="2454">285.49340000000001</cx:pt>
          <cx:pt idx="2455">285.49340000000001</cx:pt>
          <cx:pt idx="2456">285.49340000000001</cx:pt>
          <cx:pt idx="2457">285.49340000000001</cx:pt>
          <cx:pt idx="2458">285.49340000000001</cx:pt>
          <cx:pt idx="2459">285.49340000000001</cx:pt>
          <cx:pt idx="2460">285.49340000000001</cx:pt>
          <cx:pt idx="2461">285.49340000000001</cx:pt>
          <cx:pt idx="2462">285.49340000000001</cx:pt>
          <cx:pt idx="2463">285.49340000000001</cx:pt>
          <cx:pt idx="2464">285.49340000000001</cx:pt>
          <cx:pt idx="2465">285.49340000000001</cx:pt>
          <cx:pt idx="2466">285.49340000000001</cx:pt>
          <cx:pt idx="2467">285.49340000000001</cx:pt>
          <cx:pt idx="2468">285.49340000000001</cx:pt>
          <cx:pt idx="2469">285.49340000000001</cx:pt>
          <cx:pt idx="2470">285.49340000000001</cx:pt>
          <cx:pt idx="2471">285.49340000000001</cx:pt>
          <cx:pt idx="2472">285.49340000000001</cx:pt>
          <cx:pt idx="2473">285.49340000000001</cx:pt>
          <cx:pt idx="2474">285.49340000000001</cx:pt>
          <cx:pt idx="2475">285.49340000000001</cx:pt>
          <cx:pt idx="2476">285.49340000000001</cx:pt>
          <cx:pt idx="2477">285.49340000000001</cx:pt>
          <cx:pt idx="2478">285.49340000000001</cx:pt>
          <cx:pt idx="2479">285.49340000000001</cx:pt>
          <cx:pt idx="2480">285.49340000000001</cx:pt>
          <cx:pt idx="2481">285.49340000000001</cx:pt>
          <cx:pt idx="2482">285.49340000000001</cx:pt>
          <cx:pt idx="2483">285.49340000000001</cx:pt>
          <cx:pt idx="2484">285.49340000000001</cx:pt>
          <cx:pt idx="2485">285.49340000000001</cx:pt>
          <cx:pt idx="2486">285.49340000000001</cx:pt>
          <cx:pt idx="2487">285.49340000000001</cx:pt>
          <cx:pt idx="2488">285.49340000000001</cx:pt>
          <cx:pt idx="2489">285.49340000000001</cx:pt>
          <cx:pt idx="2490">285.49340000000001</cx:pt>
          <cx:pt idx="2491">285.49340000000001</cx:pt>
          <cx:pt idx="2492">285.49340000000001</cx:pt>
          <cx:pt idx="2493">285.49340000000001</cx:pt>
          <cx:pt idx="2494">285.49340000000001</cx:pt>
          <cx:pt idx="2495">285.49340000000001</cx:pt>
          <cx:pt idx="2496">285.49340000000001</cx:pt>
          <cx:pt idx="2497">285.49340000000001</cx:pt>
          <cx:pt idx="2498">285.49340000000001</cx:pt>
          <cx:pt idx="2499">285.49340000000001</cx:pt>
          <cx:pt idx="2500">285.49340000000001</cx:pt>
          <cx:pt idx="2501">285.49340000000001</cx:pt>
          <cx:pt idx="2502">285.49340000000001</cx:pt>
          <cx:pt idx="2503">285.49340000000001</cx:pt>
          <cx:pt idx="2504">285.49340000000001</cx:pt>
          <cx:pt idx="2505">285.49340000000001</cx:pt>
          <cx:pt idx="2506">285.49340000000001</cx:pt>
          <cx:pt idx="2507">285.49340000000001</cx:pt>
          <cx:pt idx="2508">285.49340000000001</cx:pt>
          <cx:pt idx="2509">285.49340000000001</cx:pt>
          <cx:pt idx="2510">285.49340000000001</cx:pt>
          <cx:pt idx="2511">285.49340000000001</cx:pt>
          <cx:pt idx="2512">285.49340000000001</cx:pt>
          <cx:pt idx="2513">285.49340000000001</cx:pt>
          <cx:pt idx="2514">285.49340000000001</cx:pt>
          <cx:pt idx="2515">285.49340000000001</cx:pt>
          <cx:pt idx="2516">285.49340000000001</cx:pt>
          <cx:pt idx="2517">285.49340000000001</cx:pt>
          <cx:pt idx="2518">285.49340000000001</cx:pt>
          <cx:pt idx="2519">285.49340000000001</cx:pt>
          <cx:pt idx="2520">285.49340000000001</cx:pt>
          <cx:pt idx="2521">285.49340000000001</cx:pt>
          <cx:pt idx="2522">285.49340000000001</cx:pt>
          <cx:pt idx="2523">285.49340000000001</cx:pt>
          <cx:pt idx="2524">285.49340000000001</cx:pt>
          <cx:pt idx="2525">285.49340000000001</cx:pt>
          <cx:pt idx="2526">285.49340000000001</cx:pt>
          <cx:pt idx="2527">285.49340000000001</cx:pt>
          <cx:pt idx="2528">285.49340000000001</cx:pt>
          <cx:pt idx="2529">285.49340000000001</cx:pt>
          <cx:pt idx="2530">285.49340000000001</cx:pt>
          <cx:pt idx="2531">285.49340000000001</cx:pt>
          <cx:pt idx="2532">285.49340000000001</cx:pt>
          <cx:pt idx="2533">285.49340000000001</cx:pt>
          <cx:pt idx="2534">285.49340000000001</cx:pt>
          <cx:pt idx="2535">285.49340000000001</cx:pt>
          <cx:pt idx="2536">285.49340000000001</cx:pt>
          <cx:pt idx="2537">285.49340000000001</cx:pt>
          <cx:pt idx="2538">285.49340000000001</cx:pt>
          <cx:pt idx="2539">285.49340000000001</cx:pt>
          <cx:pt idx="2540">285.49340000000001</cx:pt>
          <cx:pt idx="2541">285.49340000000001</cx:pt>
          <cx:pt idx="2542">285.49340000000001</cx:pt>
          <cx:pt idx="2543">285.49340000000001</cx:pt>
          <cx:pt idx="2544">285.49340000000001</cx:pt>
          <cx:pt idx="2545">285.49340000000001</cx:pt>
          <cx:pt idx="2546">285.49340000000001</cx:pt>
          <cx:pt idx="2547">285.49340000000001</cx:pt>
          <cx:pt idx="2548">285.49340000000001</cx:pt>
          <cx:pt idx="2549">285.49340000000001</cx:pt>
          <cx:pt idx="2550">285.49340000000001</cx:pt>
          <cx:pt idx="2551">285.49340000000001</cx:pt>
          <cx:pt idx="2552">285.49340000000001</cx:pt>
          <cx:pt idx="2553">285.49340000000001</cx:pt>
          <cx:pt idx="2554">285.49340000000001</cx:pt>
          <cx:pt idx="2555">285.49340000000001</cx:pt>
          <cx:pt idx="2556">285.49340000000001</cx:pt>
          <cx:pt idx="2557">285.49340000000001</cx:pt>
          <cx:pt idx="2558">285.49340000000001</cx:pt>
          <cx:pt idx="2559">285.49340000000001</cx:pt>
          <cx:pt idx="2560">285.49340000000001</cx:pt>
          <cx:pt idx="2561">285.49340000000001</cx:pt>
          <cx:pt idx="2562">285.49340000000001</cx:pt>
          <cx:pt idx="2563">285.49340000000001</cx:pt>
          <cx:pt idx="2564">285.49340000000001</cx:pt>
          <cx:pt idx="2565">285.49340000000001</cx:pt>
          <cx:pt idx="2566">285.49340000000001</cx:pt>
          <cx:pt idx="2567">285.49340000000001</cx:pt>
          <cx:pt idx="2568">285.49340000000001</cx:pt>
          <cx:pt idx="2569">285.49340000000001</cx:pt>
          <cx:pt idx="2570">285.49340000000001</cx:pt>
          <cx:pt idx="2571">285.49340000000001</cx:pt>
          <cx:pt idx="2572">285.49340000000001</cx:pt>
          <cx:pt idx="2573">285.49340000000001</cx:pt>
          <cx:pt idx="2574">285.49340000000001</cx:pt>
          <cx:pt idx="2575">285.49340000000001</cx:pt>
          <cx:pt idx="2576">285.49340000000001</cx:pt>
          <cx:pt idx="2577">285.49340000000001</cx:pt>
          <cx:pt idx="2578">285.49340000000001</cx:pt>
          <cx:pt idx="2579">285.49340000000001</cx:pt>
          <cx:pt idx="2580">285.49340000000001</cx:pt>
          <cx:pt idx="2581">285.49340000000001</cx:pt>
          <cx:pt idx="2582">285.49340000000001</cx:pt>
          <cx:pt idx="2583">285.49340000000001</cx:pt>
          <cx:pt idx="2584">285.49340000000001</cx:pt>
          <cx:pt idx="2585">285.49340000000001</cx:pt>
          <cx:pt idx="2586">285.49340000000001</cx:pt>
          <cx:pt idx="2587">285.49340000000001</cx:pt>
          <cx:pt idx="2588">285.49340000000001</cx:pt>
          <cx:pt idx="2589">285.49340000000001</cx:pt>
          <cx:pt idx="2590">285.49340000000001</cx:pt>
          <cx:pt idx="2591">285.49340000000001</cx:pt>
          <cx:pt idx="2592">285.49340000000001</cx:pt>
          <cx:pt idx="2593">285.49340000000001</cx:pt>
          <cx:pt idx="2594">285.49340000000001</cx:pt>
          <cx:pt idx="2595">285.49340000000001</cx:pt>
          <cx:pt idx="2596">285.49340000000001</cx:pt>
          <cx:pt idx="2597">285.49340000000001</cx:pt>
          <cx:pt idx="2598">285.49340000000001</cx:pt>
          <cx:pt idx="2599">285.49340000000001</cx:pt>
          <cx:pt idx="2600">285.49340000000001</cx:pt>
          <cx:pt idx="2601">285.49340000000001</cx:pt>
          <cx:pt idx="2602">285.49340000000001</cx:pt>
          <cx:pt idx="2603">285.49340000000001</cx:pt>
          <cx:pt idx="2604">285.49340000000001</cx:pt>
          <cx:pt idx="2605">285.49340000000001</cx:pt>
          <cx:pt idx="2606">285.49340000000001</cx:pt>
          <cx:pt idx="2607">285.49340000000001</cx:pt>
          <cx:pt idx="2608">285.49340000000001</cx:pt>
          <cx:pt idx="2609">285.49340000000001</cx:pt>
          <cx:pt idx="2610">285.49340000000001</cx:pt>
          <cx:pt idx="2611">285.49340000000001</cx:pt>
          <cx:pt idx="2612">285.49340000000001</cx:pt>
          <cx:pt idx="2613">285.49340000000001</cx:pt>
          <cx:pt idx="2614">285.49340000000001</cx:pt>
          <cx:pt idx="2615">285.49340000000001</cx:pt>
          <cx:pt idx="2616">285.49340000000001</cx:pt>
          <cx:pt idx="2617">285.49340000000001</cx:pt>
          <cx:pt idx="2618">285.49340000000001</cx:pt>
          <cx:pt idx="2619">285.49340000000001</cx:pt>
          <cx:pt idx="2620">285.49340000000001</cx:pt>
          <cx:pt idx="2621">285.49340000000001</cx:pt>
          <cx:pt idx="2622">285.49340000000001</cx:pt>
          <cx:pt idx="2623">285.49340000000001</cx:pt>
          <cx:pt idx="2624">285.49340000000001</cx:pt>
          <cx:pt idx="2625">285.49340000000001</cx:pt>
          <cx:pt idx="2626">285.49340000000001</cx:pt>
          <cx:pt idx="2627">285.49340000000001</cx:pt>
          <cx:pt idx="2628">285.49340000000001</cx:pt>
          <cx:pt idx="2629">285.49340000000001</cx:pt>
          <cx:pt idx="2630">285.49340000000001</cx:pt>
          <cx:pt idx="2631">285.49340000000001</cx:pt>
          <cx:pt idx="2632">285.49340000000001</cx:pt>
          <cx:pt idx="2633">285.49340000000001</cx:pt>
          <cx:pt idx="2634">285.49340000000001</cx:pt>
          <cx:pt idx="2635">285.49340000000001</cx:pt>
          <cx:pt idx="2636">285.49340000000001</cx:pt>
          <cx:pt idx="2637">285.49340000000001</cx:pt>
          <cx:pt idx="2638">285.49340000000001</cx:pt>
          <cx:pt idx="2639">285.49340000000001</cx:pt>
          <cx:pt idx="2640">285.49340000000001</cx:pt>
          <cx:pt idx="2641">285.49340000000001</cx:pt>
          <cx:pt idx="2642">285.49340000000001</cx:pt>
          <cx:pt idx="2643">285.49340000000001</cx:pt>
          <cx:pt idx="2644">285.49340000000001</cx:pt>
          <cx:pt idx="2645">285.49340000000001</cx:pt>
          <cx:pt idx="2646">285.49340000000001</cx:pt>
          <cx:pt idx="2647">285.49340000000001</cx:pt>
          <cx:pt idx="2648">285.49340000000001</cx:pt>
          <cx:pt idx="2649">285.49340000000001</cx:pt>
          <cx:pt idx="2650">285.49340000000001</cx:pt>
          <cx:pt idx="2651">285.49340000000001</cx:pt>
          <cx:pt idx="2652">285.49340000000001</cx:pt>
          <cx:pt idx="2653">285.49340000000001</cx:pt>
          <cx:pt idx="2654">285.49340000000001</cx:pt>
          <cx:pt idx="2655">285.49340000000001</cx:pt>
          <cx:pt idx="2656">285.49340000000001</cx:pt>
          <cx:pt idx="2657">285.49340000000001</cx:pt>
          <cx:pt idx="2658">285.49340000000001</cx:pt>
          <cx:pt idx="2659">285.49340000000001</cx:pt>
          <cx:pt idx="2660">285.49340000000001</cx:pt>
          <cx:pt idx="2661">285.49340000000001</cx:pt>
          <cx:pt idx="2662">285.49340000000001</cx:pt>
          <cx:pt idx="2663">285.49340000000001</cx:pt>
          <cx:pt idx="2664">285.49340000000001</cx:pt>
          <cx:pt idx="2665">285.49340000000001</cx:pt>
          <cx:pt idx="2666">285.49340000000001</cx:pt>
          <cx:pt idx="2667">285.49340000000001</cx:pt>
          <cx:pt idx="2668">285.49340000000001</cx:pt>
          <cx:pt idx="2669">285.49340000000001</cx:pt>
          <cx:pt idx="2670">285.49340000000001</cx:pt>
          <cx:pt idx="2671">285.49340000000001</cx:pt>
          <cx:pt idx="2672">285.49340000000001</cx:pt>
          <cx:pt idx="2673">285.49340000000001</cx:pt>
          <cx:pt idx="2674">285.49340000000001</cx:pt>
          <cx:pt idx="2675">285.49340000000001</cx:pt>
          <cx:pt idx="2676">285.49340000000001</cx:pt>
          <cx:pt idx="2677">285.49340000000001</cx:pt>
          <cx:pt idx="2678">285.49340000000001</cx:pt>
          <cx:pt idx="2679">285.49340000000001</cx:pt>
          <cx:pt idx="2680">285.49340000000001</cx:pt>
          <cx:pt idx="2681">285.49340000000001</cx:pt>
          <cx:pt idx="2682">285.49340000000001</cx:pt>
          <cx:pt idx="2683">285.49340000000001</cx:pt>
          <cx:pt idx="2684">285.49340000000001</cx:pt>
          <cx:pt idx="2685">285.49340000000001</cx:pt>
          <cx:pt idx="2686">285.49340000000001</cx:pt>
          <cx:pt idx="2687">285.49340000000001</cx:pt>
          <cx:pt idx="2688">285.49340000000001</cx:pt>
          <cx:pt idx="2689">285.49340000000001</cx:pt>
          <cx:pt idx="2690">285.49340000000001</cx:pt>
          <cx:pt idx="2691">285.49340000000001</cx:pt>
          <cx:pt idx="2692">285.49340000000001</cx:pt>
          <cx:pt idx="2693">285.49340000000001</cx:pt>
          <cx:pt idx="2694">285.49340000000001</cx:pt>
          <cx:pt idx="2695">285.49340000000001</cx:pt>
          <cx:pt idx="2696">285.49340000000001</cx:pt>
          <cx:pt idx="2697">285.49340000000001</cx:pt>
          <cx:pt idx="2698">285.49340000000001</cx:pt>
          <cx:pt idx="2699">285.49340000000001</cx:pt>
          <cx:pt idx="2700">285.49340000000001</cx:pt>
          <cx:pt idx="2701">285.49340000000001</cx:pt>
          <cx:pt idx="2702">285.49340000000001</cx:pt>
          <cx:pt idx="2703">285.49340000000001</cx:pt>
          <cx:pt idx="2704">285.49340000000001</cx:pt>
          <cx:pt idx="2705">285.49340000000001</cx:pt>
          <cx:pt idx="2706">285.49340000000001</cx:pt>
          <cx:pt idx="2707">285.49340000000001</cx:pt>
          <cx:pt idx="2708">285.49340000000001</cx:pt>
          <cx:pt idx="2709">285.49340000000001</cx:pt>
          <cx:pt idx="2710">285.49340000000001</cx:pt>
          <cx:pt idx="2711">285.49340000000001</cx:pt>
          <cx:pt idx="2712">285.49340000000001</cx:pt>
          <cx:pt idx="2713">285.49340000000001</cx:pt>
          <cx:pt idx="2714">285.49340000000001</cx:pt>
          <cx:pt idx="2715">285.49340000000001</cx:pt>
          <cx:pt idx="2716">285.49340000000001</cx:pt>
          <cx:pt idx="2717">285.49340000000001</cx:pt>
          <cx:pt idx="2718">285.49340000000001</cx:pt>
          <cx:pt idx="2719">285.49340000000001</cx:pt>
          <cx:pt idx="2720">285.49340000000001</cx:pt>
          <cx:pt idx="2721">285.49340000000001</cx:pt>
          <cx:pt idx="2722">285.49340000000001</cx:pt>
          <cx:pt idx="2723">285.49340000000001</cx:pt>
          <cx:pt idx="2724">285.49340000000001</cx:pt>
          <cx:pt idx="2725">285.49340000000001</cx:pt>
          <cx:pt idx="2726">285.49340000000001</cx:pt>
          <cx:pt idx="2727">285.49340000000001</cx:pt>
          <cx:pt idx="2728">285.49340000000001</cx:pt>
          <cx:pt idx="2729">285.49340000000001</cx:pt>
          <cx:pt idx="2730">285.49340000000001</cx:pt>
          <cx:pt idx="2731">285.49340000000001</cx:pt>
          <cx:pt idx="2732">285.49340000000001</cx:pt>
          <cx:pt idx="2733">285.49340000000001</cx:pt>
          <cx:pt idx="2734">285.49340000000001</cx:pt>
          <cx:pt idx="2735">285.49340000000001</cx:pt>
          <cx:pt idx="2736">285.49340000000001</cx:pt>
          <cx:pt idx="2737">285.49340000000001</cx:pt>
          <cx:pt idx="2738">285.49340000000001</cx:pt>
          <cx:pt idx="2739">285.49340000000001</cx:pt>
          <cx:pt idx="2740">285.49340000000001</cx:pt>
          <cx:pt idx="2741">285.49340000000001</cx:pt>
          <cx:pt idx="2742">285.49340000000001</cx:pt>
          <cx:pt idx="2743">285.49340000000001</cx:pt>
          <cx:pt idx="2744">285.49340000000001</cx:pt>
          <cx:pt idx="2745">285.49340000000001</cx:pt>
          <cx:pt idx="2746">285.49340000000001</cx:pt>
          <cx:pt idx="2747">285.49340000000001</cx:pt>
          <cx:pt idx="2748">285.49340000000001</cx:pt>
          <cx:pt idx="2749">285.49340000000001</cx:pt>
          <cx:pt idx="2750">285.49340000000001</cx:pt>
          <cx:pt idx="2751">285.49340000000001</cx:pt>
          <cx:pt idx="2752">285.49340000000001</cx:pt>
          <cx:pt idx="2753">285.49340000000001</cx:pt>
          <cx:pt idx="2754">285.49340000000001</cx:pt>
          <cx:pt idx="2755">285.49340000000001</cx:pt>
          <cx:pt idx="2756">285.49340000000001</cx:pt>
          <cx:pt idx="2757">285.49340000000001</cx:pt>
          <cx:pt idx="2758">285.49340000000001</cx:pt>
          <cx:pt idx="2759">285.49340000000001</cx:pt>
          <cx:pt idx="2760">285.49340000000001</cx:pt>
          <cx:pt idx="2761">285.49340000000001</cx:pt>
          <cx:pt idx="2762">285.49340000000001</cx:pt>
          <cx:pt idx="2763">285.49340000000001</cx:pt>
          <cx:pt idx="2764">285.49340000000001</cx:pt>
          <cx:pt idx="2765">285.49340000000001</cx:pt>
          <cx:pt idx="2766">285.49340000000001</cx:pt>
          <cx:pt idx="2767">285.49340000000001</cx:pt>
          <cx:pt idx="2768">285.49340000000001</cx:pt>
          <cx:pt idx="2769">285.49340000000001</cx:pt>
          <cx:pt idx="2770">285.49340000000001</cx:pt>
          <cx:pt idx="2771">285.49340000000001</cx:pt>
          <cx:pt idx="2772">285.49340000000001</cx:pt>
          <cx:pt idx="2773">285.49340000000001</cx:pt>
          <cx:pt idx="2774">285.49340000000001</cx:pt>
          <cx:pt idx="2775">285.49340000000001</cx:pt>
          <cx:pt idx="2776">285.49340000000001</cx:pt>
          <cx:pt idx="2777">285.49340000000001</cx:pt>
          <cx:pt idx="2778">285.49340000000001</cx:pt>
          <cx:pt idx="2779">285.49340000000001</cx:pt>
          <cx:pt idx="2780">285.49340000000001</cx:pt>
          <cx:pt idx="2781">285.49340000000001</cx:pt>
          <cx:pt idx="2782">285.49340000000001</cx:pt>
          <cx:pt idx="2783">285.49340000000001</cx:pt>
          <cx:pt idx="2784">285.49340000000001</cx:pt>
          <cx:pt idx="2785">285.49340000000001</cx:pt>
          <cx:pt idx="2786">285.49340000000001</cx:pt>
          <cx:pt idx="2787">285.49340000000001</cx:pt>
          <cx:pt idx="2788">285.49340000000001</cx:pt>
          <cx:pt idx="2789">285.49340000000001</cx:pt>
          <cx:pt idx="2790">285.49340000000001</cx:pt>
          <cx:pt idx="2791">285.49340000000001</cx:pt>
          <cx:pt idx="2792">285.49340000000001</cx:pt>
          <cx:pt idx="2793">285.49340000000001</cx:pt>
          <cx:pt idx="2794">285.49340000000001</cx:pt>
          <cx:pt idx="2795">285.49340000000001</cx:pt>
          <cx:pt idx="2796">285.49340000000001</cx:pt>
          <cx:pt idx="2797">285.49340000000001</cx:pt>
          <cx:pt idx="2798">285.49340000000001</cx:pt>
          <cx:pt idx="2799">285.49340000000001</cx:pt>
          <cx:pt idx="2800">285.49340000000001</cx:pt>
          <cx:pt idx="2801">285.49340000000001</cx:pt>
          <cx:pt idx="2802">285.49340000000001</cx:pt>
          <cx:pt idx="2803">285.49340000000001</cx:pt>
          <cx:pt idx="2804">285.49340000000001</cx:pt>
          <cx:pt idx="2805">285.49340000000001</cx:pt>
          <cx:pt idx="2806">285.49340000000001</cx:pt>
          <cx:pt idx="2807">285.49340000000001</cx:pt>
          <cx:pt idx="2808">285.49340000000001</cx:pt>
          <cx:pt idx="2809">285.49340000000001</cx:pt>
          <cx:pt idx="2810">285.49340000000001</cx:pt>
          <cx:pt idx="2811">285.49340000000001</cx:pt>
          <cx:pt idx="2812">285.49340000000001</cx:pt>
          <cx:pt idx="2813">285.49340000000001</cx:pt>
          <cx:pt idx="2814">285.49340000000001</cx:pt>
          <cx:pt idx="2815">285.49340000000001</cx:pt>
          <cx:pt idx="2816">285.49340000000001</cx:pt>
          <cx:pt idx="2817">285.49340000000001</cx:pt>
          <cx:pt idx="2818">285.49340000000001</cx:pt>
          <cx:pt idx="2819">285.49340000000001</cx:pt>
          <cx:pt idx="2820">285.49340000000001</cx:pt>
          <cx:pt idx="2821">285.49340000000001</cx:pt>
          <cx:pt idx="2822">285.49340000000001</cx:pt>
          <cx:pt idx="2823">285.49340000000001</cx:pt>
          <cx:pt idx="2824">285.49340000000001</cx:pt>
          <cx:pt idx="2825">285.49340000000001</cx:pt>
          <cx:pt idx="2826">285.49340000000001</cx:pt>
          <cx:pt idx="2827">285.49340000000001</cx:pt>
          <cx:pt idx="2828">285.49340000000001</cx:pt>
          <cx:pt idx="2829">285.49340000000001</cx:pt>
          <cx:pt idx="2830">285.49340000000001</cx:pt>
          <cx:pt idx="2831">285.49340000000001</cx:pt>
          <cx:pt idx="2832">285.49340000000001</cx:pt>
          <cx:pt idx="2833">285.49340000000001</cx:pt>
          <cx:pt idx="2834">285.49340000000001</cx:pt>
          <cx:pt idx="2835">285.49340000000001</cx:pt>
          <cx:pt idx="2836">285.49340000000001</cx:pt>
          <cx:pt idx="2837">285.49340000000001</cx:pt>
          <cx:pt idx="2838">285.49340000000001</cx:pt>
          <cx:pt idx="2839">285.49340000000001</cx:pt>
          <cx:pt idx="2840">285.49340000000001</cx:pt>
          <cx:pt idx="2841">285.49340000000001</cx:pt>
          <cx:pt idx="2842">285.49340000000001</cx:pt>
          <cx:pt idx="2843">285.49340000000001</cx:pt>
          <cx:pt idx="2844">285.49340000000001</cx:pt>
          <cx:pt idx="2845">285.49340000000001</cx:pt>
          <cx:pt idx="2846">285.49340000000001</cx:pt>
          <cx:pt idx="2847">285.49340000000001</cx:pt>
          <cx:pt idx="2848">285.49340000000001</cx:pt>
          <cx:pt idx="2849">285.49340000000001</cx:pt>
          <cx:pt idx="2850">285.49340000000001</cx:pt>
          <cx:pt idx="2851">285.49340000000001</cx:pt>
          <cx:pt idx="2852">285.49340000000001</cx:pt>
          <cx:pt idx="2853">285.49340000000001</cx:pt>
          <cx:pt idx="2854">285.49340000000001</cx:pt>
          <cx:pt idx="2855">285.49340000000001</cx:pt>
          <cx:pt idx="2856">285.49340000000001</cx:pt>
          <cx:pt idx="2857">285.49340000000001</cx:pt>
          <cx:pt idx="2858">285.49340000000001</cx:pt>
          <cx:pt idx="2859">285.49340000000001</cx:pt>
          <cx:pt idx="2860">285.49340000000001</cx:pt>
          <cx:pt idx="2861">285.49340000000001</cx:pt>
          <cx:pt idx="2862">285.49340000000001</cx:pt>
          <cx:pt idx="2863">285.49340000000001</cx:pt>
          <cx:pt idx="2864">285.49340000000001</cx:pt>
          <cx:pt idx="2865">285.49340000000001</cx:pt>
          <cx:pt idx="2866">285.49340000000001</cx:pt>
          <cx:pt idx="2867">285.49340000000001</cx:pt>
          <cx:pt idx="2868">285.49340000000001</cx:pt>
          <cx:pt idx="2869">285.49340000000001</cx:pt>
          <cx:pt idx="2870">285.49340000000001</cx:pt>
          <cx:pt idx="2871">285.49340000000001</cx:pt>
          <cx:pt idx="2872">285.49340000000001</cx:pt>
          <cx:pt idx="2873">285.49340000000001</cx:pt>
          <cx:pt idx="2874">285.49340000000001</cx:pt>
          <cx:pt idx="2875">285.49340000000001</cx:pt>
          <cx:pt idx="2876">285.49340000000001</cx:pt>
          <cx:pt idx="2877">285.49340000000001</cx:pt>
          <cx:pt idx="2878">285.49340000000001</cx:pt>
          <cx:pt idx="2879">285.49340000000001</cx:pt>
          <cx:pt idx="2880">285.49340000000001</cx:pt>
          <cx:pt idx="2881">285.49340000000001</cx:pt>
          <cx:pt idx="2882">285.49340000000001</cx:pt>
          <cx:pt idx="2883">285.49340000000001</cx:pt>
          <cx:pt idx="2884">285.49340000000001</cx:pt>
          <cx:pt idx="2885">285.49340000000001</cx:pt>
          <cx:pt idx="2886">285.49340000000001</cx:pt>
          <cx:pt idx="2887">285.49340000000001</cx:pt>
          <cx:pt idx="2888">285.49340000000001</cx:pt>
          <cx:pt idx="2889">285.49340000000001</cx:pt>
          <cx:pt idx="2890">285.49340000000001</cx:pt>
          <cx:pt idx="2891">285.49340000000001</cx:pt>
          <cx:pt idx="2892">285.49340000000001</cx:pt>
          <cx:pt idx="2893">285.49340000000001</cx:pt>
          <cx:pt idx="2894">285.49340000000001</cx:pt>
          <cx:pt idx="2895">285.49340000000001</cx:pt>
          <cx:pt idx="2896">285.49340000000001</cx:pt>
          <cx:pt idx="2897">285.49340000000001</cx:pt>
          <cx:pt idx="2898">285.49340000000001</cx:pt>
          <cx:pt idx="2899">285.49340000000001</cx:pt>
          <cx:pt idx="2900">285.49340000000001</cx:pt>
          <cx:pt idx="2901">285.49340000000001</cx:pt>
          <cx:pt idx="2902">285.49340000000001</cx:pt>
          <cx:pt idx="2903">285.49340000000001</cx:pt>
          <cx:pt idx="2904">285.49340000000001</cx:pt>
          <cx:pt idx="2905">285.49340000000001</cx:pt>
          <cx:pt idx="2906">285.49340000000001</cx:pt>
          <cx:pt idx="2907">285.49340000000001</cx:pt>
          <cx:pt idx="2908">285.49340000000001</cx:pt>
          <cx:pt idx="2909">285.49340000000001</cx:pt>
          <cx:pt idx="2910">285.49340000000001</cx:pt>
          <cx:pt idx="2911">285.49340000000001</cx:pt>
          <cx:pt idx="2912">285.49340000000001</cx:pt>
          <cx:pt idx="2913">285.49340000000001</cx:pt>
          <cx:pt idx="2914">285.49340000000001</cx:pt>
          <cx:pt idx="2915">285.49340000000001</cx:pt>
          <cx:pt idx="2916">285.49340000000001</cx:pt>
          <cx:pt idx="2917">285.49340000000001</cx:pt>
          <cx:pt idx="2918">285.49340000000001</cx:pt>
          <cx:pt idx="2919">285.49340000000001</cx:pt>
          <cx:pt idx="2920">285.49340000000001</cx:pt>
          <cx:pt idx="2921">285.49340000000001</cx:pt>
          <cx:pt idx="2922">285.49340000000001</cx:pt>
          <cx:pt idx="2923">285.49340000000001</cx:pt>
          <cx:pt idx="2924">285.49340000000001</cx:pt>
          <cx:pt idx="2925">285.49340000000001</cx:pt>
          <cx:pt idx="2926">285.49340000000001</cx:pt>
          <cx:pt idx="2927">285.49340000000001</cx:pt>
          <cx:pt idx="2928">285.49340000000001</cx:pt>
          <cx:pt idx="2929">285.49340000000001</cx:pt>
          <cx:pt idx="2930">285.49340000000001</cx:pt>
          <cx:pt idx="2931">285.49340000000001</cx:pt>
          <cx:pt idx="2932">285.49340000000001</cx:pt>
          <cx:pt idx="2933">285.49340000000001</cx:pt>
          <cx:pt idx="2934">285.49340000000001</cx:pt>
          <cx:pt idx="2935">285.49340000000001</cx:pt>
          <cx:pt idx="2936">285.49340000000001</cx:pt>
          <cx:pt idx="2937">285.49340000000001</cx:pt>
          <cx:pt idx="2938">285.49340000000001</cx:pt>
          <cx:pt idx="2939">285.49340000000001</cx:pt>
          <cx:pt idx="2940">285.49340000000001</cx:pt>
          <cx:pt idx="2941">285.49340000000001</cx:pt>
          <cx:pt idx="2942">285.49340000000001</cx:pt>
          <cx:pt idx="2943">285.49340000000001</cx:pt>
          <cx:pt idx="2944">285.49340000000001</cx:pt>
          <cx:pt idx="2945">285.49340000000001</cx:pt>
          <cx:pt idx="2946">285.49340000000001</cx:pt>
          <cx:pt idx="2947">285.49340000000001</cx:pt>
          <cx:pt idx="2948">285.49340000000001</cx:pt>
          <cx:pt idx="2949">285.49340000000001</cx:pt>
          <cx:pt idx="2950">285.49340000000001</cx:pt>
          <cx:pt idx="2951">285.49340000000001</cx:pt>
          <cx:pt idx="2952">285.49340000000001</cx:pt>
          <cx:pt idx="2953">285.49340000000001</cx:pt>
          <cx:pt idx="2954">285.49340000000001</cx:pt>
          <cx:pt idx="2955">285.49340000000001</cx:pt>
          <cx:pt idx="2956">285.49340000000001</cx:pt>
          <cx:pt idx="2957">285.49340000000001</cx:pt>
          <cx:pt idx="2958">285.49340000000001</cx:pt>
          <cx:pt idx="2959">285.49340000000001</cx:pt>
          <cx:pt idx="2960">285.49340000000001</cx:pt>
          <cx:pt idx="2961">285.49340000000001</cx:pt>
          <cx:pt idx="2962">285.49340000000001</cx:pt>
          <cx:pt idx="2963">285.49340000000001</cx:pt>
          <cx:pt idx="2964">285.49340000000001</cx:pt>
          <cx:pt idx="2965">285.49340000000001</cx:pt>
          <cx:pt idx="2966">285.49340000000001</cx:pt>
          <cx:pt idx="2967">285.49340000000001</cx:pt>
          <cx:pt idx="2968">285.49340000000001</cx:pt>
          <cx:pt idx="2969">285.49340000000001</cx:pt>
          <cx:pt idx="2970">285.49340000000001</cx:pt>
          <cx:pt idx="2971">285.49340000000001</cx:pt>
          <cx:pt idx="2972">285.49340000000001</cx:pt>
          <cx:pt idx="2973">285.49340000000001</cx:pt>
          <cx:pt idx="2974">285.49340000000001</cx:pt>
          <cx:pt idx="2975">285.49340000000001</cx:pt>
          <cx:pt idx="2976">285.49340000000001</cx:pt>
          <cx:pt idx="2977">285.49340000000001</cx:pt>
          <cx:pt idx="2978">285.49340000000001</cx:pt>
          <cx:pt idx="2979">285.49340000000001</cx:pt>
          <cx:pt idx="2980">285.49340000000001</cx:pt>
          <cx:pt idx="2981">285.49340000000001</cx:pt>
          <cx:pt idx="2982">285.49340000000001</cx:pt>
          <cx:pt idx="2983">285.49340000000001</cx:pt>
          <cx:pt idx="2984">285.49340000000001</cx:pt>
          <cx:pt idx="2985">285.49340000000001</cx:pt>
          <cx:pt idx="2986">285.49340000000001</cx:pt>
          <cx:pt idx="2987">285.49340000000001</cx:pt>
          <cx:pt idx="2988">285.49340000000001</cx:pt>
          <cx:pt idx="2989">285.49340000000001</cx:pt>
          <cx:pt idx="2990">285.49340000000001</cx:pt>
          <cx:pt idx="2991">285.49340000000001</cx:pt>
          <cx:pt idx="2992">285.49340000000001</cx:pt>
          <cx:pt idx="2993">285.49340000000001</cx:pt>
          <cx:pt idx="2994">285.49340000000001</cx:pt>
          <cx:pt idx="2995">285.49340000000001</cx:pt>
          <cx:pt idx="2996">285.49340000000001</cx:pt>
          <cx:pt idx="2997">285.49340000000001</cx:pt>
          <cx:pt idx="2998">285.49340000000001</cx:pt>
          <cx:pt idx="2999">285.49340000000001</cx:pt>
          <cx:pt idx="3000">285.49340000000001</cx:pt>
          <cx:pt idx="3001">285.49340000000001</cx:pt>
          <cx:pt idx="3002">285.49340000000001</cx:pt>
          <cx:pt idx="3003">285.49340000000001</cx:pt>
          <cx:pt idx="3004">285.49340000000001</cx:pt>
          <cx:pt idx="3005">285.49340000000001</cx:pt>
          <cx:pt idx="3006">285.49340000000001</cx:pt>
          <cx:pt idx="3007">285.49340000000001</cx:pt>
          <cx:pt idx="3008">285.49340000000001</cx:pt>
          <cx:pt idx="3009">285.49340000000001</cx:pt>
          <cx:pt idx="3010">285.49340000000001</cx:pt>
          <cx:pt idx="3011">285.49340000000001</cx:pt>
          <cx:pt idx="3012">285.49340000000001</cx:pt>
          <cx:pt idx="3013">285.49340000000001</cx:pt>
          <cx:pt idx="3014">285.49340000000001</cx:pt>
          <cx:pt idx="3015">285.49340000000001</cx:pt>
          <cx:pt idx="3016">285.49340000000001</cx:pt>
          <cx:pt idx="3017">285.49340000000001</cx:pt>
          <cx:pt idx="3018">285.49340000000001</cx:pt>
          <cx:pt idx="3019">285.49340000000001</cx:pt>
          <cx:pt idx="3020">285.49340000000001</cx:pt>
          <cx:pt idx="3021">285.49340000000001</cx:pt>
          <cx:pt idx="3022">285.49340000000001</cx:pt>
          <cx:pt idx="3023">285.49340000000001</cx:pt>
          <cx:pt idx="3024">285.49340000000001</cx:pt>
          <cx:pt idx="3025">285.49340000000001</cx:pt>
          <cx:pt idx="3026">285.49340000000001</cx:pt>
          <cx:pt idx="3027">285.49340000000001</cx:pt>
          <cx:pt idx="3028">285.49340000000001</cx:pt>
          <cx:pt idx="3029">285.49340000000001</cx:pt>
          <cx:pt idx="3030">285.49340000000001</cx:pt>
          <cx:pt idx="3031">285.49340000000001</cx:pt>
          <cx:pt idx="3032">285.49340000000001</cx:pt>
          <cx:pt idx="3033">285.49340000000001</cx:pt>
          <cx:pt idx="3034">285.49340000000001</cx:pt>
          <cx:pt idx="3035">285.49340000000001</cx:pt>
          <cx:pt idx="3036">285.49340000000001</cx:pt>
          <cx:pt idx="3037">285.49340000000001</cx:pt>
          <cx:pt idx="3038">285.49340000000001</cx:pt>
          <cx:pt idx="3039">285.49340000000001</cx:pt>
          <cx:pt idx="3040">285.49340000000001</cx:pt>
          <cx:pt idx="3041">285.49340000000001</cx:pt>
          <cx:pt idx="3042">285.49340000000001</cx:pt>
          <cx:pt idx="3043">285.49340000000001</cx:pt>
          <cx:pt idx="3044">285.49340000000001</cx:pt>
          <cx:pt idx="3045">285.49340000000001</cx:pt>
          <cx:pt idx="3046">285.49340000000001</cx:pt>
          <cx:pt idx="3047">285.49340000000001</cx:pt>
          <cx:pt idx="3048">285.49340000000001</cx:pt>
          <cx:pt idx="3049">285.49340000000001</cx:pt>
          <cx:pt idx="3050">285.49340000000001</cx:pt>
          <cx:pt idx="3051">285.49340000000001</cx:pt>
          <cx:pt idx="3052">285.49340000000001</cx:pt>
          <cx:pt idx="3053">285.49340000000001</cx:pt>
          <cx:pt idx="3054">285.49340000000001</cx:pt>
          <cx:pt idx="3055">285.49340000000001</cx:pt>
          <cx:pt idx="3056">285.49340000000001</cx:pt>
          <cx:pt idx="3057">285.49340000000001</cx:pt>
          <cx:pt idx="3058">285.49340000000001</cx:pt>
          <cx:pt idx="3059">285.49340000000001</cx:pt>
          <cx:pt idx="3060">285.49340000000001</cx:pt>
          <cx:pt idx="3061">285.49340000000001</cx:pt>
          <cx:pt idx="3062">285.49340000000001</cx:pt>
          <cx:pt idx="3063">285.49340000000001</cx:pt>
          <cx:pt idx="3064">285.49340000000001</cx:pt>
          <cx:pt idx="3065">285.49340000000001</cx:pt>
          <cx:pt idx="3066">285.49340000000001</cx:pt>
          <cx:pt idx="3067">285.49340000000001</cx:pt>
          <cx:pt idx="3068">285.49340000000001</cx:pt>
          <cx:pt idx="3069">285.49340000000001</cx:pt>
          <cx:pt idx="3070">285.49340000000001</cx:pt>
          <cx:pt idx="3071">285.49340000000001</cx:pt>
          <cx:pt idx="3072">285.49340000000001</cx:pt>
          <cx:pt idx="3073">285.49340000000001</cx:pt>
          <cx:pt idx="3074">285.49340000000001</cx:pt>
          <cx:pt idx="3075">285.49340000000001</cx:pt>
          <cx:pt idx="3076">285.49340000000001</cx:pt>
          <cx:pt idx="3077">285.49340000000001</cx:pt>
          <cx:pt idx="3078">285.49340000000001</cx:pt>
          <cx:pt idx="3079">285.49340000000001</cx:pt>
          <cx:pt idx="3080">285.49340000000001</cx:pt>
          <cx:pt idx="3081">285.49340000000001</cx:pt>
          <cx:pt idx="3082">285.49340000000001</cx:pt>
          <cx:pt idx="3083">285.49340000000001</cx:pt>
          <cx:pt idx="3084">285.49340000000001</cx:pt>
          <cx:pt idx="3085">285.49340000000001</cx:pt>
          <cx:pt idx="3086">285.49340000000001</cx:pt>
          <cx:pt idx="3087">285.49340000000001</cx:pt>
          <cx:pt idx="3088">285.49340000000001</cx:pt>
          <cx:pt idx="3089">285.49340000000001</cx:pt>
          <cx:pt idx="3090">285.49340000000001</cx:pt>
          <cx:pt idx="3091">285.49340000000001</cx:pt>
          <cx:pt idx="3092">285.49340000000001</cx:pt>
          <cx:pt idx="3093">285.49340000000001</cx:pt>
          <cx:pt idx="3094">285.49340000000001</cx:pt>
          <cx:pt idx="3095">285.49340000000001</cx:pt>
          <cx:pt idx="3096">285.49340000000001</cx:pt>
          <cx:pt idx="3097">285.49340000000001</cx:pt>
          <cx:pt idx="3098">285.49340000000001</cx:pt>
          <cx:pt idx="3099">285.49340000000001</cx:pt>
          <cx:pt idx="3100">285.49340000000001</cx:pt>
          <cx:pt idx="3101">285.49340000000001</cx:pt>
          <cx:pt idx="3102">285.49340000000001</cx:pt>
          <cx:pt idx="3103">285.49340000000001</cx:pt>
          <cx:pt idx="3104">285.49340000000001</cx:pt>
          <cx:pt idx="3105">285.49340000000001</cx:pt>
          <cx:pt idx="3106">285.49340000000001</cx:pt>
          <cx:pt idx="3107">285.49340000000001</cx:pt>
          <cx:pt idx="3108">285.49340000000001</cx:pt>
          <cx:pt idx="3109">285.49340000000001</cx:pt>
          <cx:pt idx="3110">285.49340000000001</cx:pt>
          <cx:pt idx="3111">285.49340000000001</cx:pt>
          <cx:pt idx="3112">285.49340000000001</cx:pt>
          <cx:pt idx="3113">285.49340000000001</cx:pt>
          <cx:pt idx="3114">285.49340000000001</cx:pt>
          <cx:pt idx="3115">285.49340000000001</cx:pt>
          <cx:pt idx="3116">285.49340000000001</cx:pt>
          <cx:pt idx="3117">285.49340000000001</cx:pt>
          <cx:pt idx="3118">285.49340000000001</cx:pt>
          <cx:pt idx="3119">285.49340000000001</cx:pt>
          <cx:pt idx="3120">285.49340000000001</cx:pt>
          <cx:pt idx="3121">285.49340000000001</cx:pt>
          <cx:pt idx="3122">285.49340000000001</cx:pt>
          <cx:pt idx="3123">285.49340000000001</cx:pt>
          <cx:pt idx="3124">285.49340000000001</cx:pt>
          <cx:pt idx="3125">285.49340000000001</cx:pt>
          <cx:pt idx="3126">285.49340000000001</cx:pt>
          <cx:pt idx="3127">285.49340000000001</cx:pt>
          <cx:pt idx="3128">285.49340000000001</cx:pt>
          <cx:pt idx="3129">285.49340000000001</cx:pt>
          <cx:pt idx="3130">285.49340000000001</cx:pt>
          <cx:pt idx="3131">285.49340000000001</cx:pt>
          <cx:pt idx="3132">285.49340000000001</cx:pt>
          <cx:pt idx="3133">285.49340000000001</cx:pt>
          <cx:pt idx="3134">285.49340000000001</cx:pt>
          <cx:pt idx="3135">285.49340000000001</cx:pt>
          <cx:pt idx="3136">285.49340000000001</cx:pt>
          <cx:pt idx="3137">285.49340000000001</cx:pt>
          <cx:pt idx="3138">285.49340000000001</cx:pt>
          <cx:pt idx="3139">285.49340000000001</cx:pt>
          <cx:pt idx="3140">285.49340000000001</cx:pt>
          <cx:pt idx="3141">285.49340000000001</cx:pt>
          <cx:pt idx="3142">285.49340000000001</cx:pt>
          <cx:pt idx="3143">285.49340000000001</cx:pt>
          <cx:pt idx="3144">285.49340000000001</cx:pt>
          <cx:pt idx="3145">285.49340000000001</cx:pt>
          <cx:pt idx="3146">285.49340000000001</cx:pt>
          <cx:pt idx="3147">285.49340000000001</cx:pt>
          <cx:pt idx="3148">285.49340000000001</cx:pt>
          <cx:pt idx="3149">285.49340000000001</cx:pt>
          <cx:pt idx="3150">285.49340000000001</cx:pt>
          <cx:pt idx="3151">285.49340000000001</cx:pt>
          <cx:pt idx="3152">285.49340000000001</cx:pt>
          <cx:pt idx="3153">285.49340000000001</cx:pt>
          <cx:pt idx="3154">285.49340000000001</cx:pt>
          <cx:pt idx="3155">285.49340000000001</cx:pt>
          <cx:pt idx="3156">285.49340000000001</cx:pt>
          <cx:pt idx="3157">285.49340000000001</cx:pt>
          <cx:pt idx="3158">285.49340000000001</cx:pt>
          <cx:pt idx="3159">285.49340000000001</cx:pt>
          <cx:pt idx="3160">285.49340000000001</cx:pt>
          <cx:pt idx="3161">285.49340000000001</cx:pt>
          <cx:pt idx="3162">285.49340000000001</cx:pt>
          <cx:pt idx="3163">285.49340000000001</cx:pt>
          <cx:pt idx="3164">285.49340000000001</cx:pt>
          <cx:pt idx="3165">285.49340000000001</cx:pt>
          <cx:pt idx="3166">285.49340000000001</cx:pt>
          <cx:pt idx="3167">285.49340000000001</cx:pt>
          <cx:pt idx="3168">285.49340000000001</cx:pt>
          <cx:pt idx="3169">285.49340000000001</cx:pt>
          <cx:pt idx="3170">285.49340000000001</cx:pt>
          <cx:pt idx="3171">285.49340000000001</cx:pt>
          <cx:pt idx="3172">285.49340000000001</cx:pt>
          <cx:pt idx="3173">285.49340000000001</cx:pt>
          <cx:pt idx="3174">285.49340000000001</cx:pt>
          <cx:pt idx="3175">285.49340000000001</cx:pt>
          <cx:pt idx="3176">285.49340000000001</cx:pt>
          <cx:pt idx="3177">285.49340000000001</cx:pt>
          <cx:pt idx="3178">285.49340000000001</cx:pt>
          <cx:pt idx="3179">285.49340000000001</cx:pt>
          <cx:pt idx="3180">285.49340000000001</cx:pt>
          <cx:pt idx="3181">285.49340000000001</cx:pt>
          <cx:pt idx="3182">285.49340000000001</cx:pt>
          <cx:pt idx="3183">285.49340000000001</cx:pt>
          <cx:pt idx="3184">285.49340000000001</cx:pt>
          <cx:pt idx="3185">285.49340000000001</cx:pt>
          <cx:pt idx="3186">285.49340000000001</cx:pt>
          <cx:pt idx="3187">285.49340000000001</cx:pt>
          <cx:pt idx="3188">285.49340000000001</cx:pt>
          <cx:pt idx="3189">285.49340000000001</cx:pt>
          <cx:pt idx="3190">285.49340000000001</cx:pt>
          <cx:pt idx="3191">285.49340000000001</cx:pt>
          <cx:pt idx="3192">285.49340000000001</cx:pt>
          <cx:pt idx="3193">285.49340000000001</cx:pt>
          <cx:pt idx="3194">285.49340000000001</cx:pt>
          <cx:pt idx="3195">285.49340000000001</cx:pt>
          <cx:pt idx="3196">285.49340000000001</cx:pt>
          <cx:pt idx="3197">285.49340000000001</cx:pt>
          <cx:pt idx="3198">285.49340000000001</cx:pt>
          <cx:pt idx="3199">285.49340000000001</cx:pt>
          <cx:pt idx="3200">285.49340000000001</cx:pt>
          <cx:pt idx="3201">285.49340000000001</cx:pt>
          <cx:pt idx="3202">285.49340000000001</cx:pt>
          <cx:pt idx="3203">285.49340000000001</cx:pt>
          <cx:pt idx="3204">285.49340000000001</cx:pt>
          <cx:pt idx="3205">285.49340000000001</cx:pt>
          <cx:pt idx="3206">285.49340000000001</cx:pt>
          <cx:pt idx="3207">285.49340000000001</cx:pt>
          <cx:pt idx="3208">285.49340000000001</cx:pt>
          <cx:pt idx="3209">285.49340000000001</cx:pt>
          <cx:pt idx="3210">285.49340000000001</cx:pt>
          <cx:pt idx="3211">285.49340000000001</cx:pt>
          <cx:pt idx="3212">285.49340000000001</cx:pt>
          <cx:pt idx="3213">285.49340000000001</cx:pt>
          <cx:pt idx="3214">285.49340000000001</cx:pt>
          <cx:pt idx="3215">285.49340000000001</cx:pt>
          <cx:pt idx="3216">285.49340000000001</cx:pt>
          <cx:pt idx="3217">285.49340000000001</cx:pt>
          <cx:pt idx="3218">285.49340000000001</cx:pt>
          <cx:pt idx="3219">285.49340000000001</cx:pt>
          <cx:pt idx="3220">285.49340000000001</cx:pt>
          <cx:pt idx="3221">285.49340000000001</cx:pt>
          <cx:pt idx="3222">285.49340000000001</cx:pt>
          <cx:pt idx="3223">285.49340000000001</cx:pt>
          <cx:pt idx="3224">285.49340000000001</cx:pt>
          <cx:pt idx="3225">285.49340000000001</cx:pt>
          <cx:pt idx="3226">285.49340000000001</cx:pt>
          <cx:pt idx="3227">285.49340000000001</cx:pt>
          <cx:pt idx="3228">285.49340000000001</cx:pt>
          <cx:pt idx="3229">285.49340000000001</cx:pt>
          <cx:pt idx="3230">285.49340000000001</cx:pt>
          <cx:pt idx="3231">285.49340000000001</cx:pt>
          <cx:pt idx="3232">285.49340000000001</cx:pt>
          <cx:pt idx="3233">285.49340000000001</cx:pt>
          <cx:pt idx="3234">285.49340000000001</cx:pt>
          <cx:pt idx="3235">285.49340000000001</cx:pt>
          <cx:pt idx="3236">285.49340000000001</cx:pt>
          <cx:pt idx="3237">285.49340000000001</cx:pt>
          <cx:pt idx="3238">285.49340000000001</cx:pt>
          <cx:pt idx="3239">285.49340000000001</cx:pt>
          <cx:pt idx="3240">285.49340000000001</cx:pt>
          <cx:pt idx="3241">285.49340000000001</cx:pt>
          <cx:pt idx="3242">285.49340000000001</cx:pt>
          <cx:pt idx="3243">285.49340000000001</cx:pt>
          <cx:pt idx="3244">285.49340000000001</cx:pt>
          <cx:pt idx="3245">285.49340000000001</cx:pt>
          <cx:pt idx="3246">285.49340000000001</cx:pt>
          <cx:pt idx="3247">285.49340000000001</cx:pt>
          <cx:pt idx="3248">285.49340000000001</cx:pt>
          <cx:pt idx="3249">285.49340000000001</cx:pt>
          <cx:pt idx="3250">285.49340000000001</cx:pt>
          <cx:pt idx="3251">285.49340000000001</cx:pt>
          <cx:pt idx="3252">285.49340000000001</cx:pt>
          <cx:pt idx="3253">285.49340000000001</cx:pt>
          <cx:pt idx="3254">285.49340000000001</cx:pt>
          <cx:pt idx="3255">285.49340000000001</cx:pt>
          <cx:pt idx="3256">285.49340000000001</cx:pt>
          <cx:pt idx="3257">285.49340000000001</cx:pt>
          <cx:pt idx="3258">285.49340000000001</cx:pt>
          <cx:pt idx="3259">285.49340000000001</cx:pt>
          <cx:pt idx="3260">285.49340000000001</cx:pt>
          <cx:pt idx="3261">285.49340000000001</cx:pt>
          <cx:pt idx="3262">285.49340000000001</cx:pt>
          <cx:pt idx="3263">285.49340000000001</cx:pt>
          <cx:pt idx="3264">285.49340000000001</cx:pt>
          <cx:pt idx="3265">285.49340000000001</cx:pt>
          <cx:pt idx="3266">285.49340000000001</cx:pt>
          <cx:pt idx="3267">285.49340000000001</cx:pt>
          <cx:pt idx="3268">285.49340000000001</cx:pt>
          <cx:pt idx="3269">285.49340000000001</cx:pt>
          <cx:pt idx="3270">285.49340000000001</cx:pt>
          <cx:pt idx="3271">285.49340000000001</cx:pt>
          <cx:pt idx="3272">285.49340000000001</cx:pt>
          <cx:pt idx="3273">285.49340000000001</cx:pt>
          <cx:pt idx="3274">285.49340000000001</cx:pt>
          <cx:pt idx="3275">285.49340000000001</cx:pt>
          <cx:pt idx="3276">285.49340000000001</cx:pt>
          <cx:pt idx="3277">285.49340000000001</cx:pt>
          <cx:pt idx="3278">285.49340000000001</cx:pt>
          <cx:pt idx="3279">285.49340000000001</cx:pt>
          <cx:pt idx="3280">285.49340000000001</cx:pt>
          <cx:pt idx="3281">285.49340000000001</cx:pt>
          <cx:pt idx="3282">285.49340000000001</cx:pt>
          <cx:pt idx="3283">285.49340000000001</cx:pt>
          <cx:pt idx="3284">285.49340000000001</cx:pt>
          <cx:pt idx="3285">285.49340000000001</cx:pt>
          <cx:pt idx="3286">285.49340000000001</cx:pt>
          <cx:pt idx="3287">285.49340000000001</cx:pt>
          <cx:pt idx="3288">285.49340000000001</cx:pt>
          <cx:pt idx="3289">285.49340000000001</cx:pt>
          <cx:pt idx="3290">285.49340000000001</cx:pt>
          <cx:pt idx="3291">285.49340000000001</cx:pt>
          <cx:pt idx="3292">285.49340000000001</cx:pt>
          <cx:pt idx="3293">285.49340000000001</cx:pt>
          <cx:pt idx="3294">285.49340000000001</cx:pt>
          <cx:pt idx="3295">285.49340000000001</cx:pt>
          <cx:pt idx="3296">285.49340000000001</cx:pt>
          <cx:pt idx="3297">285.49340000000001</cx:pt>
          <cx:pt idx="3298">285.49340000000001</cx:pt>
          <cx:pt idx="3299">285.49340000000001</cx:pt>
          <cx:pt idx="3300">285.49340000000001</cx:pt>
          <cx:pt idx="3301">285.49340000000001</cx:pt>
          <cx:pt idx="3302">285.49340000000001</cx:pt>
          <cx:pt idx="3303">285.49340000000001</cx:pt>
          <cx:pt idx="3304">285.49340000000001</cx:pt>
          <cx:pt idx="3305">285.49340000000001</cx:pt>
          <cx:pt idx="3306">285.49340000000001</cx:pt>
          <cx:pt idx="3307">285.49340000000001</cx:pt>
          <cx:pt idx="3308">285.49340000000001</cx:pt>
          <cx:pt idx="3309">285.49340000000001</cx:pt>
          <cx:pt idx="3310">285.49340000000001</cx:pt>
          <cx:pt idx="3311">285.49340000000001</cx:pt>
          <cx:pt idx="3312">285.49340000000001</cx:pt>
          <cx:pt idx="3313">285.49340000000001</cx:pt>
          <cx:pt idx="3314">285.49340000000001</cx:pt>
          <cx:pt idx="3315">285.49340000000001</cx:pt>
          <cx:pt idx="3316">285.49340000000001</cx:pt>
          <cx:pt idx="3317">285.49340000000001</cx:pt>
          <cx:pt idx="3318">285.49340000000001</cx:pt>
          <cx:pt idx="3319">285.49340000000001</cx:pt>
          <cx:pt idx="3320">285.49340000000001</cx:pt>
          <cx:pt idx="3321">285.49340000000001</cx:pt>
          <cx:pt idx="3322">285.49340000000001</cx:pt>
          <cx:pt idx="3323">285.49340000000001</cx:pt>
          <cx:pt idx="3324">285.49340000000001</cx:pt>
          <cx:pt idx="3325">285.49340000000001</cx:pt>
          <cx:pt idx="3326">285.49340000000001</cx:pt>
          <cx:pt idx="3327">285.49340000000001</cx:pt>
          <cx:pt idx="3328">285.49340000000001</cx:pt>
          <cx:pt idx="3329">285.49340000000001</cx:pt>
          <cx:pt idx="3330">285.49340000000001</cx:pt>
          <cx:pt idx="3331">285.49340000000001</cx:pt>
          <cx:pt idx="3332">285.49340000000001</cx:pt>
          <cx:pt idx="3333">285.49340000000001</cx:pt>
          <cx:pt idx="3334">285.49340000000001</cx:pt>
          <cx:pt idx="3335">285.49340000000001</cx:pt>
          <cx:pt idx="3336">285.49340000000001</cx:pt>
          <cx:pt idx="3337">285.49340000000001</cx:pt>
          <cx:pt idx="3338">285.49340000000001</cx:pt>
          <cx:pt idx="3339">285.49340000000001</cx:pt>
          <cx:pt idx="3340">285.49340000000001</cx:pt>
          <cx:pt idx="3341">285.49340000000001</cx:pt>
          <cx:pt idx="3342">285.49340000000001</cx:pt>
          <cx:pt idx="3343">285.49340000000001</cx:pt>
          <cx:pt idx="3344">285.49340000000001</cx:pt>
          <cx:pt idx="3345">285.49340000000001</cx:pt>
          <cx:pt idx="3346">285.49340000000001</cx:pt>
          <cx:pt idx="3347">285.49340000000001</cx:pt>
          <cx:pt idx="3348">285.49340000000001</cx:pt>
          <cx:pt idx="3349">285.49340000000001</cx:pt>
          <cx:pt idx="3350">285.49340000000001</cx:pt>
          <cx:pt idx="3351">285.49340000000001</cx:pt>
          <cx:pt idx="3352">285.49340000000001</cx:pt>
          <cx:pt idx="3353">285.49340000000001</cx:pt>
          <cx:pt idx="3354">285.49340000000001</cx:pt>
          <cx:pt idx="3355">285.49340000000001</cx:pt>
          <cx:pt idx="3356">285.49340000000001</cx:pt>
          <cx:pt idx="3357">285.49340000000001</cx:pt>
          <cx:pt idx="3358">285.49340000000001</cx:pt>
          <cx:pt idx="3359">285.49340000000001</cx:pt>
          <cx:pt idx="3360">285.49340000000001</cx:pt>
          <cx:pt idx="3361">285.49340000000001</cx:pt>
          <cx:pt idx="3362">285.49340000000001</cx:pt>
          <cx:pt idx="3363">285.49340000000001</cx:pt>
          <cx:pt idx="3364">285.49340000000001</cx:pt>
          <cx:pt idx="3365">285.49340000000001</cx:pt>
          <cx:pt idx="3366">285.49340000000001</cx:pt>
          <cx:pt idx="3367">285.49340000000001</cx:pt>
          <cx:pt idx="3368">285.49340000000001</cx:pt>
          <cx:pt idx="3369">285.49340000000001</cx:pt>
          <cx:pt idx="3370">285.49340000000001</cx:pt>
          <cx:pt idx="3371">285.49340000000001</cx:pt>
          <cx:pt idx="3372">285.49340000000001</cx:pt>
          <cx:pt idx="3373">285.49340000000001</cx:pt>
          <cx:pt idx="3374">285.49340000000001</cx:pt>
          <cx:pt idx="3375">285.49340000000001</cx:pt>
          <cx:pt idx="3376">285.49340000000001</cx:pt>
          <cx:pt idx="3377">285.49340000000001</cx:pt>
          <cx:pt idx="3378">285.49340000000001</cx:pt>
          <cx:pt idx="3379">285.49340000000001</cx:pt>
          <cx:pt idx="3380">285.49340000000001</cx:pt>
          <cx:pt idx="3381">285.49340000000001</cx:pt>
          <cx:pt idx="3382">285.49340000000001</cx:pt>
          <cx:pt idx="3383">285.49340000000001</cx:pt>
          <cx:pt idx="3384">285.49340000000001</cx:pt>
          <cx:pt idx="3385">285.49340000000001</cx:pt>
          <cx:pt idx="3386">285.49340000000001</cx:pt>
          <cx:pt idx="3387">285.49340000000001</cx:pt>
          <cx:pt idx="3388">285.49340000000001</cx:pt>
          <cx:pt idx="3389">285.49340000000001</cx:pt>
          <cx:pt idx="3390">285.49340000000001</cx:pt>
          <cx:pt idx="3391">285.49340000000001</cx:pt>
          <cx:pt idx="3392">285.49340000000001</cx:pt>
          <cx:pt idx="3393">285.49340000000001</cx:pt>
          <cx:pt idx="3394">285.49340000000001</cx:pt>
          <cx:pt idx="3395">285.49340000000001</cx:pt>
          <cx:pt idx="3396">285.49340000000001</cx:pt>
          <cx:pt idx="3397">285.49340000000001</cx:pt>
          <cx:pt idx="3398">285.49340000000001</cx:pt>
          <cx:pt idx="3399">285.49340000000001</cx:pt>
          <cx:pt idx="3400">285.49340000000001</cx:pt>
          <cx:pt idx="3401">285.49340000000001</cx:pt>
          <cx:pt idx="3402">285.49340000000001</cx:pt>
          <cx:pt idx="3403">285.49340000000001</cx:pt>
          <cx:pt idx="3404">285.49340000000001</cx:pt>
          <cx:pt idx="3405">285.49340000000001</cx:pt>
          <cx:pt idx="3406">285.49340000000001</cx:pt>
          <cx:pt idx="3407">285.49340000000001</cx:pt>
          <cx:pt idx="3408">285.49340000000001</cx:pt>
          <cx:pt idx="3409">285.49340000000001</cx:pt>
          <cx:pt idx="3410">285.49340000000001</cx:pt>
          <cx:pt idx="3411">285.49340000000001</cx:pt>
          <cx:pt idx="3412">285.49340000000001</cx:pt>
          <cx:pt idx="3413">285.49340000000001</cx:pt>
          <cx:pt idx="3414">285.49340000000001</cx:pt>
          <cx:pt idx="3415">285.49340000000001</cx:pt>
          <cx:pt idx="3416">285.49340000000001</cx:pt>
          <cx:pt idx="3417">285.49340000000001</cx:pt>
          <cx:pt idx="3418">285.49340000000001</cx:pt>
          <cx:pt idx="3419">285.49340000000001</cx:pt>
          <cx:pt idx="3420">285.49340000000001</cx:pt>
          <cx:pt idx="3421">285.49340000000001</cx:pt>
          <cx:pt idx="3422">285.49340000000001</cx:pt>
          <cx:pt idx="3423">285.49340000000001</cx:pt>
          <cx:pt idx="3424">285.49340000000001</cx:pt>
          <cx:pt idx="3425">285.49340000000001</cx:pt>
          <cx:pt idx="3426">285.49340000000001</cx:pt>
          <cx:pt idx="3427">285.49340000000001</cx:pt>
          <cx:pt idx="3428">285.49340000000001</cx:pt>
          <cx:pt idx="3429">285.49340000000001</cx:pt>
          <cx:pt idx="3430">285.49340000000001</cx:pt>
          <cx:pt idx="3431">285.49340000000001</cx:pt>
          <cx:pt idx="3432">285.49340000000001</cx:pt>
          <cx:pt idx="3433">285.49340000000001</cx:pt>
          <cx:pt idx="3434">285.49340000000001</cx:pt>
          <cx:pt idx="3435">285.49340000000001</cx:pt>
          <cx:pt idx="3436">285.49340000000001</cx:pt>
          <cx:pt idx="3437">285.49340000000001</cx:pt>
          <cx:pt idx="3438">285.49340000000001</cx:pt>
          <cx:pt idx="3439">285.49340000000001</cx:pt>
          <cx:pt idx="3440">285.49340000000001</cx:pt>
          <cx:pt idx="3441">285.49340000000001</cx:pt>
          <cx:pt idx="3442">285.49340000000001</cx:pt>
          <cx:pt idx="3443">285.49340000000001</cx:pt>
          <cx:pt idx="3444">285.49340000000001</cx:pt>
          <cx:pt idx="3445">285.49340000000001</cx:pt>
          <cx:pt idx="3446">285.49340000000001</cx:pt>
          <cx:pt idx="3447">285.49340000000001</cx:pt>
          <cx:pt idx="3448">285.49340000000001</cx:pt>
          <cx:pt idx="3449">285.49340000000001</cx:pt>
          <cx:pt idx="3450">285.49340000000001</cx:pt>
          <cx:pt idx="3451">285.49340000000001</cx:pt>
          <cx:pt idx="3452">285.49340000000001</cx:pt>
          <cx:pt idx="3453">285.49340000000001</cx:pt>
          <cx:pt idx="3454">285.49340000000001</cx:pt>
          <cx:pt idx="3455">285.49340000000001</cx:pt>
          <cx:pt idx="3456">285.49340000000001</cx:pt>
          <cx:pt idx="3457">285.49340000000001</cx:pt>
          <cx:pt idx="3458">285.49340000000001</cx:pt>
          <cx:pt idx="3459">285.49340000000001</cx:pt>
          <cx:pt idx="3460">285.49340000000001</cx:pt>
          <cx:pt idx="3461">285.49340000000001</cx:pt>
          <cx:pt idx="3462">285.49340000000001</cx:pt>
          <cx:pt idx="3463">285.49340000000001</cx:pt>
          <cx:pt idx="3464">285.49340000000001</cx:pt>
          <cx:pt idx="3465">285.49340000000001</cx:pt>
          <cx:pt idx="3466">285.49340000000001</cx:pt>
          <cx:pt idx="3467">285.49340000000001</cx:pt>
          <cx:pt idx="3468">285.49340000000001</cx:pt>
          <cx:pt idx="3469">285.49340000000001</cx:pt>
          <cx:pt idx="3470">285.49340000000001</cx:pt>
          <cx:pt idx="3471">285.49340000000001</cx:pt>
          <cx:pt idx="3472">285.49340000000001</cx:pt>
          <cx:pt idx="3473">285.49340000000001</cx:pt>
          <cx:pt idx="3474">285.49340000000001</cx:pt>
          <cx:pt idx="3475">285.49340000000001</cx:pt>
          <cx:pt idx="3476">285.49340000000001</cx:pt>
          <cx:pt idx="3477">285.49340000000001</cx:pt>
          <cx:pt idx="3478">285.49340000000001</cx:pt>
          <cx:pt idx="3479">285.49340000000001</cx:pt>
          <cx:pt idx="3480">285.49340000000001</cx:pt>
          <cx:pt idx="3481">285.49340000000001</cx:pt>
          <cx:pt idx="3482">285.49340000000001</cx:pt>
          <cx:pt idx="3483">285.49340000000001</cx:pt>
          <cx:pt idx="3484">285.49340000000001</cx:pt>
          <cx:pt idx="3485">285.49340000000001</cx:pt>
          <cx:pt idx="3486">285.49340000000001</cx:pt>
          <cx:pt idx="3487">285.49340000000001</cx:pt>
          <cx:pt idx="3488">285.49340000000001</cx:pt>
          <cx:pt idx="3489">285.49340000000001</cx:pt>
          <cx:pt idx="3490">285.49340000000001</cx:pt>
          <cx:pt idx="3491">285.49340000000001</cx:pt>
          <cx:pt idx="3492">285.49340000000001</cx:pt>
          <cx:pt idx="3493">285.49340000000001</cx:pt>
          <cx:pt idx="3494">285.49340000000001</cx:pt>
          <cx:pt idx="3495">285.49340000000001</cx:pt>
          <cx:pt idx="3496">285.49340000000001</cx:pt>
          <cx:pt idx="3497">285.49340000000001</cx:pt>
          <cx:pt idx="3498">285.49340000000001</cx:pt>
          <cx:pt idx="3499">285.49340000000001</cx:pt>
          <cx:pt idx="3500">285.49340000000001</cx:pt>
          <cx:pt idx="3501">285.49340000000001</cx:pt>
          <cx:pt idx="3502">285.49340000000001</cx:pt>
          <cx:pt idx="3503">285.49340000000001</cx:pt>
          <cx:pt idx="3504">285.49340000000001</cx:pt>
          <cx:pt idx="3505">285.49340000000001</cx:pt>
          <cx:pt idx="3506">285.49340000000001</cx:pt>
          <cx:pt idx="3507">285.49340000000001</cx:pt>
          <cx:pt idx="3508">285.49340000000001</cx:pt>
          <cx:pt idx="3509">285.49340000000001</cx:pt>
          <cx:pt idx="3510">285.49340000000001</cx:pt>
          <cx:pt idx="3511">285.49340000000001</cx:pt>
          <cx:pt idx="3512">285.49340000000001</cx:pt>
          <cx:pt idx="3513">285.49340000000001</cx:pt>
          <cx:pt idx="3514">285.49340000000001</cx:pt>
          <cx:pt idx="3515">285.49340000000001</cx:pt>
          <cx:pt idx="3516">285.49340000000001</cx:pt>
          <cx:pt idx="3517">285.49340000000001</cx:pt>
          <cx:pt idx="3518">285.49340000000001</cx:pt>
          <cx:pt idx="3519">285.49340000000001</cx:pt>
          <cx:pt idx="3520">285.49340000000001</cx:pt>
          <cx:pt idx="3521">285.49340000000001</cx:pt>
          <cx:pt idx="3522">285.49340000000001</cx:pt>
          <cx:pt idx="3523">285.49340000000001</cx:pt>
          <cx:pt idx="3524">285.49340000000001</cx:pt>
          <cx:pt idx="3525">285.49340000000001</cx:pt>
          <cx:pt idx="3526">285.49340000000001</cx:pt>
          <cx:pt idx="3527">285.49340000000001</cx:pt>
          <cx:pt idx="3528">285.49340000000001</cx:pt>
          <cx:pt idx="3529">285.49340000000001</cx:pt>
          <cx:pt idx="3530">285.49340000000001</cx:pt>
          <cx:pt idx="3531">285.49340000000001</cx:pt>
          <cx:pt idx="3532">285.49340000000001</cx:pt>
          <cx:pt idx="3533">285.49340000000001</cx:pt>
          <cx:pt idx="3534">285.49340000000001</cx:pt>
          <cx:pt idx="3535">285.49340000000001</cx:pt>
          <cx:pt idx="3536">285.49340000000001</cx:pt>
          <cx:pt idx="3537">285.49340000000001</cx:pt>
          <cx:pt idx="3538">285.49340000000001</cx:pt>
          <cx:pt idx="3539">285.49340000000001</cx:pt>
          <cx:pt idx="3540">285.49340000000001</cx:pt>
          <cx:pt idx="3541">285.49340000000001</cx:pt>
          <cx:pt idx="3542">285.49340000000001</cx:pt>
          <cx:pt idx="3543">285.49340000000001</cx:pt>
          <cx:pt idx="3544">285.49340000000001</cx:pt>
          <cx:pt idx="3545">285.49340000000001</cx:pt>
          <cx:pt idx="3546">285.49340000000001</cx:pt>
          <cx:pt idx="3547">285.49340000000001</cx:pt>
          <cx:pt idx="3548">285.49340000000001</cx:pt>
          <cx:pt idx="3549">285.49340000000001</cx:pt>
          <cx:pt idx="3550">285.49340000000001</cx:pt>
          <cx:pt idx="3551">285.49340000000001</cx:pt>
          <cx:pt idx="3552">285.49340000000001</cx:pt>
          <cx:pt idx="3553">285.49340000000001</cx:pt>
          <cx:pt idx="3554">285.49340000000001</cx:pt>
          <cx:pt idx="3555">285.49340000000001</cx:pt>
          <cx:pt idx="3556">285.49340000000001</cx:pt>
          <cx:pt idx="3557">285.49340000000001</cx:pt>
          <cx:pt idx="3558">285.49340000000001</cx:pt>
          <cx:pt idx="3559">285.49340000000001</cx:pt>
          <cx:pt idx="3560">285.49340000000001</cx:pt>
          <cx:pt idx="3561">285.49340000000001</cx:pt>
          <cx:pt idx="3562">285.49340000000001</cx:pt>
          <cx:pt idx="3563">285.49340000000001</cx:pt>
          <cx:pt idx="3564">285.49340000000001</cx:pt>
          <cx:pt idx="3565">285.49340000000001</cx:pt>
          <cx:pt idx="3566">285.49340000000001</cx:pt>
          <cx:pt idx="3567">285.49340000000001</cx:pt>
          <cx:pt idx="3568">285.49340000000001</cx:pt>
          <cx:pt idx="3569">285.49340000000001</cx:pt>
          <cx:pt idx="3570">285.49340000000001</cx:pt>
          <cx:pt idx="3571">285.49340000000001</cx:pt>
          <cx:pt idx="3572">285.49340000000001</cx:pt>
          <cx:pt idx="3573">285.49340000000001</cx:pt>
          <cx:pt idx="3574">285.49340000000001</cx:pt>
          <cx:pt idx="3575">285.49340000000001</cx:pt>
          <cx:pt idx="3576">285.49340000000001</cx:pt>
          <cx:pt idx="3577">285.49340000000001</cx:pt>
          <cx:pt idx="3578">285.49340000000001</cx:pt>
          <cx:pt idx="3579">285.49340000000001</cx:pt>
          <cx:pt idx="3580">285.49340000000001</cx:pt>
          <cx:pt idx="3581">285.49340000000001</cx:pt>
          <cx:pt idx="3582">285.49340000000001</cx:pt>
          <cx:pt idx="3583">285.49340000000001</cx:pt>
          <cx:pt idx="3584">285.49340000000001</cx:pt>
          <cx:pt idx="3585">285.49340000000001</cx:pt>
          <cx:pt idx="3586">285.49340000000001</cx:pt>
          <cx:pt idx="3587">285.49340000000001</cx:pt>
          <cx:pt idx="3588">285.49340000000001</cx:pt>
          <cx:pt idx="3589">285.49340000000001</cx:pt>
          <cx:pt idx="3590">285.49340000000001</cx:pt>
          <cx:pt idx="3591">285.49340000000001</cx:pt>
          <cx:pt idx="3592">285.49340000000001</cx:pt>
          <cx:pt idx="3593">285.49340000000001</cx:pt>
          <cx:pt idx="3594">285.49340000000001</cx:pt>
          <cx:pt idx="3595">285.49340000000001</cx:pt>
          <cx:pt idx="3596">285.49340000000001</cx:pt>
          <cx:pt idx="3597">285.49340000000001</cx:pt>
          <cx:pt idx="3598">285.49340000000001</cx:pt>
          <cx:pt idx="3599">285.49340000000001</cx:pt>
          <cx:pt idx="3600">285.49340000000001</cx:pt>
          <cx:pt idx="3601">285.49340000000001</cx:pt>
          <cx:pt idx="3602">285.49340000000001</cx:pt>
          <cx:pt idx="3603">285.49340000000001</cx:pt>
          <cx:pt idx="3604">285.49340000000001</cx:pt>
          <cx:pt idx="3605">285.49340000000001</cx:pt>
          <cx:pt idx="3606">285.49340000000001</cx:pt>
          <cx:pt idx="3607">285.49340000000001</cx:pt>
          <cx:pt idx="3608">285.49340000000001</cx:pt>
          <cx:pt idx="3609">285.49340000000001</cx:pt>
          <cx:pt idx="3610">285.49340000000001</cx:pt>
          <cx:pt idx="3611">285.49340000000001</cx:pt>
          <cx:pt idx="3612">285.49340000000001</cx:pt>
          <cx:pt idx="3613">285.49340000000001</cx:pt>
          <cx:pt idx="3614">285.49340000000001</cx:pt>
          <cx:pt idx="3615">285.49340000000001</cx:pt>
          <cx:pt idx="3616">285.49340000000001</cx:pt>
          <cx:pt idx="3617">285.49340000000001</cx:pt>
          <cx:pt idx="3618">285.49340000000001</cx:pt>
          <cx:pt idx="3619">285.49340000000001</cx:pt>
          <cx:pt idx="3620">285.49340000000001</cx:pt>
          <cx:pt idx="3621">285.49340000000001</cx:pt>
          <cx:pt idx="3622">285.49340000000001</cx:pt>
          <cx:pt idx="3623">285.49340000000001</cx:pt>
          <cx:pt idx="3624">285.49340000000001</cx:pt>
          <cx:pt idx="3625">285.49340000000001</cx:pt>
          <cx:pt idx="3626">285.49340000000001</cx:pt>
          <cx:pt idx="3627">285.49340000000001</cx:pt>
          <cx:pt idx="3628">285.49340000000001</cx:pt>
          <cx:pt idx="3629">285.49340000000001</cx:pt>
          <cx:pt idx="3630">285.49340000000001</cx:pt>
          <cx:pt idx="3631">285.49340000000001</cx:pt>
          <cx:pt idx="3632">285.49340000000001</cx:pt>
          <cx:pt idx="3633">285.49340000000001</cx:pt>
          <cx:pt idx="3634">285.49340000000001</cx:pt>
          <cx:pt idx="3635">285.49340000000001</cx:pt>
          <cx:pt idx="3636">285.49340000000001</cx:pt>
          <cx:pt idx="3637">285.49340000000001</cx:pt>
          <cx:pt idx="3638">285.49340000000001</cx:pt>
          <cx:pt idx="3639">285.49340000000001</cx:pt>
          <cx:pt idx="3640">285.49340000000001</cx:pt>
          <cx:pt idx="3641">285.49340000000001</cx:pt>
          <cx:pt idx="3642">285.49340000000001</cx:pt>
          <cx:pt idx="3643">285.49340000000001</cx:pt>
          <cx:pt idx="3644">285.49340000000001</cx:pt>
          <cx:pt idx="3645">285.49340000000001</cx:pt>
          <cx:pt idx="3646">285.49340000000001</cx:pt>
          <cx:pt idx="3647">285.49340000000001</cx:pt>
          <cx:pt idx="3648">285.49340000000001</cx:pt>
          <cx:pt idx="3649">285.49340000000001</cx:pt>
          <cx:pt idx="3650">285.49340000000001</cx:pt>
          <cx:pt idx="3651">285.49340000000001</cx:pt>
          <cx:pt idx="3652">285.49340000000001</cx:pt>
          <cx:pt idx="3653">285.49340000000001</cx:pt>
          <cx:pt idx="3654">285.49340000000001</cx:pt>
          <cx:pt idx="3655">285.49340000000001</cx:pt>
          <cx:pt idx="3656">285.49340000000001</cx:pt>
          <cx:pt idx="3657">285.49340000000001</cx:pt>
          <cx:pt idx="3658">285.49340000000001</cx:pt>
          <cx:pt idx="3659">285.49340000000001</cx:pt>
          <cx:pt idx="3660">285.49340000000001</cx:pt>
          <cx:pt idx="3661">285.49340000000001</cx:pt>
          <cx:pt idx="3662">285.49340000000001</cx:pt>
          <cx:pt idx="3663">285.49340000000001</cx:pt>
          <cx:pt idx="3664">285.49340000000001</cx:pt>
          <cx:pt idx="3665">285.49340000000001</cx:pt>
          <cx:pt idx="3666">285.49340000000001</cx:pt>
          <cx:pt idx="3667">285.49340000000001</cx:pt>
          <cx:pt idx="3668">285.49340000000001</cx:pt>
          <cx:pt idx="3669">285.49340000000001</cx:pt>
          <cx:pt idx="3670">285.49340000000001</cx:pt>
          <cx:pt idx="3671">285.49340000000001</cx:pt>
          <cx:pt idx="3672">285.49340000000001</cx:pt>
          <cx:pt idx="3673">285.49340000000001</cx:pt>
          <cx:pt idx="3674">285.49340000000001</cx:pt>
          <cx:pt idx="3675">285.49340000000001</cx:pt>
          <cx:pt idx="3676">285.49340000000001</cx:pt>
          <cx:pt idx="3677">285.49340000000001</cx:pt>
          <cx:pt idx="3678">285.49340000000001</cx:pt>
          <cx:pt idx="3679">285.49340000000001</cx:pt>
          <cx:pt idx="3680">285.49340000000001</cx:pt>
          <cx:pt idx="3681">285.49340000000001</cx:pt>
          <cx:pt idx="3682">285.49340000000001</cx:pt>
          <cx:pt idx="3683">285.49340000000001</cx:pt>
          <cx:pt idx="3684">285.49340000000001</cx:pt>
          <cx:pt idx="3685">285.49340000000001</cx:pt>
          <cx:pt idx="3686">285.49340000000001</cx:pt>
          <cx:pt idx="3687">285.49340000000001</cx:pt>
          <cx:pt idx="3688">285.49340000000001</cx:pt>
          <cx:pt idx="3689">285.49340000000001</cx:pt>
          <cx:pt idx="3690">285.49340000000001</cx:pt>
          <cx:pt idx="3691">285.49340000000001</cx:pt>
          <cx:pt idx="3692">285.49340000000001</cx:pt>
          <cx:pt idx="3693">285.49340000000001</cx:pt>
          <cx:pt idx="3694">285.49340000000001</cx:pt>
          <cx:pt idx="3695">285.49340000000001</cx:pt>
          <cx:pt idx="3696">285.49340000000001</cx:pt>
          <cx:pt idx="3697">285.49340000000001</cx:pt>
          <cx:pt idx="3698">285.49340000000001</cx:pt>
          <cx:pt idx="3699">285.49340000000001</cx:pt>
          <cx:pt idx="3700">285.49340000000001</cx:pt>
          <cx:pt idx="3701">285.49340000000001</cx:pt>
          <cx:pt idx="3702">285.49340000000001</cx:pt>
          <cx:pt idx="3703">285.49340000000001</cx:pt>
          <cx:pt idx="3704">285.49340000000001</cx:pt>
          <cx:pt idx="3705">285.49340000000001</cx:pt>
          <cx:pt idx="3706">285.49340000000001</cx:pt>
          <cx:pt idx="3707">285.49340000000001</cx:pt>
          <cx:pt idx="3708">285.49340000000001</cx:pt>
          <cx:pt idx="3709">285.49340000000001</cx:pt>
          <cx:pt idx="3710">285.49340000000001</cx:pt>
          <cx:pt idx="3711">285.49340000000001</cx:pt>
          <cx:pt idx="3712">285.49340000000001</cx:pt>
          <cx:pt idx="3713">285.49340000000001</cx:pt>
          <cx:pt idx="3714">285.49340000000001</cx:pt>
          <cx:pt idx="3715">285.49340000000001</cx:pt>
          <cx:pt idx="3716">285.49340000000001</cx:pt>
          <cx:pt idx="3717">285.49340000000001</cx:pt>
          <cx:pt idx="3718">285.49340000000001</cx:pt>
          <cx:pt idx="3719">285.49340000000001</cx:pt>
          <cx:pt idx="3720">285.49340000000001</cx:pt>
          <cx:pt idx="3721">285.49340000000001</cx:pt>
          <cx:pt idx="3722">285.49340000000001</cx:pt>
          <cx:pt idx="3723">285.49340000000001</cx:pt>
          <cx:pt idx="3724">285.49340000000001</cx:pt>
          <cx:pt idx="3725">285.49340000000001</cx:pt>
          <cx:pt idx="3726">285.49340000000001</cx:pt>
          <cx:pt idx="3727">285.49340000000001</cx:pt>
          <cx:pt idx="3728">285.49340000000001</cx:pt>
          <cx:pt idx="3729">285.49340000000001</cx:pt>
          <cx:pt idx="3730">285.49340000000001</cx:pt>
          <cx:pt idx="3731">285.49340000000001</cx:pt>
          <cx:pt idx="3732">285.49340000000001</cx:pt>
          <cx:pt idx="3733">285.49340000000001</cx:pt>
          <cx:pt idx="3734">285.49340000000001</cx:pt>
          <cx:pt idx="3735">285.49340000000001</cx:pt>
          <cx:pt idx="3736">285.49340000000001</cx:pt>
          <cx:pt idx="3737">285.49340000000001</cx:pt>
          <cx:pt idx="3738">285.49340000000001</cx:pt>
          <cx:pt idx="3739">285.49340000000001</cx:pt>
          <cx:pt idx="3740">285.49340000000001</cx:pt>
          <cx:pt idx="3741">285.49340000000001</cx:pt>
          <cx:pt idx="3742">285.49340000000001</cx:pt>
          <cx:pt idx="3743">285.49340000000001</cx:pt>
          <cx:pt idx="3744">285.49340000000001</cx:pt>
          <cx:pt idx="3745">285.49340000000001</cx:pt>
          <cx:pt idx="3746">285.49340000000001</cx:pt>
          <cx:pt idx="3747">285.49340000000001</cx:pt>
          <cx:pt idx="3748">285.49340000000001</cx:pt>
          <cx:pt idx="3749">285.49340000000001</cx:pt>
          <cx:pt idx="3750">285.49340000000001</cx:pt>
          <cx:pt idx="3751">285.49340000000001</cx:pt>
          <cx:pt idx="3752">285.49340000000001</cx:pt>
          <cx:pt idx="3753">285.49340000000001</cx:pt>
          <cx:pt idx="3754">285.49340000000001</cx:pt>
          <cx:pt idx="3755">285.49340000000001</cx:pt>
          <cx:pt idx="3756">285.49340000000001</cx:pt>
          <cx:pt idx="3757">285.49340000000001</cx:pt>
          <cx:pt idx="3758">285.49340000000001</cx:pt>
          <cx:pt idx="3759">285.49340000000001</cx:pt>
          <cx:pt idx="3760">285.49340000000001</cx:pt>
          <cx:pt idx="3761">285.49340000000001</cx:pt>
          <cx:pt idx="3762">285.49340000000001</cx:pt>
          <cx:pt idx="3763">285.49340000000001</cx:pt>
          <cx:pt idx="3764">285.49340000000001</cx:pt>
          <cx:pt idx="3765">285.49340000000001</cx:pt>
          <cx:pt idx="3766">285.49340000000001</cx:pt>
          <cx:pt idx="3767">285.49340000000001</cx:pt>
          <cx:pt idx="3768">285.49340000000001</cx:pt>
          <cx:pt idx="3769">285.49340000000001</cx:pt>
          <cx:pt idx="3770">285.49340000000001</cx:pt>
          <cx:pt idx="3771">285.49340000000001</cx:pt>
          <cx:pt idx="3772">285.49340000000001</cx:pt>
          <cx:pt idx="3773">285.49340000000001</cx:pt>
          <cx:pt idx="3774">285.49340000000001</cx:pt>
          <cx:pt idx="3775">285.49340000000001</cx:pt>
          <cx:pt idx="3776">285.49340000000001</cx:pt>
          <cx:pt idx="3777">285.49340000000001</cx:pt>
          <cx:pt idx="3778">285.49340000000001</cx:pt>
          <cx:pt idx="3779">285.49340000000001</cx:pt>
          <cx:pt idx="3780">285.49340000000001</cx:pt>
          <cx:pt idx="3781">285.49340000000001</cx:pt>
          <cx:pt idx="3782">285.49340000000001</cx:pt>
          <cx:pt idx="3783">285.49340000000001</cx:pt>
          <cx:pt idx="3784">285.49340000000001</cx:pt>
          <cx:pt idx="3785">285.49340000000001</cx:pt>
          <cx:pt idx="3786">285.49340000000001</cx:pt>
          <cx:pt idx="3787">285.49340000000001</cx:pt>
          <cx:pt idx="3788">285.49340000000001</cx:pt>
          <cx:pt idx="3789">285.49340000000001</cx:pt>
          <cx:pt idx="3790">285.49340000000001</cx:pt>
          <cx:pt idx="3791">285.49340000000001</cx:pt>
          <cx:pt idx="3792">285.49340000000001</cx:pt>
          <cx:pt idx="3793">285.49340000000001</cx:pt>
          <cx:pt idx="3794">285.49340000000001</cx:pt>
          <cx:pt idx="3795">285.49340000000001</cx:pt>
          <cx:pt idx="3796">285.49340000000001</cx:pt>
          <cx:pt idx="3797">285.49340000000001</cx:pt>
          <cx:pt idx="3798">285.49340000000001</cx:pt>
          <cx:pt idx="3799">285.49340000000001</cx:pt>
          <cx:pt idx="3800">285.49340000000001</cx:pt>
          <cx:pt idx="3801">285.49340000000001</cx:pt>
          <cx:pt idx="3802">285.49340000000001</cx:pt>
          <cx:pt idx="3803">285.49340000000001</cx:pt>
          <cx:pt idx="3804">285.49340000000001</cx:pt>
          <cx:pt idx="3805">285.49340000000001</cx:pt>
          <cx:pt idx="3806">285.49340000000001</cx:pt>
          <cx:pt idx="3807">285.49340000000001</cx:pt>
          <cx:pt idx="3808">285.49340000000001</cx:pt>
          <cx:pt idx="3809">285.49340000000001</cx:pt>
          <cx:pt idx="3810">285.49340000000001</cx:pt>
          <cx:pt idx="3811">285.49340000000001</cx:pt>
          <cx:pt idx="3812">285.49340000000001</cx:pt>
          <cx:pt idx="3813">285.49340000000001</cx:pt>
          <cx:pt idx="3814">285.49340000000001</cx:pt>
          <cx:pt idx="3815">285.49340000000001</cx:pt>
          <cx:pt idx="3816">285.49340000000001</cx:pt>
          <cx:pt idx="3817">285.49340000000001</cx:pt>
          <cx:pt idx="3818">285.49340000000001</cx:pt>
          <cx:pt idx="3819">285.49340000000001</cx:pt>
          <cx:pt idx="3820">285.49340000000001</cx:pt>
          <cx:pt idx="3821">285.49340000000001</cx:pt>
          <cx:pt idx="3822">285.49340000000001</cx:pt>
          <cx:pt idx="3823">285.49340000000001</cx:pt>
          <cx:pt idx="3824">285.49340000000001</cx:pt>
          <cx:pt idx="3825">285.49340000000001</cx:pt>
          <cx:pt idx="3826">285.49340000000001</cx:pt>
          <cx:pt idx="3827">285.49340000000001</cx:pt>
          <cx:pt idx="3828">285.49340000000001</cx:pt>
          <cx:pt idx="3829">285.49340000000001</cx:pt>
          <cx:pt idx="3830">285.49340000000001</cx:pt>
          <cx:pt idx="3831">285.49340000000001</cx:pt>
          <cx:pt idx="3832">285.49340000000001</cx:pt>
          <cx:pt idx="3833">285.49340000000001</cx:pt>
          <cx:pt idx="3834">285.49340000000001</cx:pt>
          <cx:pt idx="3835">285.49340000000001</cx:pt>
          <cx:pt idx="3836">285.49340000000001</cx:pt>
          <cx:pt idx="3837">285.49340000000001</cx:pt>
          <cx:pt idx="3838">285.49340000000001</cx:pt>
          <cx:pt idx="3839">285.49340000000001</cx:pt>
          <cx:pt idx="3840">285.49340000000001</cx:pt>
          <cx:pt idx="3841">285.49340000000001</cx:pt>
          <cx:pt idx="3842">285.49340000000001</cx:pt>
          <cx:pt idx="3843">285.49340000000001</cx:pt>
          <cx:pt idx="3844">285.49340000000001</cx:pt>
          <cx:pt idx="3845">285.49340000000001</cx:pt>
          <cx:pt idx="3846">285.49340000000001</cx:pt>
          <cx:pt idx="3847">285.49340000000001</cx:pt>
          <cx:pt idx="3848">285.49340000000001</cx:pt>
          <cx:pt idx="3849">285.49340000000001</cx:pt>
          <cx:pt idx="3850">285.49340000000001</cx:pt>
          <cx:pt idx="3851">285.49340000000001</cx:pt>
          <cx:pt idx="3852">285.49340000000001</cx:pt>
          <cx:pt idx="3853">285.49340000000001</cx:pt>
          <cx:pt idx="3854">285.49340000000001</cx:pt>
          <cx:pt idx="3855">285.49340000000001</cx:pt>
          <cx:pt idx="3856">285.49340000000001</cx:pt>
          <cx:pt idx="3857">285.49340000000001</cx:pt>
          <cx:pt idx="3858">285.49340000000001</cx:pt>
          <cx:pt idx="3859">285.49340000000001</cx:pt>
          <cx:pt idx="3860">285.49340000000001</cx:pt>
          <cx:pt idx="3861">285.49340000000001</cx:pt>
          <cx:pt idx="3862">285.49340000000001</cx:pt>
          <cx:pt idx="3863">285.49340000000001</cx:pt>
          <cx:pt idx="3864">285.49340000000001</cx:pt>
          <cx:pt idx="3865">285.49340000000001</cx:pt>
          <cx:pt idx="3866">285.49340000000001</cx:pt>
          <cx:pt idx="3867">285.49340000000001</cx:pt>
          <cx:pt idx="3868">285.49340000000001</cx:pt>
          <cx:pt idx="3869">285.49340000000001</cx:pt>
          <cx:pt idx="3870">285.49340000000001</cx:pt>
          <cx:pt idx="3871">285.49340000000001</cx:pt>
          <cx:pt idx="3872">285.49340000000001</cx:pt>
          <cx:pt idx="3873">285.49340000000001</cx:pt>
          <cx:pt idx="3874">285.49340000000001</cx:pt>
          <cx:pt idx="3875">285.49340000000001</cx:pt>
          <cx:pt idx="3876">285.49340000000001</cx:pt>
          <cx:pt idx="3877">285.49340000000001</cx:pt>
          <cx:pt idx="3878">285.49340000000001</cx:pt>
          <cx:pt idx="3879">285.49340000000001</cx:pt>
          <cx:pt idx="3880">285.49340000000001</cx:pt>
          <cx:pt idx="3881">285.49340000000001</cx:pt>
          <cx:pt idx="3882">285.49340000000001</cx:pt>
          <cx:pt idx="3883">285.49340000000001</cx:pt>
          <cx:pt idx="3884">285.49340000000001</cx:pt>
          <cx:pt idx="3885">285.49340000000001</cx:pt>
          <cx:pt idx="3886">285.49340000000001</cx:pt>
          <cx:pt idx="3887">285.49340000000001</cx:pt>
          <cx:pt idx="3888">285.49340000000001</cx:pt>
          <cx:pt idx="3889">285.49340000000001</cx:pt>
          <cx:pt idx="3890">285.49340000000001</cx:pt>
          <cx:pt idx="3891">285.49340000000001</cx:pt>
          <cx:pt idx="3892">285.49340000000001</cx:pt>
          <cx:pt idx="3893">285.49340000000001</cx:pt>
          <cx:pt idx="3894">285.49340000000001</cx:pt>
          <cx:pt idx="3895">285.49340000000001</cx:pt>
          <cx:pt idx="3896">285.49340000000001</cx:pt>
          <cx:pt idx="3897">285.49340000000001</cx:pt>
          <cx:pt idx="3898">285.49340000000001</cx:pt>
          <cx:pt idx="3899">285.49340000000001</cx:pt>
          <cx:pt idx="3900">285.49340000000001</cx:pt>
          <cx:pt idx="3901">285.49340000000001</cx:pt>
          <cx:pt idx="3902">285.49340000000001</cx:pt>
          <cx:pt idx="3903">285.49340000000001</cx:pt>
          <cx:pt idx="3904">285.49340000000001</cx:pt>
          <cx:pt idx="3905">285.49340000000001</cx:pt>
          <cx:pt idx="3906">285.49340000000001</cx:pt>
          <cx:pt idx="3907">285.49340000000001</cx:pt>
          <cx:pt idx="3908">285.49340000000001</cx:pt>
          <cx:pt idx="3909">285.49340000000001</cx:pt>
          <cx:pt idx="3910">285.49340000000001</cx:pt>
          <cx:pt idx="3911">285.49340000000001</cx:pt>
          <cx:pt idx="3912">285.49340000000001</cx:pt>
          <cx:pt idx="3913">285.49340000000001</cx:pt>
          <cx:pt idx="3914">285.49340000000001</cx:pt>
          <cx:pt idx="3915">285.49340000000001</cx:pt>
          <cx:pt idx="3916">285.49340000000001</cx:pt>
          <cx:pt idx="3917">285.49340000000001</cx:pt>
          <cx:pt idx="3918">285.49340000000001</cx:pt>
          <cx:pt idx="3919">285.49340000000001</cx:pt>
          <cx:pt idx="3920">285.49340000000001</cx:pt>
          <cx:pt idx="3921">285.49340000000001</cx:pt>
          <cx:pt idx="3922">285.49340000000001</cx:pt>
          <cx:pt idx="3923">285.49340000000001</cx:pt>
          <cx:pt idx="3924">285.49340000000001</cx:pt>
          <cx:pt idx="3925">285.49340000000001</cx:pt>
          <cx:pt idx="3926">285.49340000000001</cx:pt>
          <cx:pt idx="3927">285.49340000000001</cx:pt>
          <cx:pt idx="3928">285.49340000000001</cx:pt>
          <cx:pt idx="3929">285.49340000000001</cx:pt>
          <cx:pt idx="3930">285.49340000000001</cx:pt>
          <cx:pt idx="3931">285.49340000000001</cx:pt>
          <cx:pt idx="3932">285.49340000000001</cx:pt>
          <cx:pt idx="3933">285.49340000000001</cx:pt>
          <cx:pt idx="3934">285.49340000000001</cx:pt>
          <cx:pt idx="3935">285.49340000000001</cx:pt>
          <cx:pt idx="3936">285.49340000000001</cx:pt>
          <cx:pt idx="3937">285.49340000000001</cx:pt>
          <cx:pt idx="3938">285.49340000000001</cx:pt>
          <cx:pt idx="3939">285.49340000000001</cx:pt>
          <cx:pt idx="3940">285.49340000000001</cx:pt>
          <cx:pt idx="3941">285.49340000000001</cx:pt>
          <cx:pt idx="3942">285.49340000000001</cx:pt>
          <cx:pt idx="3943">285.49340000000001</cx:pt>
          <cx:pt idx="3944">285.49340000000001</cx:pt>
          <cx:pt idx="3945">285.49340000000001</cx:pt>
          <cx:pt idx="3946">285.49340000000001</cx:pt>
          <cx:pt idx="3947">285.49340000000001</cx:pt>
          <cx:pt idx="3948">285.49340000000001</cx:pt>
          <cx:pt idx="3949">285.49340000000001</cx:pt>
          <cx:pt idx="3950">285.49340000000001</cx:pt>
          <cx:pt idx="3951">285.49340000000001</cx:pt>
          <cx:pt idx="3952">285.49340000000001</cx:pt>
          <cx:pt idx="3953">285.49340000000001</cx:pt>
          <cx:pt idx="3954">285.49340000000001</cx:pt>
          <cx:pt idx="3955">285.49340000000001</cx:pt>
          <cx:pt idx="3956">285.49340000000001</cx:pt>
          <cx:pt idx="3957">285.49340000000001</cx:pt>
          <cx:pt idx="3958">285.49340000000001</cx:pt>
          <cx:pt idx="3959">285.49340000000001</cx:pt>
          <cx:pt idx="3960">285.49340000000001</cx:pt>
          <cx:pt idx="3961">285.49340000000001</cx:pt>
          <cx:pt idx="3962">285.49340000000001</cx:pt>
          <cx:pt idx="3963">285.49340000000001</cx:pt>
          <cx:pt idx="3964">285.49340000000001</cx:pt>
          <cx:pt idx="3965">285.49340000000001</cx:pt>
          <cx:pt idx="3966">285.49340000000001</cx:pt>
          <cx:pt idx="3967">285.49340000000001</cx:pt>
          <cx:pt idx="3968">285.49340000000001</cx:pt>
          <cx:pt idx="3969">285.49340000000001</cx:pt>
          <cx:pt idx="3970">285.49340000000001</cx:pt>
          <cx:pt idx="3971">285.49340000000001</cx:pt>
          <cx:pt idx="3972">285.49340000000001</cx:pt>
          <cx:pt idx="3973">285.49340000000001</cx:pt>
          <cx:pt idx="3974">285.49340000000001</cx:pt>
          <cx:pt idx="3975">285.49340000000001</cx:pt>
          <cx:pt idx="3976">285.49340000000001</cx:pt>
          <cx:pt idx="3977">285.49340000000001</cx:pt>
          <cx:pt idx="3978">285.49340000000001</cx:pt>
          <cx:pt idx="3979">285.49340000000001</cx:pt>
          <cx:pt idx="3980">285.49340000000001</cx:pt>
          <cx:pt idx="3981">285.49340000000001</cx:pt>
          <cx:pt idx="3982">285.49340000000001</cx:pt>
          <cx:pt idx="3983">285.49340000000001</cx:pt>
          <cx:pt idx="3984">285.49340000000001</cx:pt>
          <cx:pt idx="3985">285.49340000000001</cx:pt>
          <cx:pt idx="3986">285.49340000000001</cx:pt>
          <cx:pt idx="3987">285.49340000000001</cx:pt>
          <cx:pt idx="3988">285.49340000000001</cx:pt>
          <cx:pt idx="3989">285.49340000000001</cx:pt>
          <cx:pt idx="3990">285.49340000000001</cx:pt>
          <cx:pt idx="3991">285.49340000000001</cx:pt>
          <cx:pt idx="3992">285.49340000000001</cx:pt>
          <cx:pt idx="3993">285.49340000000001</cx:pt>
          <cx:pt idx="3994">285.49340000000001</cx:pt>
          <cx:pt idx="3995">285.49340000000001</cx:pt>
          <cx:pt idx="3996">285.49340000000001</cx:pt>
          <cx:pt idx="3997">285.49340000000001</cx:pt>
          <cx:pt idx="3998">285.49340000000001</cx:pt>
          <cx:pt idx="3999">285.49340000000001</cx:pt>
          <cx:pt idx="4000">285.49340000000001</cx:pt>
          <cx:pt idx="4001">285.49340000000001</cx:pt>
          <cx:pt idx="4002">285.49340000000001</cx:pt>
          <cx:pt idx="4003">285.49340000000001</cx:pt>
          <cx:pt idx="4004">285.49340000000001</cx:pt>
          <cx:pt idx="4005">285.49340000000001</cx:pt>
          <cx:pt idx="4006">285.49340000000001</cx:pt>
          <cx:pt idx="4007">285.49340000000001</cx:pt>
          <cx:pt idx="4008">285.49340000000001</cx:pt>
          <cx:pt idx="4009">285.49340000000001</cx:pt>
          <cx:pt idx="4010">285.49340000000001</cx:pt>
          <cx:pt idx="4011">285.49340000000001</cx:pt>
          <cx:pt idx="4012">285.49340000000001</cx:pt>
          <cx:pt idx="4013">285.49340000000001</cx:pt>
          <cx:pt idx="4014">285.49340000000001</cx:pt>
          <cx:pt idx="4015">285.49340000000001</cx:pt>
          <cx:pt idx="4016">285.49340000000001</cx:pt>
          <cx:pt idx="4017">285.49340000000001</cx:pt>
          <cx:pt idx="4018">285.49340000000001</cx:pt>
          <cx:pt idx="4019">285.49340000000001</cx:pt>
          <cx:pt idx="4020">285.49340000000001</cx:pt>
          <cx:pt idx="4021">285.49340000000001</cx:pt>
          <cx:pt idx="4022">285.49340000000001</cx:pt>
          <cx:pt idx="4023">285.49340000000001</cx:pt>
          <cx:pt idx="4024">285.49340000000001</cx:pt>
          <cx:pt idx="4025">285.49340000000001</cx:pt>
          <cx:pt idx="4026">285.49340000000001</cx:pt>
          <cx:pt idx="4027">285.49340000000001</cx:pt>
          <cx:pt idx="4028">285.49340000000001</cx:pt>
          <cx:pt idx="4029">285.49340000000001</cx:pt>
          <cx:pt idx="4030">285.49340000000001</cx:pt>
          <cx:pt idx="4031">285.49340000000001</cx:pt>
          <cx:pt idx="4032">285.49340000000001</cx:pt>
          <cx:pt idx="4033">285.49340000000001</cx:pt>
          <cx:pt idx="4034">285.49340000000001</cx:pt>
          <cx:pt idx="4035">285.49340000000001</cx:pt>
          <cx:pt idx="4036">285.49340000000001</cx:pt>
          <cx:pt idx="4037">285.49340000000001</cx:pt>
          <cx:pt idx="4038">285.49340000000001</cx:pt>
          <cx:pt idx="4039">285.49340000000001</cx:pt>
          <cx:pt idx="4040">285.49340000000001</cx:pt>
          <cx:pt idx="4041">285.49340000000001</cx:pt>
          <cx:pt idx="4042">285.49340000000001</cx:pt>
          <cx:pt idx="4043">285.49340000000001</cx:pt>
          <cx:pt idx="4044">285.49340000000001</cx:pt>
          <cx:pt idx="4045">285.49340000000001</cx:pt>
          <cx:pt idx="4046">285.49340000000001</cx:pt>
          <cx:pt idx="4047">285.49340000000001</cx:pt>
          <cx:pt idx="4048">285.49340000000001</cx:pt>
          <cx:pt idx="4049">285.49340000000001</cx:pt>
          <cx:pt idx="4050">285.49340000000001</cx:pt>
          <cx:pt idx="4051">285.49340000000001</cx:pt>
          <cx:pt idx="4052">285.49340000000001</cx:pt>
          <cx:pt idx="4053">285.49340000000001</cx:pt>
          <cx:pt idx="4054">285.49340000000001</cx:pt>
          <cx:pt idx="4055">285.49340000000001</cx:pt>
          <cx:pt idx="4056">285.49340000000001</cx:pt>
          <cx:pt idx="4057">285.49340000000001</cx:pt>
          <cx:pt idx="4058">285.49340000000001</cx:pt>
          <cx:pt idx="4059">285.49340000000001</cx:pt>
          <cx:pt idx="4060">285.49340000000001</cx:pt>
          <cx:pt idx="4061">285.49340000000001</cx:pt>
          <cx:pt idx="4062">285.49340000000001</cx:pt>
          <cx:pt idx="4063">285.49340000000001</cx:pt>
          <cx:pt idx="4064">285.49340000000001</cx:pt>
          <cx:pt idx="4065">285.49340000000001</cx:pt>
          <cx:pt idx="4066">285.49340000000001</cx:pt>
          <cx:pt idx="4067">285.49340000000001</cx:pt>
          <cx:pt idx="4068">285.49340000000001</cx:pt>
          <cx:pt idx="4069">285.49340000000001</cx:pt>
          <cx:pt idx="4070">285.49340000000001</cx:pt>
          <cx:pt idx="4071">285.49340000000001</cx:pt>
          <cx:pt idx="4072">285.49340000000001</cx:pt>
          <cx:pt idx="4073">285.49340000000001</cx:pt>
          <cx:pt idx="4074">285.49340000000001</cx:pt>
          <cx:pt idx="4075">285.49340000000001</cx:pt>
          <cx:pt idx="4076">285.49340000000001</cx:pt>
          <cx:pt idx="4077">285.49340000000001</cx:pt>
          <cx:pt idx="4078">285.49340000000001</cx:pt>
          <cx:pt idx="4079">285.49340000000001</cx:pt>
          <cx:pt idx="4080">285.49340000000001</cx:pt>
          <cx:pt idx="4081">285.49340000000001</cx:pt>
          <cx:pt idx="4082">285.49340000000001</cx:pt>
          <cx:pt idx="4083">285.49340000000001</cx:pt>
          <cx:pt idx="4084">285.49340000000001</cx:pt>
          <cx:pt idx="4085">285.49340000000001</cx:pt>
          <cx:pt idx="4086">285.49340000000001</cx:pt>
          <cx:pt idx="4087">285.49340000000001</cx:pt>
          <cx:pt idx="4088">285.49340000000001</cx:pt>
          <cx:pt idx="4089">285.49340000000001</cx:pt>
          <cx:pt idx="4090">285.49340000000001</cx:pt>
          <cx:pt idx="4091">285.49340000000001</cx:pt>
          <cx:pt idx="4092">285.49340000000001</cx:pt>
          <cx:pt idx="4093">285.49340000000001</cx:pt>
          <cx:pt idx="4094">285.49340000000001</cx:pt>
          <cx:pt idx="4095">285.49340000000001</cx:pt>
          <cx:pt idx="4096">285.49340000000001</cx:pt>
          <cx:pt idx="4097">285.49340000000001</cx:pt>
          <cx:pt idx="4098">285.49340000000001</cx:pt>
          <cx:pt idx="4099">285.49340000000001</cx:pt>
          <cx:pt idx="4100">285.49340000000001</cx:pt>
          <cx:pt idx="4101">285.49340000000001</cx:pt>
          <cx:pt idx="4102">285.49340000000001</cx:pt>
          <cx:pt idx="4103">285.49340000000001</cx:pt>
          <cx:pt idx="4104">285.49340000000001</cx:pt>
          <cx:pt idx="4105">285.49340000000001</cx:pt>
          <cx:pt idx="4106">285.49340000000001</cx:pt>
          <cx:pt idx="4107">285.49340000000001</cx:pt>
          <cx:pt idx="4108">285.49340000000001</cx:pt>
          <cx:pt idx="4109">285.49340000000001</cx:pt>
          <cx:pt idx="4110">285.49340000000001</cx:pt>
          <cx:pt idx="4111">285.49340000000001</cx:pt>
          <cx:pt idx="4112">285.49340000000001</cx:pt>
          <cx:pt idx="4113">285.49340000000001</cx:pt>
          <cx:pt idx="4114">285.49340000000001</cx:pt>
          <cx:pt idx="4115">285.49340000000001</cx:pt>
          <cx:pt idx="4116">285.49340000000001</cx:pt>
          <cx:pt idx="4117">285.49340000000001</cx:pt>
          <cx:pt idx="4118">285.49340000000001</cx:pt>
          <cx:pt idx="4119">285.49340000000001</cx:pt>
          <cx:pt idx="4120">285.49340000000001</cx:pt>
          <cx:pt idx="4121">285.49340000000001</cx:pt>
          <cx:pt idx="4122">285.49340000000001</cx:pt>
          <cx:pt idx="4123">285.49340000000001</cx:pt>
          <cx:pt idx="4124">285.49340000000001</cx:pt>
          <cx:pt idx="4125">285.49340000000001</cx:pt>
          <cx:pt idx="4126">285.49340000000001</cx:pt>
          <cx:pt idx="4127">285.49340000000001</cx:pt>
          <cx:pt idx="4128">285.49340000000001</cx:pt>
          <cx:pt idx="4129">285.49340000000001</cx:pt>
          <cx:pt idx="4130">285.49340000000001</cx:pt>
          <cx:pt idx="4131">285.49340000000001</cx:pt>
          <cx:pt idx="4132">285.49340000000001</cx:pt>
          <cx:pt idx="4133">285.49340000000001</cx:pt>
          <cx:pt idx="4134">285.49340000000001</cx:pt>
          <cx:pt idx="4135">285.49340000000001</cx:pt>
          <cx:pt idx="4136">285.49340000000001</cx:pt>
          <cx:pt idx="4137">285.49340000000001</cx:pt>
          <cx:pt idx="4138">285.49340000000001</cx:pt>
          <cx:pt idx="4139">285.49340000000001</cx:pt>
          <cx:pt idx="4140">285.49340000000001</cx:pt>
          <cx:pt idx="4141">285.49340000000001</cx:pt>
          <cx:pt idx="4142">285.49340000000001</cx:pt>
          <cx:pt idx="4143">285.49340000000001</cx:pt>
          <cx:pt idx="4144">285.49340000000001</cx:pt>
          <cx:pt idx="4145">285.49340000000001</cx:pt>
          <cx:pt idx="4146">285.49340000000001</cx:pt>
          <cx:pt idx="4147">285.49340000000001</cx:pt>
          <cx:pt idx="4148">285.49340000000001</cx:pt>
          <cx:pt idx="4149">285.49340000000001</cx:pt>
          <cx:pt idx="4150">285.49340000000001</cx:pt>
          <cx:pt idx="4151">285.49340000000001</cx:pt>
          <cx:pt idx="4152">285.49340000000001</cx:pt>
          <cx:pt idx="4153">285.49340000000001</cx:pt>
          <cx:pt idx="4154">285.49340000000001</cx:pt>
          <cx:pt idx="4155">285.49340000000001</cx:pt>
          <cx:pt idx="4156">285.49340000000001</cx:pt>
          <cx:pt idx="4157">285.49340000000001</cx:pt>
          <cx:pt idx="4158">285.49340000000001</cx:pt>
          <cx:pt idx="4159">285.49340000000001</cx:pt>
          <cx:pt idx="4160">285.49340000000001</cx:pt>
          <cx:pt idx="4161">285.49340000000001</cx:pt>
          <cx:pt idx="4162">285.49340000000001</cx:pt>
          <cx:pt idx="4163">285.49340000000001</cx:pt>
          <cx:pt idx="4164">285.49340000000001</cx:pt>
          <cx:pt idx="4165">285.49340000000001</cx:pt>
          <cx:pt idx="4166">285.49340000000001</cx:pt>
          <cx:pt idx="4167">285.49340000000001</cx:pt>
          <cx:pt idx="4168">285.49340000000001</cx:pt>
          <cx:pt idx="4169">285.49340000000001</cx:pt>
          <cx:pt idx="4170">285.49340000000001</cx:pt>
          <cx:pt idx="4171">285.49340000000001</cx:pt>
          <cx:pt idx="4172">285.49340000000001</cx:pt>
          <cx:pt idx="4173">285.49340000000001</cx:pt>
          <cx:pt idx="4174">285.49340000000001</cx:pt>
          <cx:pt idx="4175">285.49340000000001</cx:pt>
          <cx:pt idx="4176">285.49340000000001</cx:pt>
          <cx:pt idx="4177">285.49340000000001</cx:pt>
          <cx:pt idx="4178">285.49340000000001</cx:pt>
          <cx:pt idx="4179">285.49340000000001</cx:pt>
          <cx:pt idx="4180">285.49340000000001</cx:pt>
          <cx:pt idx="4181">285.49340000000001</cx:pt>
          <cx:pt idx="4182">285.49340000000001</cx:pt>
          <cx:pt idx="4183">285.49340000000001</cx:pt>
          <cx:pt idx="4184">285.49340000000001</cx:pt>
          <cx:pt idx="4185">285.49340000000001</cx:pt>
          <cx:pt idx="4186">285.49340000000001</cx:pt>
          <cx:pt idx="4187">285.49340000000001</cx:pt>
          <cx:pt idx="4188">285.49340000000001</cx:pt>
          <cx:pt idx="4189">285.49340000000001</cx:pt>
          <cx:pt idx="4190">285.49340000000001</cx:pt>
          <cx:pt idx="4191">285.49340000000001</cx:pt>
          <cx:pt idx="4192">285.49340000000001</cx:pt>
          <cx:pt idx="4193">285.49340000000001</cx:pt>
          <cx:pt idx="4194">285.49340000000001</cx:pt>
          <cx:pt idx="4195">285.49340000000001</cx:pt>
          <cx:pt idx="4196">285.49340000000001</cx:pt>
          <cx:pt idx="4197">285.49340000000001</cx:pt>
          <cx:pt idx="4198">285.49340000000001</cx:pt>
          <cx:pt idx="4199">285.49340000000001</cx:pt>
          <cx:pt idx="4200">285.49340000000001</cx:pt>
          <cx:pt idx="4201">285.49340000000001</cx:pt>
          <cx:pt idx="4202">285.49340000000001</cx:pt>
          <cx:pt idx="4203">285.49340000000001</cx:pt>
          <cx:pt idx="4204">285.49340000000001</cx:pt>
          <cx:pt idx="4205">285.49340000000001</cx:pt>
          <cx:pt idx="4206">285.49340000000001</cx:pt>
          <cx:pt idx="4207">285.49340000000001</cx:pt>
          <cx:pt idx="4208">285.49340000000001</cx:pt>
          <cx:pt idx="4209">285.49340000000001</cx:pt>
          <cx:pt idx="4210">285.49340000000001</cx:pt>
          <cx:pt idx="4211">285.49340000000001</cx:pt>
          <cx:pt idx="4212">285.49340000000001</cx:pt>
          <cx:pt idx="4213">285.49340000000001</cx:pt>
          <cx:pt idx="4214">285.49340000000001</cx:pt>
          <cx:pt idx="4215">285.49340000000001</cx:pt>
          <cx:pt idx="4216">285.49340000000001</cx:pt>
          <cx:pt idx="4217">285.49340000000001</cx:pt>
          <cx:pt idx="4218">285.49340000000001</cx:pt>
          <cx:pt idx="4219">285.49340000000001</cx:pt>
          <cx:pt idx="4220">285.49340000000001</cx:pt>
          <cx:pt idx="4221">285.49340000000001</cx:pt>
          <cx:pt idx="4222">285.49340000000001</cx:pt>
          <cx:pt idx="4223">285.49340000000001</cx:pt>
          <cx:pt idx="4224">285.49340000000001</cx:pt>
          <cx:pt idx="4225">285.49340000000001</cx:pt>
          <cx:pt idx="4226">285.49340000000001</cx:pt>
          <cx:pt idx="4227">285.49340000000001</cx:pt>
          <cx:pt idx="4228">285.49340000000001</cx:pt>
          <cx:pt idx="4229">285.49340000000001</cx:pt>
          <cx:pt idx="4230">285.49340000000001</cx:pt>
          <cx:pt idx="4231">285.49340000000001</cx:pt>
          <cx:pt idx="4232">285.49340000000001</cx:pt>
          <cx:pt idx="4233">285.49340000000001</cx:pt>
          <cx:pt idx="4234">285.49340000000001</cx:pt>
          <cx:pt idx="4235">285.49340000000001</cx:pt>
          <cx:pt idx="4236">285.49340000000001</cx:pt>
          <cx:pt idx="4237">285.49340000000001</cx:pt>
          <cx:pt idx="4238">285.49340000000001</cx:pt>
          <cx:pt idx="4239">285.49340000000001</cx:pt>
          <cx:pt idx="4240">285.49340000000001</cx:pt>
          <cx:pt idx="4241">285.49340000000001</cx:pt>
          <cx:pt idx="4242">285.49340000000001</cx:pt>
          <cx:pt idx="4243">285.49340000000001</cx:pt>
          <cx:pt idx="4244">285.49340000000001</cx:pt>
          <cx:pt idx="4245">285.49340000000001</cx:pt>
          <cx:pt idx="4246">285.49340000000001</cx:pt>
          <cx:pt idx="4247">285.49340000000001</cx:pt>
          <cx:pt idx="4248">285.49340000000001</cx:pt>
          <cx:pt idx="4249">285.49340000000001</cx:pt>
          <cx:pt idx="4250">285.49340000000001</cx:pt>
          <cx:pt idx="4251">285.49340000000001</cx:pt>
          <cx:pt idx="4252">285.49340000000001</cx:pt>
          <cx:pt idx="4253">285.49340000000001</cx:pt>
          <cx:pt idx="4254">285.49340000000001</cx:pt>
          <cx:pt idx="4255">285.49340000000001</cx:pt>
          <cx:pt idx="4256">285.49340000000001</cx:pt>
          <cx:pt idx="4257">285.49340000000001</cx:pt>
          <cx:pt idx="4258">285.49340000000001</cx:pt>
          <cx:pt idx="4259">285.49340000000001</cx:pt>
          <cx:pt idx="4260">285.49340000000001</cx:pt>
          <cx:pt idx="4261">285.49340000000001</cx:pt>
          <cx:pt idx="4262">285.49340000000001</cx:pt>
          <cx:pt idx="4263">285.49340000000001</cx:pt>
          <cx:pt idx="4264">285.49340000000001</cx:pt>
          <cx:pt idx="4265">285.49340000000001</cx:pt>
          <cx:pt idx="4266">285.49340000000001</cx:pt>
          <cx:pt idx="4267">285.49340000000001</cx:pt>
          <cx:pt idx="4268">285.49340000000001</cx:pt>
          <cx:pt idx="4269">285.49340000000001</cx:pt>
          <cx:pt idx="4270">285.49340000000001</cx:pt>
          <cx:pt idx="4271">285.49340000000001</cx:pt>
          <cx:pt idx="4272">285.49340000000001</cx:pt>
          <cx:pt idx="4273">285.49340000000001</cx:pt>
          <cx:pt idx="4274">285.49340000000001</cx:pt>
          <cx:pt idx="4275">285.49340000000001</cx:pt>
          <cx:pt idx="4276">285.49340000000001</cx:pt>
          <cx:pt idx="4277">285.49340000000001</cx:pt>
          <cx:pt idx="4278">285.49340000000001</cx:pt>
          <cx:pt idx="4279">285.49340000000001</cx:pt>
          <cx:pt idx="4280">285.49340000000001</cx:pt>
          <cx:pt idx="4281">285.49340000000001</cx:pt>
          <cx:pt idx="4282">285.49340000000001</cx:pt>
          <cx:pt idx="4283">285.49340000000001</cx:pt>
          <cx:pt idx="4284">285.49340000000001</cx:pt>
          <cx:pt idx="4285">285.49340000000001</cx:pt>
          <cx:pt idx="4286">285.49340000000001</cx:pt>
          <cx:pt idx="4287">285.49340000000001</cx:pt>
          <cx:pt idx="4288">285.49340000000001</cx:pt>
          <cx:pt idx="4289">285.49340000000001</cx:pt>
          <cx:pt idx="4290">285.49340000000001</cx:pt>
          <cx:pt idx="4291">285.49340000000001</cx:pt>
          <cx:pt idx="4292">285.49340000000001</cx:pt>
          <cx:pt idx="4293">285.49340000000001</cx:pt>
          <cx:pt idx="4294">285.49340000000001</cx:pt>
          <cx:pt idx="4295">285.49340000000001</cx:pt>
          <cx:pt idx="4296">285.49340000000001</cx:pt>
          <cx:pt idx="4297">285.49340000000001</cx:pt>
          <cx:pt idx="4298">285.49340000000001</cx:pt>
          <cx:pt idx="4299">285.49340000000001</cx:pt>
          <cx:pt idx="4300">285.49340000000001</cx:pt>
          <cx:pt idx="4301">285.49340000000001</cx:pt>
          <cx:pt idx="4302">285.49340000000001</cx:pt>
          <cx:pt idx="4303">285.49340000000001</cx:pt>
          <cx:pt idx="4304">285.49340000000001</cx:pt>
          <cx:pt idx="4305">285.49340000000001</cx:pt>
          <cx:pt idx="4306">285.49340000000001</cx:pt>
          <cx:pt idx="4307">285.49340000000001</cx:pt>
          <cx:pt idx="4308">285.49340000000001</cx:pt>
          <cx:pt idx="4309">285.49340000000001</cx:pt>
          <cx:pt idx="4310">285.49340000000001</cx:pt>
          <cx:pt idx="4311">285.49340000000001</cx:pt>
          <cx:pt idx="4312">285.49340000000001</cx:pt>
          <cx:pt idx="4313">285.49340000000001</cx:pt>
          <cx:pt idx="4314">285.49340000000001</cx:pt>
          <cx:pt idx="4315">285.49340000000001</cx:pt>
          <cx:pt idx="4316">285.49340000000001</cx:pt>
          <cx:pt idx="4317">285.49340000000001</cx:pt>
          <cx:pt idx="4318">285.49340000000001</cx:pt>
          <cx:pt idx="4319">285.49340000000001</cx:pt>
          <cx:pt idx="4320">285.49340000000001</cx:pt>
          <cx:pt idx="4321">285.49340000000001</cx:pt>
          <cx:pt idx="4322">285.49340000000001</cx:pt>
          <cx:pt idx="4323">285.49340000000001</cx:pt>
          <cx:pt idx="4324">285.49340000000001</cx:pt>
          <cx:pt idx="4325">285.49340000000001</cx:pt>
          <cx:pt idx="4326">285.49340000000001</cx:pt>
          <cx:pt idx="4327">285.49340000000001</cx:pt>
          <cx:pt idx="4328">285.49340000000001</cx:pt>
          <cx:pt idx="4329">285.49340000000001</cx:pt>
          <cx:pt idx="4330">285.49340000000001</cx:pt>
          <cx:pt idx="4331">285.49340000000001</cx:pt>
          <cx:pt idx="4332">285.49340000000001</cx:pt>
          <cx:pt idx="4333">285.49340000000001</cx:pt>
          <cx:pt idx="4334">285.49340000000001</cx:pt>
          <cx:pt idx="4335">285.49340000000001</cx:pt>
          <cx:pt idx="4336">285.49340000000001</cx:pt>
          <cx:pt idx="4337">285.49340000000001</cx:pt>
          <cx:pt idx="4338">285.49340000000001</cx:pt>
          <cx:pt idx="4339">285.49340000000001</cx:pt>
          <cx:pt idx="4340">285.49340000000001</cx:pt>
          <cx:pt idx="4341">285.49340000000001</cx:pt>
          <cx:pt idx="4342">285.49340000000001</cx:pt>
          <cx:pt idx="4343">285.49340000000001</cx:pt>
          <cx:pt idx="4344">285.49340000000001</cx:pt>
          <cx:pt idx="4345">285.49340000000001</cx:pt>
          <cx:pt idx="4346">285.49340000000001</cx:pt>
          <cx:pt idx="4347">285.49340000000001</cx:pt>
          <cx:pt idx="4348">285.49340000000001</cx:pt>
          <cx:pt idx="4349">285.49340000000001</cx:pt>
          <cx:pt idx="4350">285.49340000000001</cx:pt>
          <cx:pt idx="4351">285.49340000000001</cx:pt>
          <cx:pt idx="4352">285.49340000000001</cx:pt>
          <cx:pt idx="4353">285.49340000000001</cx:pt>
          <cx:pt idx="4354">285.49340000000001</cx:pt>
          <cx:pt idx="4355">285.49340000000001</cx:pt>
          <cx:pt idx="4356">285.49340000000001</cx:pt>
          <cx:pt idx="4357">285.49340000000001</cx:pt>
          <cx:pt idx="4358">285.49340000000001</cx:pt>
          <cx:pt idx="4359">285.49340000000001</cx:pt>
          <cx:pt idx="4360">285.49340000000001</cx:pt>
          <cx:pt idx="4361">285.49340000000001</cx:pt>
          <cx:pt idx="4362">285.49340000000001</cx:pt>
          <cx:pt idx="4363">285.49340000000001</cx:pt>
          <cx:pt idx="4364">285.49340000000001</cx:pt>
          <cx:pt idx="4365">285.49340000000001</cx:pt>
          <cx:pt idx="4366">285.49340000000001</cx:pt>
          <cx:pt idx="4367">285.49340000000001</cx:pt>
          <cx:pt idx="4368">285.49340000000001</cx:pt>
          <cx:pt idx="4369">285.49340000000001</cx:pt>
          <cx:pt idx="4370">285.49340000000001</cx:pt>
          <cx:pt idx="4371">285.49340000000001</cx:pt>
          <cx:pt idx="4372">285.49340000000001</cx:pt>
          <cx:pt idx="4373">285.49340000000001</cx:pt>
          <cx:pt idx="4374">285.49340000000001</cx:pt>
          <cx:pt idx="4375">285.49340000000001</cx:pt>
          <cx:pt idx="4376">285.49340000000001</cx:pt>
          <cx:pt idx="4377">285.49340000000001</cx:pt>
          <cx:pt idx="4378">285.49340000000001</cx:pt>
          <cx:pt idx="4379">285.49340000000001</cx:pt>
          <cx:pt idx="4380">285.49340000000001</cx:pt>
          <cx:pt idx="4381">285.49340000000001</cx:pt>
          <cx:pt idx="4382">285.49340000000001</cx:pt>
          <cx:pt idx="4383">285.49340000000001</cx:pt>
          <cx:pt idx="4384">285.49340000000001</cx:pt>
          <cx:pt idx="4385">285.49340000000001</cx:pt>
          <cx:pt idx="4386">285.49340000000001</cx:pt>
          <cx:pt idx="4387">285.49340000000001</cx:pt>
          <cx:pt idx="4388">285.49340000000001</cx:pt>
          <cx:pt idx="4389">285.49340000000001</cx:pt>
          <cx:pt idx="4390">285.49340000000001</cx:pt>
          <cx:pt idx="4391">285.49340000000001</cx:pt>
          <cx:pt idx="4392">285.49340000000001</cx:pt>
          <cx:pt idx="4393">285.49340000000001</cx:pt>
          <cx:pt idx="4394">285.49340000000001</cx:pt>
          <cx:pt idx="4395">285.49340000000001</cx:pt>
          <cx:pt idx="4396">285.49340000000001</cx:pt>
          <cx:pt idx="4397">285.49340000000001</cx:pt>
          <cx:pt idx="4398">285.49340000000001</cx:pt>
          <cx:pt idx="4399">285.49340000000001</cx:pt>
          <cx:pt idx="4400">285.49340000000001</cx:pt>
          <cx:pt idx="4401">285.49340000000001</cx:pt>
          <cx:pt idx="4402">285.49340000000001</cx:pt>
          <cx:pt idx="4403">285.49340000000001</cx:pt>
          <cx:pt idx="4404">285.49340000000001</cx:pt>
          <cx:pt idx="4405">285.49340000000001</cx:pt>
          <cx:pt idx="4406">285.49340000000001</cx:pt>
          <cx:pt idx="4407">285.49340000000001</cx:pt>
          <cx:pt idx="4408">285.49340000000001</cx:pt>
          <cx:pt idx="4409">285.49340000000001</cx:pt>
          <cx:pt idx="4410">285.49340000000001</cx:pt>
          <cx:pt idx="4411">285.49340000000001</cx:pt>
          <cx:pt idx="4412">285.49340000000001</cx:pt>
          <cx:pt idx="4413">285.49340000000001</cx:pt>
          <cx:pt idx="4414">285.49340000000001</cx:pt>
          <cx:pt idx="4415">285.49340000000001</cx:pt>
          <cx:pt idx="4416">285.49340000000001</cx:pt>
          <cx:pt idx="4417">285.49340000000001</cx:pt>
          <cx:pt idx="4418">285.49340000000001</cx:pt>
          <cx:pt idx="4419">285.49340000000001</cx:pt>
          <cx:pt idx="4420">285.49340000000001</cx:pt>
          <cx:pt idx="4421">285.49340000000001</cx:pt>
          <cx:pt idx="4422">285.49340000000001</cx:pt>
          <cx:pt idx="4423">285.49340000000001</cx:pt>
          <cx:pt idx="4424">285.49340000000001</cx:pt>
          <cx:pt idx="4425">285.49340000000001</cx:pt>
          <cx:pt idx="4426">285.49340000000001</cx:pt>
          <cx:pt idx="4427">285.49340000000001</cx:pt>
          <cx:pt idx="4428">285.49340000000001</cx:pt>
          <cx:pt idx="4429">285.49340000000001</cx:pt>
          <cx:pt idx="4430">285.49340000000001</cx:pt>
          <cx:pt idx="4431">285.49340000000001</cx:pt>
          <cx:pt idx="4432">285.49340000000001</cx:pt>
          <cx:pt idx="4433">285.49340000000001</cx:pt>
          <cx:pt idx="4434">285.49340000000001</cx:pt>
          <cx:pt idx="4435">285.49340000000001</cx:pt>
          <cx:pt idx="4436">285.49340000000001</cx:pt>
          <cx:pt idx="4437">285.49340000000001</cx:pt>
          <cx:pt idx="4438">285.49340000000001</cx:pt>
          <cx:pt idx="4439">285.49340000000001</cx:pt>
          <cx:pt idx="4440">285.49340000000001</cx:pt>
          <cx:pt idx="4441">285.49340000000001</cx:pt>
          <cx:pt idx="4442">285.49340000000001</cx:pt>
          <cx:pt idx="4443">285.49340000000001</cx:pt>
          <cx:pt idx="4444">285.49340000000001</cx:pt>
          <cx:pt idx="4445">285.49340000000001</cx:pt>
          <cx:pt idx="4446">285.49340000000001</cx:pt>
          <cx:pt idx="4447">285.49340000000001</cx:pt>
          <cx:pt idx="4448">285.49340000000001</cx:pt>
          <cx:pt idx="4449">285.49340000000001</cx:pt>
          <cx:pt idx="4450">285.49340000000001</cx:pt>
          <cx:pt idx="4451">285.49340000000001</cx:pt>
          <cx:pt idx="4452">285.49340000000001</cx:pt>
          <cx:pt idx="4453">285.49340000000001</cx:pt>
          <cx:pt idx="4454">285.49340000000001</cx:pt>
          <cx:pt idx="4455">285.49340000000001</cx:pt>
          <cx:pt idx="4456">285.49340000000001</cx:pt>
          <cx:pt idx="4457">285.49340000000001</cx:pt>
          <cx:pt idx="4458">285.49340000000001</cx:pt>
          <cx:pt idx="4459">285.49340000000001</cx:pt>
          <cx:pt idx="4460">285.49340000000001</cx:pt>
          <cx:pt idx="4461">285.49340000000001</cx:pt>
          <cx:pt idx="4462">285.49340000000001</cx:pt>
          <cx:pt idx="4463">285.49340000000001</cx:pt>
          <cx:pt idx="4464">285.49340000000001</cx:pt>
          <cx:pt idx="4465">285.49340000000001</cx:pt>
          <cx:pt idx="4466">285.49340000000001</cx:pt>
          <cx:pt idx="4467">285.49340000000001</cx:pt>
          <cx:pt idx="4468">285.49340000000001</cx:pt>
          <cx:pt idx="4469">285.49340000000001</cx:pt>
          <cx:pt idx="4470">285.49340000000001</cx:pt>
          <cx:pt idx="4471">285.49340000000001</cx:pt>
          <cx:pt idx="4472">285.49340000000001</cx:pt>
          <cx:pt idx="4473">285.49340000000001</cx:pt>
          <cx:pt idx="4474">285.49340000000001</cx:pt>
          <cx:pt idx="4475">285.49340000000001</cx:pt>
          <cx:pt idx="4476">285.49340000000001</cx:pt>
          <cx:pt idx="4477">285.49340000000001</cx:pt>
          <cx:pt idx="4478">285.49340000000001</cx:pt>
          <cx:pt idx="4479">285.49340000000001</cx:pt>
          <cx:pt idx="4480">285.49340000000001</cx:pt>
          <cx:pt idx="4481">285.49340000000001</cx:pt>
          <cx:pt idx="4482">285.49340000000001</cx:pt>
          <cx:pt idx="4483">285.49340000000001</cx:pt>
          <cx:pt idx="4484">285.49340000000001</cx:pt>
          <cx:pt idx="4485">285.49340000000001</cx:pt>
          <cx:pt idx="4486">285.49340000000001</cx:pt>
          <cx:pt idx="4487">285.49340000000001</cx:pt>
          <cx:pt idx="4488">285.49340000000001</cx:pt>
          <cx:pt idx="4489">285.49340000000001</cx:pt>
          <cx:pt idx="4490">285.49340000000001</cx:pt>
          <cx:pt idx="4491">285.49340000000001</cx:pt>
          <cx:pt idx="4492">285.49340000000001</cx:pt>
          <cx:pt idx="4493">285.49340000000001</cx:pt>
          <cx:pt idx="4494">285.49340000000001</cx:pt>
          <cx:pt idx="4495">285.49340000000001</cx:pt>
          <cx:pt idx="4496">285.49340000000001</cx:pt>
          <cx:pt idx="4497">285.49340000000001</cx:pt>
          <cx:pt idx="4498">285.49340000000001</cx:pt>
          <cx:pt idx="4499">285.49340000000001</cx:pt>
          <cx:pt idx="4500">285.49340000000001</cx:pt>
          <cx:pt idx="4501">285.49340000000001</cx:pt>
          <cx:pt idx="4502">285.49340000000001</cx:pt>
          <cx:pt idx="4503">285.49340000000001</cx:pt>
          <cx:pt idx="4504">285.49340000000001</cx:pt>
          <cx:pt idx="4505">285.49340000000001</cx:pt>
          <cx:pt idx="4506">285.49340000000001</cx:pt>
          <cx:pt idx="4507">285.49340000000001</cx:pt>
          <cx:pt idx="4508">285.49340000000001</cx:pt>
          <cx:pt idx="4509">285.49340000000001</cx:pt>
          <cx:pt idx="4510">285.49340000000001</cx:pt>
          <cx:pt idx="4511">285.49340000000001</cx:pt>
          <cx:pt idx="4512">285.49340000000001</cx:pt>
          <cx:pt idx="4513">285.49340000000001</cx:pt>
          <cx:pt idx="4514">285.49340000000001</cx:pt>
          <cx:pt idx="4515">285.49340000000001</cx:pt>
          <cx:pt idx="4516">285.49340000000001</cx:pt>
          <cx:pt idx="4517">285.49340000000001</cx:pt>
          <cx:pt idx="4518">285.49340000000001</cx:pt>
          <cx:pt idx="4519">285.49340000000001</cx:pt>
          <cx:pt idx="4520">285.49340000000001</cx:pt>
          <cx:pt idx="4521">285.49340000000001</cx:pt>
          <cx:pt idx="4522">285.49340000000001</cx:pt>
          <cx:pt idx="4523">285.49340000000001</cx:pt>
          <cx:pt idx="4524">285.49340000000001</cx:pt>
          <cx:pt idx="4525">285.49340000000001</cx:pt>
          <cx:pt idx="4526">285.49340000000001</cx:pt>
          <cx:pt idx="4527">285.49340000000001</cx:pt>
          <cx:pt idx="4528">285.49340000000001</cx:pt>
          <cx:pt idx="4529">285.49340000000001</cx:pt>
          <cx:pt idx="4530">285.49340000000001</cx:pt>
          <cx:pt idx="4531">285.49340000000001</cx:pt>
          <cx:pt idx="4532">285.49340000000001</cx:pt>
          <cx:pt idx="4533">285.49340000000001</cx:pt>
          <cx:pt idx="4534">285.49340000000001</cx:pt>
          <cx:pt idx="4535">285.49340000000001</cx:pt>
          <cx:pt idx="4536">285.49340000000001</cx:pt>
          <cx:pt idx="4537">285.49340000000001</cx:pt>
          <cx:pt idx="4538">285.49340000000001</cx:pt>
          <cx:pt idx="4539">285.49340000000001</cx:pt>
          <cx:pt idx="4540">285.49340000000001</cx:pt>
          <cx:pt idx="4541">285.49340000000001</cx:pt>
          <cx:pt idx="4542">285.49340000000001</cx:pt>
          <cx:pt idx="4543">285.49340000000001</cx:pt>
          <cx:pt idx="4544">285.49340000000001</cx:pt>
          <cx:pt idx="4545">285.49340000000001</cx:pt>
          <cx:pt idx="4546">285.49340000000001</cx:pt>
          <cx:pt idx="4547">285.49340000000001</cx:pt>
          <cx:pt idx="4548">285.49340000000001</cx:pt>
          <cx:pt idx="4549">285.49340000000001</cx:pt>
          <cx:pt idx="4550">285.49340000000001</cx:pt>
          <cx:pt idx="4551">285.49340000000001</cx:pt>
          <cx:pt idx="4552">285.49340000000001</cx:pt>
          <cx:pt idx="4553">285.49340000000001</cx:pt>
          <cx:pt idx="4554">285.49340000000001</cx:pt>
          <cx:pt idx="4555">285.49340000000001</cx:pt>
          <cx:pt idx="4556">285.49340000000001</cx:pt>
          <cx:pt idx="4557">285.49340000000001</cx:pt>
          <cx:pt idx="4558">285.49340000000001</cx:pt>
          <cx:pt idx="4559">285.49340000000001</cx:pt>
          <cx:pt idx="4560">285.49340000000001</cx:pt>
          <cx:pt idx="4561">285.49340000000001</cx:pt>
          <cx:pt idx="4562">285.49340000000001</cx:pt>
          <cx:pt idx="4563">285.49340000000001</cx:pt>
          <cx:pt idx="4564">285.49340000000001</cx:pt>
          <cx:pt idx="4565">285.49340000000001</cx:pt>
          <cx:pt idx="4566">285.49340000000001</cx:pt>
          <cx:pt idx="4567">285.49340000000001</cx:pt>
          <cx:pt idx="4568">285.49340000000001</cx:pt>
          <cx:pt idx="4569">285.49340000000001</cx:pt>
          <cx:pt idx="4570">285.49340000000001</cx:pt>
          <cx:pt idx="4571">285.49340000000001</cx:pt>
          <cx:pt idx="4572">285.49340000000001</cx:pt>
          <cx:pt idx="4573">285.49340000000001</cx:pt>
          <cx:pt idx="4574">285.49340000000001</cx:pt>
          <cx:pt idx="4575">285.49340000000001</cx:pt>
          <cx:pt idx="4576">285.49340000000001</cx:pt>
          <cx:pt idx="4577">285.49340000000001</cx:pt>
          <cx:pt idx="4578">285.49340000000001</cx:pt>
          <cx:pt idx="4579">285.49340000000001</cx:pt>
          <cx:pt idx="4580">285.49340000000001</cx:pt>
          <cx:pt idx="4581">285.49340000000001</cx:pt>
          <cx:pt idx="4582">285.49340000000001</cx:pt>
          <cx:pt idx="4583">285.49340000000001</cx:pt>
          <cx:pt idx="4584">285.49340000000001</cx:pt>
          <cx:pt idx="4585">285.49340000000001</cx:pt>
          <cx:pt idx="4586">285.49340000000001</cx:pt>
          <cx:pt idx="4587">285.49340000000001</cx:pt>
          <cx:pt idx="4588">285.49340000000001</cx:pt>
          <cx:pt idx="4589">285.49340000000001</cx:pt>
          <cx:pt idx="4590">285.49340000000001</cx:pt>
          <cx:pt idx="4591">285.49340000000001</cx:pt>
          <cx:pt idx="4592">285.49340000000001</cx:pt>
          <cx:pt idx="4593">285.49340000000001</cx:pt>
          <cx:pt idx="4594">285.49340000000001</cx:pt>
          <cx:pt idx="4595">285.49340000000001</cx:pt>
          <cx:pt idx="4596">285.49340000000001</cx:pt>
          <cx:pt idx="4597">285.49340000000001</cx:pt>
          <cx:pt idx="4598">285.49340000000001</cx:pt>
          <cx:pt idx="4599">285.49340000000001</cx:pt>
          <cx:pt idx="4600">285.49340000000001</cx:pt>
          <cx:pt idx="4601">285.49340000000001</cx:pt>
          <cx:pt idx="4602">285.49340000000001</cx:pt>
          <cx:pt idx="4603">285.49340000000001</cx:pt>
          <cx:pt idx="4604">285.49340000000001</cx:pt>
          <cx:pt idx="4605">285.49340000000001</cx:pt>
          <cx:pt idx="4606">285.49340000000001</cx:pt>
          <cx:pt idx="4607">285.49340000000001</cx:pt>
          <cx:pt idx="4608">285.49340000000001</cx:pt>
          <cx:pt idx="4609">285.49340000000001</cx:pt>
          <cx:pt idx="4610">285.49340000000001</cx:pt>
          <cx:pt idx="4611">285.49340000000001</cx:pt>
          <cx:pt idx="4612">285.49340000000001</cx:pt>
          <cx:pt idx="4613">285.49340000000001</cx:pt>
          <cx:pt idx="4614">285.49340000000001</cx:pt>
          <cx:pt idx="4615">285.49340000000001</cx:pt>
          <cx:pt idx="4616">285.49340000000001</cx:pt>
          <cx:pt idx="4617">285.49340000000001</cx:pt>
          <cx:pt idx="4618">285.49340000000001</cx:pt>
          <cx:pt idx="4619">285.49340000000001</cx:pt>
          <cx:pt idx="4620">285.49340000000001</cx:pt>
          <cx:pt idx="4621">285.49340000000001</cx:pt>
          <cx:pt idx="4622">285.49340000000001</cx:pt>
          <cx:pt idx="4623">285.49340000000001</cx:pt>
          <cx:pt idx="4624">285.49340000000001</cx:pt>
          <cx:pt idx="4625">285.49340000000001</cx:pt>
          <cx:pt idx="4626">285.49340000000001</cx:pt>
          <cx:pt idx="4627">285.49340000000001</cx:pt>
          <cx:pt idx="4628">285.49340000000001</cx:pt>
          <cx:pt idx="4629">285.49340000000001</cx:pt>
          <cx:pt idx="4630">285.49340000000001</cx:pt>
          <cx:pt idx="4631">285.49340000000001</cx:pt>
          <cx:pt idx="4632">285.49340000000001</cx:pt>
          <cx:pt idx="4633">285.49340000000001</cx:pt>
          <cx:pt idx="4634">285.49340000000001</cx:pt>
          <cx:pt idx="4635">285.49340000000001</cx:pt>
          <cx:pt idx="4636">285.49340000000001</cx:pt>
          <cx:pt idx="4637">285.49340000000001</cx:pt>
          <cx:pt idx="4638">285.49340000000001</cx:pt>
          <cx:pt idx="4639">285.49340000000001</cx:pt>
          <cx:pt idx="4640">285.49340000000001</cx:pt>
          <cx:pt idx="4641">285.49340000000001</cx:pt>
          <cx:pt idx="4642">285.49340000000001</cx:pt>
          <cx:pt idx="4643">285.49340000000001</cx:pt>
          <cx:pt idx="4644">285.49340000000001</cx:pt>
          <cx:pt idx="4645">285.49340000000001</cx:pt>
          <cx:pt idx="4646">285.49340000000001</cx:pt>
          <cx:pt idx="4647">285.49340000000001</cx:pt>
          <cx:pt idx="4648">285.49340000000001</cx:pt>
          <cx:pt idx="4649">285.49340000000001</cx:pt>
          <cx:pt idx="4650">285.49340000000001</cx:pt>
          <cx:pt idx="4651">285.49340000000001</cx:pt>
          <cx:pt idx="4652">285.49340000000001</cx:pt>
          <cx:pt idx="4653">285.49340000000001</cx:pt>
          <cx:pt idx="4654">285.49340000000001</cx:pt>
          <cx:pt idx="4655">285.49340000000001</cx:pt>
          <cx:pt idx="4656">285.49340000000001</cx:pt>
          <cx:pt idx="4657">285.49340000000001</cx:pt>
          <cx:pt idx="4658">285.49340000000001</cx:pt>
          <cx:pt idx="4659">285.49340000000001</cx:pt>
          <cx:pt idx="4660">285.49340000000001</cx:pt>
          <cx:pt idx="4661">285.49340000000001</cx:pt>
          <cx:pt idx="4662">285.49340000000001</cx:pt>
          <cx:pt idx="4663">285.49340000000001</cx:pt>
          <cx:pt idx="4664">285.49340000000001</cx:pt>
          <cx:pt idx="4665">285.49340000000001</cx:pt>
          <cx:pt idx="4666">285.49340000000001</cx:pt>
          <cx:pt idx="4667">285.49340000000001</cx:pt>
          <cx:pt idx="4668">285.49340000000001</cx:pt>
          <cx:pt idx="4669">285.49340000000001</cx:pt>
          <cx:pt idx="4670">285.49340000000001</cx:pt>
          <cx:pt idx="4671">285.49340000000001</cx:pt>
          <cx:pt idx="4672">285.49340000000001</cx:pt>
          <cx:pt idx="4673">285.49340000000001</cx:pt>
          <cx:pt idx="4674">285.49340000000001</cx:pt>
          <cx:pt idx="4675">285.49340000000001</cx:pt>
          <cx:pt idx="4676">285.49340000000001</cx:pt>
          <cx:pt idx="4677">285.49340000000001</cx:pt>
          <cx:pt idx="4678">285.49340000000001</cx:pt>
          <cx:pt idx="4679">285.49340000000001</cx:pt>
          <cx:pt idx="4680">285.49340000000001</cx:pt>
          <cx:pt idx="4681">285.49340000000001</cx:pt>
          <cx:pt idx="4682">285.49340000000001</cx:pt>
          <cx:pt idx="4683">285.49340000000001</cx:pt>
          <cx:pt idx="4684">285.49340000000001</cx:pt>
          <cx:pt idx="4685">285.49340000000001</cx:pt>
          <cx:pt idx="4686">285.49340000000001</cx:pt>
          <cx:pt idx="4687">285.49340000000001</cx:pt>
          <cx:pt idx="4688">285.49340000000001</cx:pt>
          <cx:pt idx="4689">285.49340000000001</cx:pt>
          <cx:pt idx="4690">285.49340000000001</cx:pt>
          <cx:pt idx="4691">285.49340000000001</cx:pt>
          <cx:pt idx="4692">285.49340000000001</cx:pt>
          <cx:pt idx="4693">285.49340000000001</cx:pt>
          <cx:pt idx="4694">285.49340000000001</cx:pt>
          <cx:pt idx="4695">285.49340000000001</cx:pt>
          <cx:pt idx="4696">285.49340000000001</cx:pt>
          <cx:pt idx="4697">285.49340000000001</cx:pt>
          <cx:pt idx="4698">285.49340000000001</cx:pt>
          <cx:pt idx="4699">285.49340000000001</cx:pt>
          <cx:pt idx="4700">285.49340000000001</cx:pt>
          <cx:pt idx="4701">285.49340000000001</cx:pt>
          <cx:pt idx="4702">285.49340000000001</cx:pt>
          <cx:pt idx="4703">285.49340000000001</cx:pt>
          <cx:pt idx="4704">285.49340000000001</cx:pt>
          <cx:pt idx="4705">285.49340000000001</cx:pt>
          <cx:pt idx="4706">285.49340000000001</cx:pt>
          <cx:pt idx="4707">285.49340000000001</cx:pt>
          <cx:pt idx="4708">285.49340000000001</cx:pt>
          <cx:pt idx="4709">285.49340000000001</cx:pt>
          <cx:pt idx="4710">285.49340000000001</cx:pt>
          <cx:pt idx="4711">285.49340000000001</cx:pt>
          <cx:pt idx="4712">285.49340000000001</cx:pt>
          <cx:pt idx="4713">285.49340000000001</cx:pt>
          <cx:pt idx="4714">285.49340000000001</cx:pt>
          <cx:pt idx="4715">285.49340000000001</cx:pt>
          <cx:pt idx="4716">285.49340000000001</cx:pt>
          <cx:pt idx="4717">285.49340000000001</cx:pt>
          <cx:pt idx="4718">285.49340000000001</cx:pt>
          <cx:pt idx="4719">285.49340000000001</cx:pt>
          <cx:pt idx="4720">285.49340000000001</cx:pt>
          <cx:pt idx="4721">285.49340000000001</cx:pt>
          <cx:pt idx="4722">285.49340000000001</cx:pt>
          <cx:pt idx="4723">285.49340000000001</cx:pt>
          <cx:pt idx="4724">285.49340000000001</cx:pt>
          <cx:pt idx="4725">285.49340000000001</cx:pt>
          <cx:pt idx="4726">285.49340000000001</cx:pt>
          <cx:pt idx="4727">285.49340000000001</cx:pt>
          <cx:pt idx="4728">285.49340000000001</cx:pt>
          <cx:pt idx="4729">285.49340000000001</cx:pt>
          <cx:pt idx="4730">285.49340000000001</cx:pt>
          <cx:pt idx="4731">285.49340000000001</cx:pt>
          <cx:pt idx="4732">285.49340000000001</cx:pt>
          <cx:pt idx="4733">285.49340000000001</cx:pt>
          <cx:pt idx="4734">285.49340000000001</cx:pt>
          <cx:pt idx="4735">285.49340000000001</cx:pt>
          <cx:pt idx="4736">285.49340000000001</cx:pt>
          <cx:pt idx="4737">285.49340000000001</cx:pt>
          <cx:pt idx="4738">285.49340000000001</cx:pt>
          <cx:pt idx="4739">285.49340000000001</cx:pt>
          <cx:pt idx="4740">285.49340000000001</cx:pt>
          <cx:pt idx="4741">285.49340000000001</cx:pt>
          <cx:pt idx="4742">285.49340000000001</cx:pt>
          <cx:pt idx="4743">285.49340000000001</cx:pt>
          <cx:pt idx="4744">285.49340000000001</cx:pt>
          <cx:pt idx="4745">285.49340000000001</cx:pt>
          <cx:pt idx="4746">285.49340000000001</cx:pt>
          <cx:pt idx="4747">285.49340000000001</cx:pt>
          <cx:pt idx="4748">285.49340000000001</cx:pt>
          <cx:pt idx="4749">285.49340000000001</cx:pt>
          <cx:pt idx="4750">282.76324840000001</cx:pt>
          <cx:pt idx="4751">282.57940910000002</cx:pt>
          <cx:pt idx="4752">280.50982429999999</cx:pt>
          <cx:pt idx="4753">279.96065129999999</cx:pt>
          <cx:pt idx="4754">279.83881250000002</cx:pt>
          <cx:pt idx="4755">279.74736489999998</cx:pt>
          <cx:pt idx="4756">279.29059869999998</cx:pt>
          <cx:pt idx="4757">278.9252803</cx:pt>
          <cx:pt idx="4758">276.09323599999999</cx:pt>
          <cx:pt idx="4759">275.88135030000001</cx:pt>
          <cx:pt idx="4760">273.93195989999998</cx:pt>
          <cx:pt idx="4761">273.23150090000001</cx:pt>
          <cx:pt idx="4762">271.40443649999997</cx:pt>
          <cx:pt idx="4763">271.34290800000002</cx:pt>
          <cx:pt idx="4764">268.90634499999999</cx:pt>
          <cx:pt idx="4765">267.87144599999999</cx:pt>
          <cx:pt idx="4766">265.86195830000003</cx:pt>
          <cx:pt idx="4767">265.34390739999998</cx:pt>
          <cx:pt idx="4768">263.76077939999999</cx:pt>
          <cx:pt idx="4769">263.45651729999997</cx:pt>
          <cx:pt idx="4770">262.84677520000002</cx:pt>
          <cx:pt idx="4771">262.02493420000002</cx:pt>
          <cx:pt idx="4772">261.5679245</cx:pt>
          <cx:pt idx="4773">257.7002655</cx:pt>
          <cx:pt idx="4774">253.65112740000001</cx:pt>
          <cx:pt idx="4775">253.132848</cx:pt>
          <cx:pt idx="4776">250.30031650000001</cx:pt>
          <cx:pt idx="4777">249.35686509999999</cx:pt>
          <cx:pt idx="4778">249.2939207</cx:pt>
          <cx:pt idx="4779">245.27613289999999</cx:pt>
          <cx:pt idx="4780">243.17496919999999</cx:pt>
          <cx:pt idx="4781">242.38376299999999</cx:pt>
          <cx:pt idx="4782">242.3220062</cx:pt>
          <cx:pt idx="4783">241.6830453</cx:pt>
          <cx:pt idx="4784">241.65263880000001</cx:pt>
          <cx:pt idx="4785">241.46785560000001</cx:pt>
          <cx:pt idx="4786">237.81610190000001</cx:pt>
          <cx:pt idx="4787">237.75457349999999</cx:pt>
          <cx:pt idx="4788">237.50920579999999</cx:pt>
          <cx:pt idx="4789">237.4196614</cx:pt>
          <cx:pt idx="4790">236.96289530000001</cx:pt>
          <cx:pt idx="4791">234.67716150000001</cx:pt>
          <cx:pt idx="4792">233.94652450000001</cx:pt>
          <cx:pt idx="4793">233.64367849999999</cx:pt>
          <cx:pt idx="4794">232.48645339999999</cx:pt>
          <cx:pt idx="4795">232.09072850000001</cx:pt>
          <cx:pt idx="4796">231.5729212</cx:pt>
          <cx:pt idx="4797">231.11615509999999</cx:pt>
          <cx:pt idx="4798">230.53753499999999</cx:pt>
          <cx:pt idx="4799">230.23301409999999</cx:pt>
          <cx:pt idx="4800">228.9522753</cx:pt>
          <cx:pt idx="4801">228.80001490000001</cx:pt>
          <cx:pt idx="4802">227.6430182</cx:pt>
          <cx:pt idx="4803">226.79171479999999</cx:pt>
          <cx:pt idx="4804">224.5672659</cx:pt>
          <cx:pt idx="4805">224.14114979999999</cx:pt>
          <cx:pt idx="4806">221.06539739999999</cx:pt>
          <cx:pt idx="4807">218.84426769999999</cx:pt>
          <cx:pt idx="4808">218.81387659999999</cx:pt>
          <cx:pt idx="4809">218.47896449999999</cx:pt>
          <cx:pt idx="4810">215.2796984</cx:pt>
          <cx:pt idx="4811">212.8146323</cx:pt>
          <cx:pt idx="4812">211.04694939999999</cx:pt>
          <cx:pt idx="4813">210.65288419999999</cx:pt>
          <cx:pt idx="4814">210.5899397</cx:pt>
          <cx:pt idx="4815">210.1027824</cx:pt>
          <cx:pt idx="4816">205.86551119999999</cx:pt>
          <cx:pt idx="4817">205.34628789999999</cx:pt>
          <cx:pt idx="4818">200.5653251</cx:pt>
          <cx:pt idx="4819">196.08863959999999</cx:pt>
          <cx:pt idx="4820">191.61265460000001</cx:pt>
          <cx:pt idx="4821">191.0644408</cx:pt>
          <cx:pt idx="4822">189.6333449</cx:pt>
          <cx:pt idx="4823">188.71981270000001</cx:pt>
          <cx:pt idx="4824">187.31910790000001</cx:pt>
          <cx:pt idx="4825">183.2079693</cx:pt>
          <cx:pt idx="4826">182.41581909999999</cx:pt>
          <cx:pt idx="4827">182.29443710000001</cx:pt>
          <cx:pt idx="4828">179.7669137</cx:pt>
          <cx:pt idx="4829">179.24933480000001</cx:pt>
          <cx:pt idx="4830">178.91395069999999</cx:pt>
          <cx:pt idx="4831">177.45267670000001</cx:pt>
          <cx:pt idx="4832">176.41729050000001</cx:pt>
          <cx:pt idx="4833">176.2042324</cx:pt>
          <cx:pt idx="4834">176.0210936</cx:pt>
          <cx:pt idx="4835">174.83393409999999</cx:pt>
          <cx:pt idx="4836">172.6705264</cx:pt>
          <cx:pt idx="4837">169.99217379999999</cx:pt>
          <cx:pt idx="4838">167.1292511</cx:pt>
          <cx:pt idx="4839">166.61190049999999</cx:pt>
          <cx:pt idx="4840">162.50053349999999</cx:pt>
          <cx:pt idx="4841">161.8919942</cx:pt>
          <cx:pt idx="4842">160.58250870000001</cx:pt>
          <cx:pt idx="4843">158.99913710000001</cx:pt>
          <cx:pt idx="4844">158.45923680000001</cx:pt>
          <cx:pt idx="4845">156.62338690000001</cx:pt>
          <cx:pt idx="4846">155.95331909999999</cx:pt>
          <cx:pt idx="4847">153.21296609999999</cx:pt>
          <cx:pt idx="4848">152.90868879999999</cx:pt>
          <cx:pt idx="4849">152.7953918</cx:pt>
          <cx:pt idx="4850">149.40538910000001</cx:pt>
          <cx:pt idx="4851">149.01085190000001</cx:pt>
          <cx:pt idx="4852">147.3044538</cx:pt>
          <cx:pt idx="4853">147.2141938</cx:pt>
          <cx:pt idx="4854">145.1123145</cx:pt>
          <cx:pt idx="4855">144.65602039999999</cx:pt>
          <cx:pt idx="4856">144.62561400000001</cx:pt>
          <cx:pt idx="4857">144.41161199999999</cx:pt>
          <cx:pt idx="4858">144.35079909999999</cx:pt>
          <cx:pt idx="4859">144.1386851</cx:pt>
          <cx:pt idx="4860">144.07740029999999</cx:pt>
          <cx:pt idx="4861">140.78907709999999</cx:pt>
          <cx:pt idx="4862">139.81426010000001</cx:pt>
          <cx:pt idx="4863">137.895748</cx:pt>
          <cx:pt idx="4864">137.3772251</cx:pt>
          <cx:pt idx="4865">136.5254497</cx:pt>
          <cx:pt idx="4866">136.49504329999999</cx:pt>
          <cx:pt idx="4867">134.72807599999999</cx:pt>
          <cx:pt idx="4868">132.26206579999999</cx:pt>
          <cx:pt idx="4869">129.82644680000001</cx:pt>
          <cx:pt idx="4870">129.765162</cx:pt>
          <cx:pt idx="4871">129.7340552</cx:pt>
          <cx:pt idx="4872">123.88729979999999</cx:pt>
          <cx:pt idx="4873">123.735755</cx:pt>
          <cx:pt idx="4874">123.7041761</cx:pt>
          <cx:pt idx="4875">120.6296114</cx:pt>
          <cx:pt idx="4876">116.365512</cx:pt>
          <cx:pt idx="4877">116.1838044</cx:pt>
          <cx:pt idx="4878">114.4168371</cx:pt>
          <cx:pt idx="4879">114.35673989999999</cx:pt>
          <cx:pt idx="4880">113.198312</cx:pt>
          <cx:pt idx="4881">112.6505703</cx:pt>
          <cx:pt idx="4882">112.3156582</cx:pt>
          <cx:pt idx="4883">108.1140312</cx:pt>
          <cx:pt idx="4884">107.9617708</cx:pt>
          <cx:pt idx="4885">107.9007295</cx:pt>
          <cx:pt idx="4886">107.26059619999999</cx:pt>
          <cx:pt idx="4887">106.7130981</cx:pt>
          <cx:pt idx="4888">106.6515696</cx:pt>
          <cx:pt idx="4889">106.46701469999999</cx:pt>
          <cx:pt idx="4890">104.4596739</cx:pt>
          <cx:pt idx="4891">101.6575488</cx:pt>
          <cx:pt idx="4892">101.5052884</cx:pt>
          <cx:pt idx="4893">101.4444908</cx:pt>
          <cx:pt idx="4894">100.1967621</cx:pt>
          <cx:pt idx="4895">99.892241209999995</cx:pt>
          <cx:pt idx="4896">97.089887719999993</cx:pt>
          <cx:pt idx="4897">96.298209529999994</cx:pt>
          <cx:pt idx="4898">96.267803119999996</cx:pt>
          <cx:pt idx="4899">95.780158589999999</cx:pt>
          <cx:pt idx="4900">95.019130430000004</cx:pt>
          <cx:pt idx="4901">94.197045829999993</cx:pt>
          <cx:pt idx="4902">93.435758829999997</cx:pt>
          <cx:pt idx="4903">91.425799150000003</cx:pt>
          <cx:pt idx="4904">89.842442770000005</cx:pt>
          <cx:pt idx="4905">88.13698875</cx:pt>
          <cx:pt idx="4906">86.401143540000007</cx:pt>
          <cx:pt idx="4907">86.279517900000002</cx:pt>
          <cx:pt idx="4908">85.274781669999996</cx:pt>
          <cx:pt idx="4909">84.056500170000007</cx:pt>
          <cx:pt idx="4910">80.980991430000003</cx:pt>
          <cx:pt idx="4911">80.706892179999997</cx:pt>
          <cx:pt idx="4912">79.549880279999996</cx:pt>
          <cx:pt idx="4913">78.423061630000007</cx:pt>
          <cx:pt idx="4914">77.479123000000001</cx:pt>
          <cx:pt idx="4915">77.083154480000005</cx:pt>
          <cx:pt idx="4916">75.408350479999996</cx:pt>
          <cx:pt idx="4917">70.049011199999995</cx:pt>
          <cx:pt idx="4918">69.805303129999999</cx:pt>
          <cx:pt idx="4919">69.500797460000001</cx:pt>
          <cx:pt idx="4920">69.409349840000004</cx:pt>
          <cx:pt idx="4921">67.764708639999995</cx:pt>
          <cx:pt idx="4922">67.155925699999997</cx:pt>
          <cx:pt idx="4923">64.291815369999995</cx:pt>
          <cx:pt idx="4924">61.429121049999999</cx:pt>
          <cx:pt idx="4925">58.598980019999999</cx:pt>
          <cx:pt idx="4926">58.538182429999999</cx:pt>
          <cx:pt idx="4927">57.137477689999997</cx:pt>
          <cx:pt idx="4928">55.887130130000003</cx:pt>
          <cx:pt idx="4929">52.539166549999997</cx:pt>
          <cx:pt idx="4930">52.204026089999999</cx:pt>
          <cx:pt idx="4931">50.681710930000001</cx:pt>
          <cx:pt idx="4932">49.950830340000003</cx:pt>
          <cx:pt idx="4933">47.969617419999999</cx:pt>
          <cx:pt idx="4934">47.423306949999997</cx:pt>
          <cx:pt idx="4935">46.447058650000002</cx:pt>
          <cx:pt idx="4936">46.142552979999998</cx:pt>
          <cx:pt idx="4937">46.11214657</cx:pt>
          <cx:pt idx="4938">44.406936160000001</cx:pt>
          <cx:pt idx="4939">43.584135940000003</cx:pt>
          <cx:pt idx="4940">42.427382889999997</cx:pt>
          <cx:pt idx="4941">42.366098059999999</cx:pt>
          <cx:pt idx="4942">41.544485469999998</cx:pt>
          <cx:pt idx="4943">37.402955669999997</cx:pt>
          <cx:pt idx="4944">34.570911389999999</cx:pt>
          <cx:pt idx="4945">34.083738869999998</cx:pt>
          <cx:pt idx="4946">31.831730749999998</cx:pt>
          <cx:pt idx="4947">31.525793839999999</cx:pt>
          <cx:pt idx="4948">28.754805990000001</cx:pt>
          <cx:pt idx="4949">28.724155960000001</cx:pt>
          <cx:pt idx="4950">28.358837470000001</cx:pt>
          <cx:pt idx="4951">27.018945550000002</cx:pt>
          <cx:pt idx="4952">24.095210030000001</cx:pt>
          <cx:pt idx="4953">24.004249640000001</cx:pt>
          <cx:pt idx="4954">22.419690410000001</cx:pt>
          <cx:pt idx="4955">22.146778789999999</cx:pt>
          <cx:pt idx="4956">22.116372380000001</cx:pt>
          <cx:pt idx="4957">20.350120759999999</cx:pt>
          <cx:pt idx="4958">20.319242339999999</cx:pt>
          <cx:pt idx="4959">16.390998979999999</cx:pt>
          <cx:pt idx="4960">13.65064593</cx:pt>
          <cx:pt idx="4961">13.071782170000001</cx:pt>
          <cx:pt idx="4962">12.462999229999999</cx:pt>
          <cx:pt idx="4963">9.1426100199999993</cx:pt>
          <cx:pt idx="4964">7.7723116890000004</cx:pt>
          <cx:pt idx="4965">6.7074630400000004</cx:pt>
          <cx:pt idx="4966">2.0792327300000002</cx:pt>
          <cx:pt idx="4967">1.7440922649999999</cx:pt>
          <cx:pt idx="4968">1.713685854</cx:pt>
          <cx:pt idx="4969">0.069273043000000006</cx:pt>
          <cx:pt idx="4970">-0.17419140899999999</cx:pt>
          <cx:pt idx="4971">-1.3630105159999999</cx:pt>
          <cx:pt idx="4972">-2.278918</cx:pt>
          <cx:pt idx="4973">-2.2687451850000002</cx:pt>
          <cx:pt idx="4974">-2.263474805</cx:pt>
          <cx:pt idx="4975">-2.2003349999999999</cx:pt>
          <cx:pt idx="4976">-2.183110385</cx:pt>
          <cx:pt idx="4977">-2.1217510000000002</cx:pt>
          <cx:pt idx="4978">-2.12100643</cx:pt>
          <cx:pt idx="4979">-2.1174896639999998</cx:pt>
          <cx:pt idx="4980">-2.116965456</cx:pt>
          <cx:pt idx="4981">-2.1141593969999999</cx:pt>
          <cx:pt idx="4982">-2.1140840910000001</cx:pt>
          <cx:pt idx="4983">-2.113635489</cx:pt>
          <cx:pt idx="4984">-2.1135607620000001</cx:pt>
          <cx:pt idx="4985">-2.1111279980000002</cx:pt>
          <cx:pt idx="4986">-2.1082472129999998</cx:pt>
          <cx:pt idx="4987">-2.1069002280000002</cx:pt>
          <cx:pt idx="4988">-2.1046551409999998</cx:pt>
          <cx:pt idx="4989">-2.102484182</cx:pt>
          <cx:pt idx="4990">-2.1023341680000001</cx:pt>
          <cx:pt idx="4991">-2.0990791880000002</cx:pt>
          <cx:pt idx="4992">-2.0906974759999999</cx:pt>
          <cx:pt idx="4993">-2.0895005050000002</cx:pt>
          <cx:pt idx="4994">-2.085682233</cx:pt>
          <cx:pt idx="4995">-2.0856083860000001</cx:pt>
          <cx:pt idx="4996">-2.085571603</cx:pt>
          <cx:pt idx="4997">-2.0834371460000001</cx:pt>
          <cx:pt idx="4998">-2.0829882450000001</cx:pt>
          <cx:pt idx="4999">-2.08044457</cx:pt>
          <cx:pt idx="5000">-2.0781994830000001</cx:pt>
          <cx:pt idx="5001">-2.0778632520000002</cx:pt>
          <cx:pt idx="5002">-2.0778244290000001</cx:pt>
          <cx:pt idx="5003">-2.0762162009999998</cx:pt>
          <cx:pt idx="5004">-2.0748318530000001</cx:pt>
          <cx:pt idx="5005">-2.0726991360000002</cx:pt>
          <cx:pt idx="5006">-2.067833609</cx:pt>
          <cx:pt idx="5007">-2.067497677</cx:pt>
          <cx:pt idx="5008">-2.0673450240000002</cx:pt>
          <cx:pt idx="5009">-2.062520658</cx:pt>
          <cx:pt idx="5010">-2.0622961979999999</cx:pt>
          <cx:pt idx="5011">-2.0611363100000002</cx:pt>
          <cx:pt idx="5012">-2.0595636869999998</cx:pt>
          <cx:pt idx="5013">-2.0572815360000001</cx:pt>
          <cx:pt idx="5014">-2.055111175</cx:pt>
          <cx:pt idx="5015">-2.053502741</cx:pt>
          <cx:pt idx="5016">-2.0534644609999999</cx:pt>
          <cx:pt idx="5017">-2.0511826100000001</cx:pt>
          <cx:pt idx="5018">-2.0501337830000002</cx:pt>
          <cx:pt idx="5019">-2.047552558</cx:pt>
          <cx:pt idx="5020">-2.0431680000000001</cx:pt>
          <cx:pt idx="5021">-2.0429281239999999</cx:pt>
          <cx:pt idx="5022">-2.022569469</cx:pt>
          <cx:pt idx="5023">-2.022319988</cx:pt>
          <cx:pt idx="5024">-2.019973893</cx:pt>
          <cx:pt idx="5025">-2.0157328140000002</cx:pt>
          <cx:pt idx="5026">-2.011991471</cx:pt>
          <cx:pt idx="5027">-2.0084988359999998</cx:pt>
          <cx:pt idx="5028">-2.0083984199999998</cx:pt>
          <cx:pt idx="5029">-2.007750417</cx:pt>
          <cx:pt idx="5030">-1.9947268309999999</cx:pt>
          <cx:pt idx="5031">-1.994227894</cx:pt>
          <cx:pt idx="5032">-1.9940780549999999</cx:pt>
          <cx:pt idx="5033">-1.9929307169999999</cx:pt>
          <cx:pt idx="5034">-1.982502682</cx:pt>
          <cx:pt idx="5035">-1.980506509</cx:pt>
          <cx:pt idx="5036">-1.9762654799999999</cx:pt>
          <cx:pt idx="5037">-1.975418192</cx:pt>
          <cx:pt idx="5038">-1.974269681</cx:pt>
          <cx:pt idx="5039">-1.96768338</cx:pt>
          <cx:pt idx="5040">-1.9671353949999999</cx:pt>
          <cx:pt idx="5041">-1.964585</cx:pt>
          <cx:pt idx="5042">-1.964556494</cx:pt>
          <cx:pt idx="5043">-1.9644916720000001</cx:pt>
          <cx:pt idx="5044">-1.9633275889999999</cx:pt>
          <cx:pt idx="5045">-1.962907094</cx:pt>
          <cx:pt idx="5046">-1.9628425309999999</cx:pt>
          <cx:pt idx="5047">-1.9607068110000001</cx:pt>
          <cx:pt idx="5048">-1.959835067</cx:pt>
          <cx:pt idx="5049">-1.9595757620000001</cx:pt>
          <cx:pt idx="5050">-1.9588967230000001</cx:pt>
          <cx:pt idx="5051">-1.956601349</cx:pt>
          <cx:pt idx="5052">-1.951168075</cx:pt>
          <cx:pt idx="5053">-1.9486126370000001</cx:pt>
          <cx:pt idx="5054">-1.945508821</cx:pt>
          <cx:pt idx="5055">-1.9412086180000001</cx:pt>
          <cx:pt idx="5056">-1.940949313</cx:pt>
          <cx:pt idx="5057">-1.9400437749999999</cx:pt>
          <cx:pt idx="5058">-1.936357272</cx:pt>
          <cx:pt idx="5059">-1.929598742</cx:pt>
          <cx:pt idx="5060">-1.9218693339999999</cx:pt>
          <cx:pt idx="5061">-1.9200915519999999</cx:pt>
          <cx:pt idx="5062">-1.918054205</cx:pt>
          <cx:pt idx="5063">-1.917891754</cx:pt>
          <cx:pt idx="5064">-1.91727731</cx:pt>
          <cx:pt idx="5065">-1.916953425</cx:pt>
          <cx:pt idx="5066">-1.915919747</cx:pt>
          <cx:pt idx="5067">-1.915725766</cx:pt>
          <cx:pt idx="5068">-1.9123626460000001</cx:pt>
          <cx:pt idx="5069">-1.9122332440000001</cx:pt>
          <cx:pt idx="5070">-1.912136391</cx:pt>
          <cx:pt idx="5071">-1.910066754</cx:pt>
          <cx:pt idx="5072">-1.9099696429999999</cx:pt>
          <cx:pt idx="5073">-1.9099373529999999</cx:pt>
          <cx:pt idx="5074">-1.907867717</cx:pt>
          <cx:pt idx="5075">-1.9070267590000001</cx:pt>
          <cx:pt idx="5076">-1.9051190570000001</cx:pt>
          <cx:pt idx="5077">-1.9048917830000001</cx:pt>
          <cx:pt idx="5078">-1.901625532</cx:pt>
          <cx:pt idx="5079">-1.9008503990000001</cx:pt>
          <cx:pt idx="5080">-1.900461191</cx:pt>
          <cx:pt idx="5081">-1.897259746</cx:pt>
          <cx:pt idx="5082">-1.8972277150000001</cx:pt>
          <cx:pt idx="5083">-1.896451321</cx:pt>
          <cx:pt idx="5084">-1.8943821860000001</cx:pt>
          <cx:pt idx="5085">-1.8942205110000001</cx:pt>
          <cx:pt idx="5086">-1.8941536670000001</cx:pt>
          <cx:pt idx="5087">-1.892668223</cx:pt>
          <cx:pt idx="5088">-1.887397902</cx:pt>
          <cx:pt idx="5089">-1.886001</cx:pt>
          <cx:pt idx="5090">-1.8844433730000001</cx:pt>
          <cx:pt idx="5091">-1.87230743</cx:pt>
          <cx:pt idx="5092">-1.8710801619999999</cx:pt>
          <cx:pt idx="5093">-1.870911948</cx:pt>
          <cx:pt idx="5094">-1.867854627</cx:pt>
          <cx:pt idx="5095">-1.8614804819999999</cx:pt>
          <cx:pt idx="5096">-1.861387884</cx:pt>
          <cx:pt idx="5097">-1.856672828</cx:pt>
          <cx:pt idx="5098">-1.8452349750000001</cx:pt>
          <cx:pt idx="5099">-1.821310432</cx:pt>
          <cx:pt idx="5100">-1.8158142049999999</cx:pt>
          <cx:pt idx="5101">-1.8142430000000001</cx:pt>
          <cx:pt idx="5102">-1.807418</cx:pt>
          <cx:pt idx="5103">-1.1329350540000001</cx:pt>
          <cx:pt idx="5104">-0.268634382</cx:pt>
          <cx:pt idx="5105">4.5073535040000001</cx:pt>
          <cx:pt idx="5106">9.1016658540000002</cx:pt>
          <cx:pt idx="5107">9.2836825449999996</cx:pt>
          <cx:pt idx="5108">10.706451270000001</cx:pt>
          <cx:pt idx="5109">13.698479989999999</cx:pt>
          <cx:pt idx="5110">16.382197040000001</cx:pt>
          <cx:pt idx="5111">16.837068200000001</cx:pt>
          <cx:pt idx="5112">21.974587669999998</cx:pt>
          <cx:pt idx="5113">22.065061539999999</cx:pt>
          <cx:pt idx="5114">25.115291020000001</cx:pt>
          <cx:pt idx="5115">29.388532569999999</cx:pt>
          <cx:pt idx="5116">31.43572567</cx:pt>
          <cx:pt idx="5117">34.80422849</cx:pt>
          <cx:pt idx="5118">37.394628730000001</cx:pt>
          <cx:pt idx="5119">37.66959834</cx:pt>
          <cx:pt idx="5120">40.03506479</cx:pt>
          <cx:pt idx="5121">44.899752550000002</cx:pt>
          <cx:pt idx="5122">46.082303830000001</cx:pt>
          <cx:pt idx="5123">46.90332351</cx:pt>
          <cx:pt idx="5124">49.542690620000002</cx:pt>
          <cx:pt idx="5125">53.863807360000003</cx:pt>
          <cx:pt idx="5126">56.546478200000003</cx:pt>
          <cx:pt idx="5127">57.226624289999997</cx:pt>
          <cx:pt idx="5128">58.002225090000003</cx:pt>
          <cx:pt idx="5129">58.138822900000001</cx:pt>
          <cx:pt idx="5130">60.094495930000001</cx:pt>
          <cx:pt idx="5131">61.186937229999998</cx:pt>
          <cx:pt idx="5132">61.502344880000003</cx:pt>
          <cx:pt idx="5133">62.594081129999999</cx:pt>
          <cx:pt idx="5134">65.189098310000006</cx:pt>
          <cx:pt idx="5135">65.914663279999999</cx:pt>
          <cx:pt idx="5136">65.962197320000001</cx:pt>
          <cx:pt idx="5137">67.645379779999999</cx:pt>
          <cx:pt idx="5138">70.467468640000007</cx:pt>
          <cx:pt idx="5139">73.196604570000005</cx:pt>
          <cx:pt idx="5140">73.831354520000005</cx:pt>
          <cx:pt idx="5141">74.14996902</cx:pt>
          <cx:pt idx="5142">81.701216770000002</cx:pt>
          <cx:pt idx="5143">83.156258609999995</cx:pt>
          <cx:pt idx="5144">83.611107020000006</cx:pt>
          <cx:pt idx="5145">85.658322859999998</cx:pt>
          <cx:pt idx="5146">85.749842939999994</cx:pt>
          <cx:pt idx="5147">91.661917020000004</cx:pt>
          <cx:pt idx="5148">94.119267440000002</cx:pt>
          <cx:pt idx="5149">97.030056169999995</cx:pt>
          <cx:pt idx="5150">99.258219760000003</cx:pt>
          <cx:pt idx="5151">103.6705382</cx:pt>
          <cx:pt idx="5152">104.6263817</cx:pt>
          <cx:pt idx="5153">106.40074300000001</cx:pt>
          <cx:pt idx="5154">108.85668339999999</cx:pt>
          <cx:pt idx="5155">110.2205235</cx:pt>
          <cx:pt idx="5156">110.5398431</cx:pt>
          <cx:pt idx="5157">116.2266195</cx:pt>
          <cx:pt idx="5158">118.1350996</cx:pt>
          <cx:pt idx="5159">122.729412</cx:pt>
          <cx:pt idx="5160">128.73443900000001</cx:pt>
          <cx:pt idx="5161">130.5545831</cx:pt>
          <cx:pt idx="5162">131.96313710000001</cx:pt>
          <cx:pt idx="5163">133.3277051</cx:pt>
          <cx:pt idx="5164">136.37509159999999</cx:pt>
          <cx:pt idx="5165">137.42140900000001</cx:pt>
          <cx:pt idx="5166">140.05970719999999</cx:pt>
          <cx:pt idx="5167">140.56104339999999</cx:pt>
          <cx:pt idx="5168">141.6517107</cx:pt>
          <cx:pt idx="5169">141.69819849999999</cx:pt>
          <cx:pt idx="5170">141.74325350000001</cx:pt>
          <cx:pt idx="5171">141.7879446</cx:pt>
          <cx:pt idx="5172">141.8791463</cx:pt>
          <cx:pt idx="5173">142.15729999999999</cx:pt>
          <cx:pt idx="5174">142.19651519999999</cx:pt>
          <cx:pt idx="5175">142.5196808</cx:pt>
          <cx:pt idx="5176">142.53976030000001</cx:pt>
          <cx:pt idx="5177">142.8426091</cx:pt>
          <cx:pt idx="5178">144.03384410000001</cx:pt>
          <cx:pt idx="5179">144.61930570000001</cx:pt>
          <cx:pt idx="5180">145.3461873</cx:pt>
          <cx:pt idx="5181">146.17402179999999</cx:pt>
          <cx:pt idx="5182">146.68885169999999</cx:pt>
          <cx:pt idx="5183">146.91106429999999</cx:pt>
          <cx:pt idx="5184">147.41581400000001</cx:pt>
          <cx:pt idx="5185">147.63779450000001</cx:pt>
          <cx:pt idx="5186">148.41530900000001</cx:pt>
          <cx:pt idx="5187">149.04100539999999</cx:pt>
          <cx:pt idx="5188">150.02042080000001</cx:pt>
          <cx:pt idx="5189">150.28311059999999</cx:pt>
          <cx:pt idx="5190">150.31342670000001</cx:pt>
          <cx:pt idx="5191">151.31237150000001</cx:pt>
          <cx:pt idx="5192">151.46387669999999</cx:pt>
          <cx:pt idx="5193">151.51434810000001</cx:pt>
          <cx:pt idx="5194">152.0396519</cx:pt>
          <cx:pt idx="5195">152.7763764</cx:pt>
          <cx:pt idx="5196">153.4933393</cx:pt>
          <cx:pt idx="5197">153.80587460000001</cx:pt>
          <cx:pt idx="5198">154.13903959999999</cx:pt>
          <cx:pt idx="5199">156.02700139999999</cx:pt>
          <cx:pt idx="5200">156.13811029999999</cx:pt>
          <cx:pt idx="5201">156.32000729999999</cx:pt>
          <cx:pt idx="5202">156.3296938</cx:pt>
          <cx:pt idx="5203">156.34000610000001</cx:pt>
          <cx:pt idx="5204">156.35001059999999</cx:pt>
          <cx:pt idx="5205">156.3604794</cx:pt>
          <cx:pt idx="5206">156.37048379999999</cx:pt>
          <cx:pt idx="5207">156.38032670000001</cx:pt>
          <cx:pt idx="5208">156.4007192</cx:pt>
          <cx:pt idx="5209">156.4106429</cx:pt>
          <cx:pt idx="5210">156.43111619999999</cx:pt>
          <cx:pt idx="5211">156.44095909999999</cx:pt>
          <cx:pt idx="5212">156.45095850000001</cx:pt>
          <cx:pt idx="5213">156.46143230000001</cx:pt>
          <cx:pt idx="5214">156.4812747</cx:pt>
          <cx:pt idx="5215">156.50143499999999</cx:pt>
          <cx:pt idx="5216">156.5119038</cx:pt>
          <cx:pt idx="5217">156.5522244</cx:pt>
          <cx:pt idx="5218">156.57198589999999</cx:pt>
          <cx:pt idx="5219">156.58254059999999</cx:pt>
          <cx:pt idx="5220">156.59238350000001</cx:pt>
          <cx:pt idx="5221">156.6633282</cx:pt>
          <cx:pt idx="5222">156.67333260000001</cx:pt>
          <cx:pt idx="5223">156.6831755</cx:pt>
          <cx:pt idx="5224">156.69348790000001</cx:pt>
          <cx:pt idx="5225">156.6953</cx:pt>
          <cx:pt idx="5226">157.84346790000001</cx:pt>
          <cx:pt idx="5227">159.1971121</cx:pt>
          <cx:pt idx="5228">160.56116879999999</cx:pt>
          <cx:pt idx="5229">162.0126918</cx:pt>
          <cx:pt idx="5230">163.36633599999999</cx:pt>
          <cx:pt idx="5231">164.7414995</cx:pt>
          <cx:pt idx="5232">166.18191569999999</cx:pt>
          <cx:pt idx="5233">167.5570793</cx:pt>
          <cx:pt idx="5234">168.92183030000001</cx:pt>
          <cx:pt idx="5235">173.12298620000001</cx:pt>
          <cx:pt idx="5236">174.49884399999999</cx:pt>
          <cx:pt idx="5237">175.85248820000001</cx:pt>
          <cx:pt idx="5238">177.51990000000001</cx:pt>
          <cx:pt idx="5239">178.3412429</cx:pt>
          <cx:pt idx="5240">178.78906169999999</cx:pt>
          <cx:pt idx="5241">182.44385539999999</cx:pt>
          <cx:pt idx="5242">183.36478969999999</cx:pt>
          <cx:pt idx="5243">183.81260839999999</cx:pt>
          <cx:pt idx="5244">184.35659999999999</cx:pt>
          <cx:pt idx="5245">190.01278149999999</cx:pt>
          <cx:pt idx="5246">196.77279999999999</cx:pt>
          <cx:pt idx="5247">201.49633360000001</cx:pt>
          <cx:pt idx="5248">204.87872089999999</cx:pt>
          <cx:pt idx="5249">208.22062070000001</cx:pt>
          <cx:pt idx="5250">220.06319379999999</cx:pt>
          <cx:pt idx="5251">222.07660000000001</cx:pt>
          <cx:pt idx="5252">229.58597090000001</cx:pt>
          <cx:pt idx="5253">230.85802200000001</cx:pt>
          <cx:pt idx="5254">232.20059860000001</cx:pt>
          <cx:pt idx="5255">233.47264949999999</cx:pt>
          <cx:pt idx="5256">234.7641112</cx:pt>
          <cx:pt idx="5257">236.0562199</cx:pt>
          <cx:pt idx="5258">237.32827090000001</cx:pt>
          <cx:pt idx="5259">241.48670000000001</cx:pt>
          <cx:pt idx="5260">245.56483940000001</cx:pt>
          <cx:pt idx="5261">249.80805659999999</cx:pt>
          <cx:pt idx="5262">250.6555118</cx:pt>
          <cx:pt idx="5263">251.57595760000001</cx:pt>
          <cx:pt idx="5264">254.07164309999999</cx:pt>
          <cx:pt idx="5265">254.21719999999999</cx:pt>
          <cx:pt idx="5266">255.3653679</cx:pt>
          <cx:pt idx="5267">258.15873399999998</cx:pt>
          <cx:pt idx="5268">260.89864849999998</cx:pt>
          <cx:pt idx="5269">266.44303600000001</cx:pt>
          <cx:pt idx="5270">274.8036975</cx:pt>
          <cx:pt idx="5271">275.04180000000002</cx:pt>
          <cx:pt idx="5272">279.6388053</cx:pt>
          <cx:pt idx="5273">285.10018059999999</cx:pt>
          <cx:pt idx="5274">296.33143719999998</cx:pt>
          <cx:pt idx="5275">301.75112230000002</cx:pt>
          <cx:pt idx="5276">307.29865710000001</cx:pt>
          <cx:pt idx="5277">313.06575859999998</cx:pt>
          <cx:pt idx="5278">318.52991370000001</cx:pt>
          <cx:pt idx="5279">323.99128899999999</cx:pt>
          <cx:pt idx="5280">329.54160289999999</cx:pt>
          <cx:pt idx="5281">335.09191679999998</cx:pt>
          <cx:pt idx="5282">351.78454870000002</cx:pt>
          <cx:pt idx="5283">357.46549069999998</cx:pt>
          <cx:pt idx="5284">358.41879999999998</cx:pt>
          <cx:pt idx="5285">358.61299709999997</cx:pt>
          <cx:pt idx="5286">358.65333190000001</cx:pt>
          <cx:pt idx="5287">358.97710160000003</cx:pt>
          <cx:pt idx="5288">359.01808299999999</cx:pt>
          <cx:pt idx="5289">359.05843800000002</cx:pt>
          <cx:pt idx="5290">359.09784330000002</cx:pt>
          <cx:pt idx="5291">359.25954619999999</cx:pt>
          <cx:pt idx="5292">359.341206</cx:pt>
          <cx:pt idx="5293">359.38091429999997</cx:pt>
          <cx:pt idx="5294">359.6646523</cx:pt>
          <cx:pt idx="5295">359.70405749999998</cx:pt>
          <cx:pt idx="5296">359.78602039999998</cx:pt>
          <cx:pt idx="5297">359.82542569999998</cx:pt>
          <cx:pt idx="5298">359.86576050000002</cx:pt>
          <cx:pt idx="5299">359.90769169999999</cx:pt>
          <cx:pt idx="5300">359.98712860000001</cx:pt>
          <cx:pt idx="5301">360.06783869999998</cx:pt>
          <cx:pt idx="5302">360.2305116</cx:pt>
          <cx:pt idx="5303">360.27086659999998</cx:pt>
          <cx:pt idx="5304">360.31057490000001</cx:pt>
          <cx:pt idx="5305">360.35060659999999</cx:pt>
          <cx:pt idx="5306">360.43164000000002</cx:pt>
          <cx:pt idx="5307">360.71440790000003</cx:pt>
          <cx:pt idx="5308">360.7560158</cx:pt>
          <cx:pt idx="5309">360.87708090000001</cx:pt>
          <cx:pt idx="5310">360.95682090000003</cx:pt>
          <cx:pt idx="5311">360.99844899999999</cx:pt>
          <cx:pt idx="5312">361.03815739999999</cx:pt>
          <cx:pt idx="5313">361.07818909999997</cx:pt>
          <cx:pt idx="5314">361.11854410000001</cx:pt>
          <cx:pt idx="5315">361.16015199999998</cx:pt>
          <cx:pt idx="5316">361.19988050000001</cx:pt>
          <cx:pt idx="5317">361.48329519999999</cx:pt>
          <cx:pt idx="5318">361.52270040000002</cx:pt>
          <cx:pt idx="5319">361.64437170000002</cx:pt>
          <cx:pt idx="5320">361.72475839999998</cx:pt>
          <cx:pt idx="5321">361.76636619999999</cx:pt>
          <cx:pt idx="5322">361.80609479999998</cx:pt>
          <cx:pt idx="5323">361.84644980000002</cx:pt>
          <cx:pt idx="5324">361.8864815</cx:pt>
          <cx:pt idx="5325">362.00784970000001</cx:pt>
          <cx:pt idx="5326">362.04915440000002</cx:pt>
          <cx:pt idx="5327">362.0895094</cx:pt>
          <cx:pt idx="5328">362.2108776</cx:pt>
          <cx:pt idx="5329">362.29061760000002</cx:pt>
          <cx:pt idx="5330">362.37227739999997</cx:pt>
          <cx:pt idx="5331">362.49269579999998</cx:pt>
          <cx:pt idx="5332">362.61406390000002</cx:pt>
          <cx:pt idx="5333">362.6553687</cx:pt>
          <cx:pt idx="5334">362.66230000000002</cx:pt>
          <cx:pt idx="5335">371.79217519999997</cx:pt>
          <cx:pt idx="5336">374.13423870000003</cx:pt>
          <cx:pt idx="5337">376.49537220000002</cx:pt>
          <cx:pt idx="5338">378.96854350000001</cx:pt>
          <cx:pt idx="5339">381.31179850000001</cx:pt>
          <cx:pt idx="5340">398.00898189999998</cx:pt>
          <cx:pt idx="5341">398.4178</cx:pt>
          <cx:pt idx="5342">398.91580750000003</cx:pt>
          <cx:pt idx="5343">399.50293859999999</cx:pt>
          <cx:pt idx="5344">401.91228330000001</cx:pt>
          <cx:pt idx="5345">402.5370509</cx:pt>
          <cx:pt idx="5346">403.1335158</cx:pt>
          <cx:pt idx="5347">403.7206468</cx:pt>
          <cx:pt idx="5348">405.54797910000002</cx:pt>
          <cx:pt idx="5349">406.14444400000002</cx:pt>
          <cx:pt idx="5350">406.73157500000002</cx:pt>
          <cx:pt idx="5351">407.34700880000003</cx:pt>
          <cx:pt idx="5352">407.45479999999998</cx:pt>
          <cx:pt idx="5353">408.30962290000002</cx:pt>
          <cx:pt idx="5354">409.32664829999999</cx:pt>
          <cx:pt idx="5355">410.35984180000003</cx:pt>
          <cx:pt idx="5356">411.44206120000001</cx:pt>
          <cx:pt idx="5357">412.4669098</cx:pt>
          <cx:pt idx="5358">413.50010329999998</cx:pt>
          <cx:pt idx="5359">414.58232270000002</cx:pt>
          <cx:pt idx="5360">415.6155162</cx:pt>
          <cx:pt idx="5361">416.63254160000002</cx:pt>
          <cx:pt idx="5362">417.68242479999998</cx:pt>
          <cx:pt idx="5363">418.71561819999999</cx:pt>
          <cx:pt idx="5364">419.79783759999998</cx:pt>
          <cx:pt idx="5365">420.83103110000002</cx:pt>
          <cx:pt idx="5366">421.84805649999998</cx:pt>
          <cx:pt idx="5367">422.91410769999999</cx:pt>
          <cx:pt idx="5368">423.09300000000002</cx:pt>
          <cx:pt idx="5369">424.55151050000001</cx:pt>
          <cx:pt idx="5370">426.27295889999999</cx:pt>
          <cx:pt idx="5371">428.10293539999998</cx:pt>
          <cx:pt idx="5372">429.85173630000003</cx:pt>
          <cx:pt idx="5373">431.58553769999997</cx:pt>
          <cx:pt idx="5374">433.33345630000002</cx:pt>
          <cx:pt idx="5375">435.16431510000001</cx:pt>
          <cx:pt idx="5376">436.9122337</cx:pt>
          <cx:pt idx="5377">438.63279979999999</cx:pt>
          <cx:pt idx="5378">440.40895339999997</cx:pt>
          <cx:pt idx="5379">442.15687200000002</cx:pt>
          <cx:pt idx="5380">443.98773080000001</cx:pt>
          <cx:pt idx="5381">445.73564950000002</cx:pt>
          <cx:pt idx="5382">447.45621560000001</cx:pt>
          <cx:pt idx="5383">449.2597217</cx:pt>
          <cx:pt idx="5384">449.57560000000001</cx:pt>
          <cx:pt idx="5385">449.82014249999997</cx:pt>
          <cx:pt idx="5386">450.43518710000001</cx:pt>
          <cx:pt idx="5387">450.71708749999999</cx:pt>
          <cx:pt idx="5388">451.01048489999999</cx:pt>
          <cx:pt idx="5389">451.30627129999999</cx:pt>
          <cx:pt idx="5390">451.61609290000001</cx:pt>
          <cx:pt idx="5391">451.91187930000001</cx:pt>
          <cx:pt idx="5392">452.20303699999999</cx:pt>
          <cx:pt idx="5393">452.50360130000001</cx:pt>
          <cx:pt idx="5394">452.79938770000001</cx:pt>
          <cx:pt idx="5395">453.10920929999997</cx:pt>
          <cx:pt idx="5396">453.40499569999997</cx:pt>
          <cx:pt idx="5397">453.69615340000001</cx:pt>
          <cx:pt idx="5398">454.00134639999999</cx:pt>
          <cx:pt idx="5399">454.0548</cx:pt>
          <cx:pt idx="5400">470.28688390000002</cx:pt>
          <cx:pt idx="5401">489.76934670000003</cx:pt>
          <cx:pt idx="5402">511.26348109999998</cx:pt>
          <cx:pt idx="5403">529.8144337</cx:pt>
          <cx:pt idx="5404">549.28698759999997</cx:pt>
          <cx:pt idx="5405">568.91809690000002</cx:pt>
          <cx:pt idx="5406">589.48071870000001</cx:pt>
          <cx:pt idx="5407">609.11182799999995</cx:pt>
          <cx:pt idx="5408">628.4357377</cx:pt>
          <cx:pt idx="5409">648.38395800000001</cx:pt>
          <cx:pt idx="5410">668.01506730000006</cx:pt>
          <cx:pt idx="5411">688.57768920000001</cx:pt>
          <cx:pt idx="5412">708.20879849999994</cx:pt>
          <cx:pt idx="5413">1200.2390740000001</cx:pt>
          <cx:pt idx="5414">1211.8975829999999</cx:pt>
          <cx:pt idx="5415">1223.9327519999999</cx:pt>
          <cx:pt idx="5416">1235.776601</cx:pt>
          <cx:pt idx="5417">1248.1824509999999</cx:pt>
          <cx:pt idx="5418">1259.9306409999999</cx:pt>
          <cx:pt idx="5419">1260.0263</cx:pt>
          <cx:pt idx="5420">1271.68481</cx:pt>
          <cx:pt idx="5421">1283.9949999999999</cx:pt>
          <cx:pt idx="5422">1284.838</cx:pt>
          <cx:pt idx="5423">1284.838</cx:pt>
          <cx:pt idx="5424">1284.838</cx:pt>
          <cx:pt idx="5425">1284.838</cx:pt>
          <cx:pt idx="5426">1284.838</cx:pt>
          <cx:pt idx="5427">1284.838</cx:pt>
          <cx:pt idx="5428">1284.838</cx:pt>
          <cx:pt idx="5429">1284.838</cx:pt>
          <cx:pt idx="5430">1284.838</cx:pt>
          <cx:pt idx="5431">1284.838</cx:pt>
          <cx:pt idx="5432">1284.838</cx:pt>
          <cx:pt idx="5433">1284.838</cx:pt>
          <cx:pt idx="5434">1284.838</cx:pt>
          <cx:pt idx="5435">1284.838</cx:pt>
          <cx:pt idx="5436">1284.838</cx:pt>
          <cx:pt idx="5437">1284.838</cx:pt>
          <cx:pt idx="5438">1284.838</cx:pt>
          <cx:pt idx="5439">1284.838</cx:pt>
          <cx:pt idx="5440">1284.838</cx:pt>
          <cx:pt idx="5441">1284.838</cx:pt>
          <cx:pt idx="5442">1284.838</cx:pt>
          <cx:pt idx="5443">1284.838</cx:pt>
          <cx:pt idx="5444">1284.838</cx:pt>
          <cx:pt idx="5445">1284.838</cx:pt>
          <cx:pt idx="5446">1284.838</cx:pt>
          <cx:pt idx="5447">1284.838</cx:pt>
          <cx:pt idx="5448">1284.838</cx:pt>
          <cx:pt idx="5449">1284.838</cx:pt>
          <cx:pt idx="5450">1284.838</cx:pt>
          <cx:pt idx="5451">1284.838</cx:pt>
          <cx:pt idx="5452">1284.838</cx:pt>
          <cx:pt idx="5453">1284.838</cx:pt>
          <cx:pt idx="5454">1284.838</cx:pt>
          <cx:pt idx="5455">1284.838</cx:pt>
          <cx:pt idx="5456">1284.838</cx:pt>
          <cx:pt idx="5457">1284.838</cx:pt>
          <cx:pt idx="5458">1284.838</cx:pt>
          <cx:pt idx="5459">1284.838</cx:pt>
          <cx:pt idx="5460">1284.838</cx:pt>
          <cx:pt idx="5461">1284.838</cx:pt>
          <cx:pt idx="5462">1284.838</cx:pt>
          <cx:pt idx="5463">1284.838</cx:pt>
          <cx:pt idx="5464">1284.838</cx:pt>
          <cx:pt idx="5465">1284.838</cx:pt>
          <cx:pt idx="5466">1284.838</cx:pt>
          <cx:pt idx="5467">1284.838</cx:pt>
          <cx:pt idx="5468">1284.838</cx:pt>
          <cx:pt idx="5469">1284.838</cx:pt>
          <cx:pt idx="5470">1284.838</cx:pt>
          <cx:pt idx="5471">1284.838</cx:pt>
          <cx:pt idx="5472">1284.838</cx:pt>
          <cx:pt idx="5473">1284.838</cx:pt>
          <cx:pt idx="5474">1284.838</cx:pt>
          <cx:pt idx="5475">1284.838</cx:pt>
          <cx:pt idx="5476">1284.838</cx:pt>
          <cx:pt idx="5477">1284.838</cx:pt>
          <cx:pt idx="5478">1284.838</cx:pt>
          <cx:pt idx="5479">1284.838</cx:pt>
          <cx:pt idx="5480">1284.838</cx:pt>
          <cx:pt idx="5481">1284.838</cx:pt>
          <cx:pt idx="5482">1284.838</cx:pt>
          <cx:pt idx="5483">1284.838</cx:pt>
          <cx:pt idx="5484">1284.838</cx:pt>
          <cx:pt idx="5485">1284.838</cx:pt>
          <cx:pt idx="5486">1284.838</cx:pt>
          <cx:pt idx="5487">1284.838</cx:pt>
          <cx:pt idx="5488">1284.838</cx:pt>
          <cx:pt idx="5489">1284.838</cx:pt>
          <cx:pt idx="5490">1284.838</cx:pt>
          <cx:pt idx="5491">1284.838</cx:pt>
          <cx:pt idx="5492">1284.838</cx:pt>
          <cx:pt idx="5493">1284.838</cx:pt>
          <cx:pt idx="5494">1284.838</cx:pt>
          <cx:pt idx="5495">1284.838</cx:pt>
          <cx:pt idx="5496">1284.838</cx:pt>
          <cx:pt idx="5497">1284.838</cx:pt>
          <cx:pt idx="5498">1284.838</cx:pt>
          <cx:pt idx="5499">1284.838</cx:pt>
          <cx:pt idx="5500">1284.838</cx:pt>
          <cx:pt idx="5501">1284.838</cx:pt>
          <cx:pt idx="5502">1284.838</cx:pt>
          <cx:pt idx="5503">1284.838</cx:pt>
          <cx:pt idx="5504">1284.838</cx:pt>
          <cx:pt idx="5505">1284.838</cx:pt>
          <cx:pt idx="5506">1284.838</cx:pt>
          <cx:pt idx="5507">1284.838</cx:pt>
          <cx:pt idx="5508">1284.838</cx:pt>
          <cx:pt idx="5509">1284.838</cx:pt>
          <cx:pt idx="5510">1284.838</cx:pt>
          <cx:pt idx="5511">1284.838</cx:pt>
          <cx:pt idx="5512">1284.838</cx:pt>
          <cx:pt idx="5513">1284.838</cx:pt>
          <cx:pt idx="5514">1284.838</cx:pt>
          <cx:pt idx="5515">1284.838</cx:pt>
          <cx:pt idx="5516">1284.838</cx:pt>
          <cx:pt idx="5517">1284.838</cx:pt>
          <cx:pt idx="5518">1284.838</cx:pt>
          <cx:pt idx="5519">1284.838</cx:pt>
          <cx:pt idx="5520">1284.838</cx:pt>
          <cx:pt idx="5521">1284.838</cx:pt>
          <cx:pt idx="5522">1284.838</cx:pt>
          <cx:pt idx="5523">1284.838</cx:pt>
          <cx:pt idx="5524">1284.838</cx:pt>
          <cx:pt idx="5525">1284.838</cx:pt>
          <cx:pt idx="5526">1284.838</cx:pt>
          <cx:pt idx="5527">1284.838</cx:pt>
          <cx:pt idx="5528">1284.838</cx:pt>
          <cx:pt idx="5529">1284.838</cx:pt>
          <cx:pt idx="5530">1284.838</cx:pt>
          <cx:pt idx="5531">1284.838</cx:pt>
          <cx:pt idx="5532">1284.838</cx:pt>
          <cx:pt idx="5533">1284.838</cx:pt>
          <cx:pt idx="5534">1284.838</cx:pt>
          <cx:pt idx="5535">1284.838</cx:pt>
          <cx:pt idx="5536">1284.838</cx:pt>
          <cx:pt idx="5537">1284.838</cx:pt>
          <cx:pt idx="5538">1284.838</cx:pt>
          <cx:pt idx="5539">1284.838</cx:pt>
          <cx:pt idx="5540">1284.838</cx:pt>
          <cx:pt idx="5541">1284.838</cx:pt>
          <cx:pt idx="5542">1284.838</cx:pt>
          <cx:pt idx="5543">1284.838</cx:pt>
          <cx:pt idx="5544">1284.838</cx:pt>
          <cx:pt idx="5545">1284.838</cx:pt>
          <cx:pt idx="5546">1284.838</cx:pt>
          <cx:pt idx="5547">1284.838</cx:pt>
          <cx:pt idx="5548">1284.838</cx:pt>
          <cx:pt idx="5549">1284.838</cx:pt>
          <cx:pt idx="5550">1284.838</cx:pt>
          <cx:pt idx="5551">1284.838</cx:pt>
          <cx:pt idx="5552">1284.838</cx:pt>
          <cx:pt idx="5553">1284.838</cx:pt>
          <cx:pt idx="5554">1284.838</cx:pt>
          <cx:pt idx="5555">1284.838</cx:pt>
          <cx:pt idx="5556">1284.838</cx:pt>
          <cx:pt idx="5557">1284.838</cx:pt>
          <cx:pt idx="5558">1284.838</cx:pt>
          <cx:pt idx="5559">1284.838</cx:pt>
          <cx:pt idx="5560">1284.838</cx:pt>
          <cx:pt idx="5561">1284.838</cx:pt>
          <cx:pt idx="5562">1284.838</cx:pt>
          <cx:pt idx="5563">1284.838</cx:pt>
          <cx:pt idx="5564">1284.838</cx:pt>
          <cx:pt idx="5565">1284.838</cx:pt>
          <cx:pt idx="5566">1284.838</cx:pt>
          <cx:pt idx="5567">1284.838</cx:pt>
          <cx:pt idx="5568">1284.838</cx:pt>
          <cx:pt idx="5569">1284.838</cx:pt>
          <cx:pt idx="5570">1284.838</cx:pt>
          <cx:pt idx="5571">1284.838</cx:pt>
          <cx:pt idx="5572">1284.838</cx:pt>
          <cx:pt idx="5573">1284.838</cx:pt>
          <cx:pt idx="5574">1284.838</cx:pt>
          <cx:pt idx="5575">1284.838</cx:pt>
          <cx:pt idx="5576">1284.838</cx:pt>
          <cx:pt idx="5577">1284.838</cx:pt>
          <cx:pt idx="5578">1284.838</cx:pt>
          <cx:pt idx="5579">1284.838</cx:pt>
          <cx:pt idx="5580">1284.838</cx:pt>
          <cx:pt idx="5581">1284.838</cx:pt>
          <cx:pt idx="5582">1284.838</cx:pt>
          <cx:pt idx="5583">1284.838</cx:pt>
          <cx:pt idx="5584">1284.838</cx:pt>
          <cx:pt idx="5585">1284.838</cx:pt>
          <cx:pt idx="5586">1284.838</cx:pt>
          <cx:pt idx="5587">1284.838</cx:pt>
          <cx:pt idx="5588">1284.838</cx:pt>
          <cx:pt idx="5589">1284.838</cx:pt>
          <cx:pt idx="5590">1284.838</cx:pt>
          <cx:pt idx="5591">1284.838</cx:pt>
          <cx:pt idx="5592">1284.838</cx:pt>
          <cx:pt idx="5593">1284.838</cx:pt>
          <cx:pt idx="5594">1284.838</cx:pt>
          <cx:pt idx="5595">1284.838</cx:pt>
          <cx:pt idx="5596">1284.838</cx:pt>
          <cx:pt idx="5597">1284.838</cx:pt>
          <cx:pt idx="5598">1284.838</cx:pt>
          <cx:pt idx="5599">1284.838</cx:pt>
          <cx:pt idx="5600">1284.838</cx:pt>
          <cx:pt idx="5601">1284.838</cx:pt>
          <cx:pt idx="5602">1284.838</cx:pt>
          <cx:pt idx="5603">1284.838</cx:pt>
          <cx:pt idx="5604">1284.838</cx:pt>
          <cx:pt idx="5605">1284.838</cx:pt>
          <cx:pt idx="5606">1284.838</cx:pt>
          <cx:pt idx="5607">1284.838</cx:pt>
          <cx:pt idx="5608">1284.838</cx:pt>
          <cx:pt idx="5609">1284.838</cx:pt>
          <cx:pt idx="5610">1284.838</cx:pt>
          <cx:pt idx="5611">1284.838</cx:pt>
          <cx:pt idx="5612">1284.838</cx:pt>
          <cx:pt idx="5613">1284.838</cx:pt>
          <cx:pt idx="5614">1284.838</cx:pt>
          <cx:pt idx="5615">1284.838</cx:pt>
          <cx:pt idx="5616">1284.838</cx:pt>
          <cx:pt idx="5617">1284.838</cx:pt>
          <cx:pt idx="5618">1284.838</cx:pt>
          <cx:pt idx="5619">1284.838</cx:pt>
          <cx:pt idx="5620">1284.838</cx:pt>
          <cx:pt idx="5621">1284.838</cx:pt>
          <cx:pt idx="5622">1284.838</cx:pt>
          <cx:pt idx="5623">1284.838</cx:pt>
          <cx:pt idx="5624">1284.838</cx:pt>
          <cx:pt idx="5625">1284.838</cx:pt>
          <cx:pt idx="5626">1284.838</cx:pt>
          <cx:pt idx="5627">1284.838</cx:pt>
          <cx:pt idx="5628">1284.838</cx:pt>
          <cx:pt idx="5629">1284.838</cx:pt>
          <cx:pt idx="5630">1284.838</cx:pt>
          <cx:pt idx="5631">1284.838</cx:pt>
          <cx:pt idx="5632">1284.838</cx:pt>
          <cx:pt idx="5633">1284.838</cx:pt>
          <cx:pt idx="5634">1284.838</cx:pt>
          <cx:pt idx="5635">1284.838</cx:pt>
          <cx:pt idx="5636">1284.838</cx:pt>
          <cx:pt idx="5637">1284.838</cx:pt>
          <cx:pt idx="5638">1284.838</cx:pt>
          <cx:pt idx="5639">1284.838</cx:pt>
          <cx:pt idx="5640">1284.838</cx:pt>
          <cx:pt idx="5641">1284.838</cx:pt>
          <cx:pt idx="5642">1284.838</cx:pt>
          <cx:pt idx="5643">1284.838</cx:pt>
          <cx:pt idx="5644">1284.838</cx:pt>
          <cx:pt idx="5645">1284.838</cx:pt>
          <cx:pt idx="5646">1284.838</cx:pt>
          <cx:pt idx="5647">1284.838</cx:pt>
          <cx:pt idx="5648">1284.838</cx:pt>
          <cx:pt idx="5649">1284.838</cx:pt>
          <cx:pt idx="5650">1284.838</cx:pt>
          <cx:pt idx="5651">1284.838</cx:pt>
          <cx:pt idx="5652">1284.838</cx:pt>
          <cx:pt idx="5653">1284.838</cx:pt>
          <cx:pt idx="5654">1284.838</cx:pt>
          <cx:pt idx="5655">1284.838</cx:pt>
          <cx:pt idx="5656">1284.838</cx:pt>
          <cx:pt idx="5657">1284.838</cx:pt>
          <cx:pt idx="5658">1284.838</cx:pt>
          <cx:pt idx="5659">1284.838</cx:pt>
          <cx:pt idx="5660">1284.838</cx:pt>
          <cx:pt idx="5661">1284.838</cx:pt>
          <cx:pt idx="5662">1284.838</cx:pt>
          <cx:pt idx="5663">1284.838</cx:pt>
          <cx:pt idx="5664">1284.838</cx:pt>
          <cx:pt idx="5665">1284.838</cx:pt>
          <cx:pt idx="5666">1284.838</cx:pt>
          <cx:pt idx="5667">1284.838</cx:pt>
          <cx:pt idx="5668">1284.838</cx:pt>
          <cx:pt idx="5669">1284.838</cx:pt>
          <cx:pt idx="5670">1284.838</cx:pt>
          <cx:pt idx="5671">1284.838</cx:pt>
          <cx:pt idx="5672">1284.838</cx:pt>
          <cx:pt idx="5673">1284.838</cx:pt>
          <cx:pt idx="5674">1284.838</cx:pt>
          <cx:pt idx="5675">1284.838</cx:pt>
          <cx:pt idx="5676">1284.838</cx:pt>
          <cx:pt idx="5677">1284.838</cx:pt>
          <cx:pt idx="5678">1284.838</cx:pt>
          <cx:pt idx="5679">1284.838</cx:pt>
          <cx:pt idx="5680">1284.838</cx:pt>
          <cx:pt idx="5681">1284.838</cx:pt>
          <cx:pt idx="5682">1284.838</cx:pt>
          <cx:pt idx="5683">1284.838</cx:pt>
          <cx:pt idx="5684">1284.838</cx:pt>
          <cx:pt idx="5685">1284.838</cx:pt>
          <cx:pt idx="5686">1284.838</cx:pt>
          <cx:pt idx="5687">1284.838</cx:pt>
          <cx:pt idx="5688">1284.838</cx:pt>
          <cx:pt idx="5689">1284.838</cx:pt>
          <cx:pt idx="5690">1284.838</cx:pt>
          <cx:pt idx="5691">1284.838</cx:pt>
          <cx:pt idx="5692">1284.838</cx:pt>
          <cx:pt idx="5693">1284.838</cx:pt>
          <cx:pt idx="5694">1284.838</cx:pt>
          <cx:pt idx="5695">1284.838</cx:pt>
          <cx:pt idx="5696">1284.838</cx:pt>
          <cx:pt idx="5697">1284.838</cx:pt>
          <cx:pt idx="5698">1284.838</cx:pt>
          <cx:pt idx="5699">1284.838</cx:pt>
          <cx:pt idx="5700">1284.838</cx:pt>
          <cx:pt idx="5701">1284.838</cx:pt>
          <cx:pt idx="5702">1284.838</cx:pt>
          <cx:pt idx="5703">1284.838</cx:pt>
          <cx:pt idx="5704">1284.838</cx:pt>
          <cx:pt idx="5705">1284.838</cx:pt>
          <cx:pt idx="5706">1284.838</cx:pt>
          <cx:pt idx="5707">1284.838</cx:pt>
          <cx:pt idx="5708">1284.838</cx:pt>
          <cx:pt idx="5709">1284.838</cx:pt>
          <cx:pt idx="5710">1284.838</cx:pt>
          <cx:pt idx="5711">1284.838</cx:pt>
          <cx:pt idx="5712">1284.838</cx:pt>
          <cx:pt idx="5713">1284.838</cx:pt>
          <cx:pt idx="5714">1284.838</cx:pt>
          <cx:pt idx="5715">1284.838</cx:pt>
          <cx:pt idx="5716">1284.838</cx:pt>
          <cx:pt idx="5717">1284.838</cx:pt>
          <cx:pt idx="5718">1284.838</cx:pt>
          <cx:pt idx="5719">1284.838</cx:pt>
          <cx:pt idx="5720">1284.838</cx:pt>
          <cx:pt idx="5721">1284.838</cx:pt>
          <cx:pt idx="5722">1284.838</cx:pt>
          <cx:pt idx="5723">1284.838</cx:pt>
          <cx:pt idx="5724">1284.838</cx:pt>
          <cx:pt idx="5725">1284.838</cx:pt>
          <cx:pt idx="5726">1284.838</cx:pt>
          <cx:pt idx="5727">1284.838</cx:pt>
          <cx:pt idx="5728">1284.838</cx:pt>
          <cx:pt idx="5729">1284.838</cx:pt>
          <cx:pt idx="5730">1284.838</cx:pt>
          <cx:pt idx="5731">1284.838</cx:pt>
          <cx:pt idx="5732">1284.838</cx:pt>
          <cx:pt idx="5733">1284.838</cx:pt>
          <cx:pt idx="5734">1284.838</cx:pt>
          <cx:pt idx="5735">1284.838</cx:pt>
          <cx:pt idx="5736">1284.838</cx:pt>
          <cx:pt idx="5737">1284.838</cx:pt>
          <cx:pt idx="5738">1284.838</cx:pt>
          <cx:pt idx="5739">1284.838</cx:pt>
          <cx:pt idx="5740">1284.838</cx:pt>
          <cx:pt idx="5741">1284.838</cx:pt>
          <cx:pt idx="5742">1284.838</cx:pt>
          <cx:pt idx="5743">1284.838</cx:pt>
          <cx:pt idx="5744">1284.838</cx:pt>
          <cx:pt idx="5745">1284.838</cx:pt>
          <cx:pt idx="5746">1284.838</cx:pt>
          <cx:pt idx="5747">1284.838</cx:pt>
          <cx:pt idx="5748">1284.838</cx:pt>
          <cx:pt idx="5749">1284.838</cx:pt>
          <cx:pt idx="5750">1284.838</cx:pt>
          <cx:pt idx="5751">1284.838</cx:pt>
          <cx:pt idx="5752">1284.838</cx:pt>
          <cx:pt idx="5753">1284.838</cx:pt>
          <cx:pt idx="5754">1284.838</cx:pt>
          <cx:pt idx="5755">1284.838</cx:pt>
          <cx:pt idx="5756">1284.838</cx:pt>
          <cx:pt idx="5757">1284.838</cx:pt>
          <cx:pt idx="5758">1284.838</cx:pt>
          <cx:pt idx="5759">1284.838</cx:pt>
          <cx:pt idx="5760">1284.838</cx:pt>
          <cx:pt idx="5761">1284.838</cx:pt>
          <cx:pt idx="5762">1284.838</cx:pt>
          <cx:pt idx="5763">1284.838</cx:pt>
          <cx:pt idx="5764">1284.838</cx:pt>
          <cx:pt idx="5765">1284.838</cx:pt>
          <cx:pt idx="5766">1284.838</cx:pt>
          <cx:pt idx="5767">1284.838</cx:pt>
          <cx:pt idx="5768">1284.838</cx:pt>
          <cx:pt idx="5769">1284.838</cx:pt>
          <cx:pt idx="5770">1284.838</cx:pt>
          <cx:pt idx="5771">1284.838</cx:pt>
          <cx:pt idx="5772">1284.838</cx:pt>
          <cx:pt idx="5773">1284.838</cx:pt>
          <cx:pt idx="5774">1284.838</cx:pt>
          <cx:pt idx="5775">1284.838</cx:pt>
          <cx:pt idx="5776">1284.838</cx:pt>
          <cx:pt idx="5777">1284.838</cx:pt>
          <cx:pt idx="5778">1284.838</cx:pt>
          <cx:pt idx="5779">1284.838</cx:pt>
          <cx:pt idx="5780">1284.838</cx:pt>
          <cx:pt idx="5781">1284.838</cx:pt>
          <cx:pt idx="5782">1284.838</cx:pt>
          <cx:pt idx="5783">1284.838</cx:pt>
          <cx:pt idx="5784">1284.838</cx:pt>
          <cx:pt idx="5785">1284.838</cx:pt>
          <cx:pt idx="5786">1284.838</cx:pt>
          <cx:pt idx="5787">1284.838</cx:pt>
          <cx:pt idx="5788">1284.838</cx:pt>
          <cx:pt idx="5789">1284.838</cx:pt>
          <cx:pt idx="5790">1284.838</cx:pt>
          <cx:pt idx="5791">1284.838</cx:pt>
          <cx:pt idx="5792">1284.838</cx:pt>
          <cx:pt idx="5793">1284.838</cx:pt>
          <cx:pt idx="5794">1284.838</cx:pt>
          <cx:pt idx="5795">1284.838</cx:pt>
          <cx:pt idx="5796">1284.838</cx:pt>
          <cx:pt idx="5797">1284.838</cx:pt>
          <cx:pt idx="5798">1284.838</cx:pt>
          <cx:pt idx="5799">1284.838</cx:pt>
          <cx:pt idx="5800">1284.838</cx:pt>
          <cx:pt idx="5801">1284.838</cx:pt>
          <cx:pt idx="5802">1284.838</cx:pt>
          <cx:pt idx="5803">1284.838</cx:pt>
          <cx:pt idx="5804">1284.838</cx:pt>
          <cx:pt idx="5805">1284.838</cx:pt>
          <cx:pt idx="5806">1284.838</cx:pt>
          <cx:pt idx="5807">1284.838</cx:pt>
          <cx:pt idx="5808">1284.838</cx:pt>
          <cx:pt idx="5809">1284.838</cx:pt>
          <cx:pt idx="5810">1284.838</cx:pt>
          <cx:pt idx="5811">1284.838</cx:pt>
          <cx:pt idx="5812">1284.838</cx:pt>
          <cx:pt idx="5813">1284.838</cx:pt>
          <cx:pt idx="5814">1284.838</cx:pt>
          <cx:pt idx="5815">1284.838</cx:pt>
          <cx:pt idx="5816">1284.838</cx:pt>
          <cx:pt idx="5817">1284.838</cx:pt>
          <cx:pt idx="5818">1284.838</cx:pt>
          <cx:pt idx="5819">1284.838</cx:pt>
          <cx:pt idx="5820">1284.838</cx:pt>
          <cx:pt idx="5821">1284.838</cx:pt>
          <cx:pt idx="5822">1284.838</cx:pt>
          <cx:pt idx="5823">1284.838</cx:pt>
          <cx:pt idx="5824">1284.838</cx:pt>
          <cx:pt idx="5825">1284.838</cx:pt>
          <cx:pt idx="5826">1284.838</cx:pt>
          <cx:pt idx="5827">1284.838</cx:pt>
          <cx:pt idx="5828">1284.838</cx:pt>
          <cx:pt idx="5829">1284.838</cx:pt>
          <cx:pt idx="5830">1284.838</cx:pt>
          <cx:pt idx="5831">1284.838</cx:pt>
          <cx:pt idx="5832">1284.838</cx:pt>
          <cx:pt idx="5833">1284.838</cx:pt>
          <cx:pt idx="5834">1284.838</cx:pt>
          <cx:pt idx="5835">1284.838</cx:pt>
          <cx:pt idx="5836">1284.838</cx:pt>
          <cx:pt idx="5837">1284.838</cx:pt>
          <cx:pt idx="5838">1284.838</cx:pt>
          <cx:pt idx="5839">1284.838</cx:pt>
          <cx:pt idx="5840">1284.838</cx:pt>
          <cx:pt idx="5841">1284.838</cx:pt>
          <cx:pt idx="5842">1284.838</cx:pt>
          <cx:pt idx="5843">1284.838</cx:pt>
          <cx:pt idx="5844">1284.838</cx:pt>
          <cx:pt idx="5845">1284.838</cx:pt>
          <cx:pt idx="5846">1284.838</cx:pt>
          <cx:pt idx="5847">1284.838</cx:pt>
          <cx:pt idx="5848">1284.838</cx:pt>
          <cx:pt idx="5849">1284.838</cx:pt>
          <cx:pt idx="5850">1284.838</cx:pt>
          <cx:pt idx="5851">1284.838</cx:pt>
          <cx:pt idx="5852">1284.838</cx:pt>
          <cx:pt idx="5853">1284.838</cx:pt>
          <cx:pt idx="5854">1284.838</cx:pt>
          <cx:pt idx="5855">1284.838</cx:pt>
          <cx:pt idx="5856">1284.838</cx:pt>
          <cx:pt idx="5857">1284.838</cx:pt>
          <cx:pt idx="5858">1284.838</cx:pt>
          <cx:pt idx="5859">1284.838</cx:pt>
          <cx:pt idx="5860">1284.838</cx:pt>
          <cx:pt idx="5861">1284.838</cx:pt>
          <cx:pt idx="5862">1284.838</cx:pt>
          <cx:pt idx="5863">1284.838</cx:pt>
          <cx:pt idx="5864">1284.838</cx:pt>
          <cx:pt idx="5865">1284.838</cx:pt>
          <cx:pt idx="5866">1284.838</cx:pt>
          <cx:pt idx="5867">1284.838</cx:pt>
          <cx:pt idx="5868">1284.838</cx:pt>
          <cx:pt idx="5869">1284.838</cx:pt>
          <cx:pt idx="5870">1284.838</cx:pt>
          <cx:pt idx="5871">1284.838</cx:pt>
          <cx:pt idx="5872">1284.838</cx:pt>
          <cx:pt idx="5873">1284.838</cx:pt>
          <cx:pt idx="5874">1284.838</cx:pt>
          <cx:pt idx="5875">1284.838</cx:pt>
          <cx:pt idx="5876">1284.838</cx:pt>
          <cx:pt idx="5877">1284.838</cx:pt>
          <cx:pt idx="5878">1284.838</cx:pt>
          <cx:pt idx="5879">1284.838</cx:pt>
          <cx:pt idx="5880">1284.838</cx:pt>
          <cx:pt idx="5881">1284.838</cx:pt>
          <cx:pt idx="5882">1284.838</cx:pt>
          <cx:pt idx="5883">1284.838</cx:pt>
          <cx:pt idx="5884">1284.838</cx:pt>
          <cx:pt idx="5885">1284.838</cx:pt>
          <cx:pt idx="5886">1284.838</cx:pt>
          <cx:pt idx="5887">1284.838</cx:pt>
          <cx:pt idx="5888">1284.838</cx:pt>
          <cx:pt idx="5889">1284.838</cx:pt>
          <cx:pt idx="5890">1284.838</cx:pt>
          <cx:pt idx="5891">1284.838</cx:pt>
          <cx:pt idx="5892">1284.838</cx:pt>
          <cx:pt idx="5893">1284.838</cx:pt>
          <cx:pt idx="5894">1284.838</cx:pt>
          <cx:pt idx="5895">1284.838</cx:pt>
          <cx:pt idx="5896">1284.838</cx:pt>
          <cx:pt idx="5897">1284.838</cx:pt>
          <cx:pt idx="5898">1284.838</cx:pt>
          <cx:pt idx="5899">1284.838</cx:pt>
          <cx:pt idx="5900">1284.838</cx:pt>
          <cx:pt idx="5901">1284.838</cx:pt>
          <cx:pt idx="5902">1284.838</cx:pt>
          <cx:pt idx="5903">1284.838</cx:pt>
          <cx:pt idx="5904">1284.838</cx:pt>
          <cx:pt idx="5905">1284.838</cx:pt>
          <cx:pt idx="5906">1284.838</cx:pt>
          <cx:pt idx="5907">1284.838</cx:pt>
          <cx:pt idx="5908">1284.838</cx:pt>
          <cx:pt idx="5909">1284.838</cx:pt>
          <cx:pt idx="5910">1284.838</cx:pt>
          <cx:pt idx="5911">1284.838</cx:pt>
          <cx:pt idx="5912">1284.838</cx:pt>
          <cx:pt idx="5913">1284.838</cx:pt>
          <cx:pt idx="5914">1284.838</cx:pt>
          <cx:pt idx="5915">1284.838</cx:pt>
          <cx:pt idx="5916">1284.838</cx:pt>
          <cx:pt idx="5917">1284.838</cx:pt>
          <cx:pt idx="5918">1284.838</cx:pt>
          <cx:pt idx="5919">1284.838</cx:pt>
          <cx:pt idx="5920">1284.838</cx:pt>
          <cx:pt idx="5921">1284.838</cx:pt>
          <cx:pt idx="5922">1284.838</cx:pt>
          <cx:pt idx="5923">1284.838</cx:pt>
          <cx:pt idx="5924">1284.838</cx:pt>
          <cx:pt idx="5925">1284.838</cx:pt>
          <cx:pt idx="5926">1284.838</cx:pt>
          <cx:pt idx="5927">1284.838</cx:pt>
          <cx:pt idx="5928">1284.838</cx:pt>
          <cx:pt idx="5929">1284.838</cx:pt>
          <cx:pt idx="5930">1284.838</cx:pt>
          <cx:pt idx="5931">1284.838</cx:pt>
          <cx:pt idx="5932">1284.838</cx:pt>
          <cx:pt idx="5933">1284.838</cx:pt>
          <cx:pt idx="5934">1284.838</cx:pt>
          <cx:pt idx="5935">1284.838</cx:pt>
          <cx:pt idx="5936">1284.838</cx:pt>
          <cx:pt idx="5937">1284.838</cx:pt>
          <cx:pt idx="5938">1284.838</cx:pt>
          <cx:pt idx="5939">1284.838</cx:pt>
          <cx:pt idx="5940">1284.838</cx:pt>
          <cx:pt idx="5941">1284.838</cx:pt>
          <cx:pt idx="5942">1284.838</cx:pt>
          <cx:pt idx="5943">1284.838</cx:pt>
          <cx:pt idx="5944">1284.838</cx:pt>
          <cx:pt idx="5945">1284.838</cx:pt>
          <cx:pt idx="5946">1284.838</cx:pt>
          <cx:pt idx="5947">1284.838</cx:pt>
          <cx:pt idx="5948">1284.838</cx:pt>
          <cx:pt idx="5949">1284.838</cx:pt>
          <cx:pt idx="5950">1284.838</cx:pt>
          <cx:pt idx="5951">1284.838</cx:pt>
          <cx:pt idx="5952">1284.838</cx:pt>
          <cx:pt idx="5953">1284.838</cx:pt>
          <cx:pt idx="5954">1284.838</cx:pt>
          <cx:pt idx="5955">1284.838</cx:pt>
          <cx:pt idx="5956">1284.838</cx:pt>
          <cx:pt idx="5957">1284.838</cx:pt>
          <cx:pt idx="5958">1284.838</cx:pt>
          <cx:pt idx="5959">1284.838</cx:pt>
          <cx:pt idx="5960">1284.838</cx:pt>
          <cx:pt idx="5961">1284.838</cx:pt>
          <cx:pt idx="5962">1284.838</cx:pt>
          <cx:pt idx="5963">1284.838</cx:pt>
          <cx:pt idx="5964">1284.838</cx:pt>
          <cx:pt idx="5965">1284.838</cx:pt>
          <cx:pt idx="5966">1284.838</cx:pt>
          <cx:pt idx="5967">1284.838</cx:pt>
          <cx:pt idx="5968">1284.838</cx:pt>
          <cx:pt idx="5969">1284.838</cx:pt>
          <cx:pt idx="5970">1284.838</cx:pt>
          <cx:pt idx="5971">1284.838</cx:pt>
          <cx:pt idx="5972">1284.838</cx:pt>
          <cx:pt idx="5973">1284.838</cx:pt>
          <cx:pt idx="5974">1284.838</cx:pt>
          <cx:pt idx="5975">1284.838</cx:pt>
          <cx:pt idx="5976">1284.838</cx:pt>
          <cx:pt idx="5977">1284.838</cx:pt>
          <cx:pt idx="5978">1284.838</cx:pt>
          <cx:pt idx="5979">1284.838</cx:pt>
          <cx:pt idx="5980">1284.838</cx:pt>
          <cx:pt idx="5981">1284.838</cx:pt>
          <cx:pt idx="5982">1284.838</cx:pt>
          <cx:pt idx="5983">1284.838</cx:pt>
          <cx:pt idx="5984">1284.838</cx:pt>
          <cx:pt idx="5985">1284.838</cx:pt>
          <cx:pt idx="5986">1284.838</cx:pt>
          <cx:pt idx="5987">1284.838</cx:pt>
          <cx:pt idx="5988">1284.838</cx:pt>
          <cx:pt idx="5989">1284.838</cx:pt>
          <cx:pt idx="5990">1284.838</cx:pt>
          <cx:pt idx="5991">1284.838</cx:pt>
          <cx:pt idx="5992">1284.838</cx:pt>
          <cx:pt idx="5993">1284.838</cx:pt>
          <cx:pt idx="5994">1284.838</cx:pt>
          <cx:pt idx="5995">1284.838</cx:pt>
          <cx:pt idx="5996">1284.838</cx:pt>
          <cx:pt idx="5997">1284.838</cx:pt>
          <cx:pt idx="5998">1284.838</cx:pt>
          <cx:pt idx="5999">1284.838</cx:pt>
          <cx:pt idx="6000">1284.838</cx:pt>
          <cx:pt idx="6001">1284.838</cx:pt>
          <cx:pt idx="6002">1284.838</cx:pt>
          <cx:pt idx="6003">1284.838</cx:pt>
          <cx:pt idx="6004">1284.838</cx:pt>
          <cx:pt idx="6005">1284.838</cx:pt>
          <cx:pt idx="6006">1284.838</cx:pt>
          <cx:pt idx="6007">1284.838</cx:pt>
          <cx:pt idx="6008">1284.838</cx:pt>
          <cx:pt idx="6009">1284.838</cx:pt>
          <cx:pt idx="6010">1284.838</cx:pt>
          <cx:pt idx="6011">1284.838</cx:pt>
          <cx:pt idx="6012">1284.838</cx:pt>
          <cx:pt idx="6013">1284.838</cx:pt>
          <cx:pt idx="6014">1284.838</cx:pt>
          <cx:pt idx="6015">1284.838</cx:pt>
          <cx:pt idx="6016">1284.838</cx:pt>
          <cx:pt idx="6017">1284.838</cx:pt>
          <cx:pt idx="6018">1284.838</cx:pt>
          <cx:pt idx="6019">1284.838</cx:pt>
          <cx:pt idx="6020">1284.838</cx:pt>
          <cx:pt idx="6021">1284.838</cx:pt>
          <cx:pt idx="6022">1284.838</cx:pt>
          <cx:pt idx="6023">1284.838</cx:pt>
          <cx:pt idx="6024">1284.838</cx:pt>
          <cx:pt idx="6025">1284.838</cx:pt>
          <cx:pt idx="6026">1284.838</cx:pt>
          <cx:pt idx="6027">1284.838</cx:pt>
          <cx:pt idx="6028">1284.838</cx:pt>
          <cx:pt idx="6029">1284.838</cx:pt>
          <cx:pt idx="6030">1284.838</cx:pt>
          <cx:pt idx="6031">1284.838</cx:pt>
          <cx:pt idx="6032">1284.838</cx:pt>
          <cx:pt idx="6033">1284.838</cx:pt>
          <cx:pt idx="6034">1284.838</cx:pt>
          <cx:pt idx="6035">1284.838</cx:pt>
          <cx:pt idx="6036">1284.838</cx:pt>
          <cx:pt idx="6037">1284.838</cx:pt>
          <cx:pt idx="6038">1284.838</cx:pt>
          <cx:pt idx="6039">1284.838</cx:pt>
          <cx:pt idx="6040">1284.838</cx:pt>
          <cx:pt idx="6041">1284.838</cx:pt>
          <cx:pt idx="6042">1284.838</cx:pt>
          <cx:pt idx="6043">1284.838</cx:pt>
          <cx:pt idx="6044">1284.838</cx:pt>
          <cx:pt idx="6045">1284.838</cx:pt>
          <cx:pt idx="6046">1284.838</cx:pt>
          <cx:pt idx="6047">1284.838</cx:pt>
          <cx:pt idx="6048">1284.838</cx:pt>
          <cx:pt idx="6049">1284.838</cx:pt>
          <cx:pt idx="6050">1284.838</cx:pt>
          <cx:pt idx="6051">1284.838</cx:pt>
          <cx:pt idx="6052">1284.838</cx:pt>
          <cx:pt idx="6053">1284.838</cx:pt>
          <cx:pt idx="6054">1284.838</cx:pt>
          <cx:pt idx="6055">1284.838</cx:pt>
          <cx:pt idx="6056">1284.838</cx:pt>
          <cx:pt idx="6057">1284.838</cx:pt>
          <cx:pt idx="6058">1284.838</cx:pt>
          <cx:pt idx="6059">1284.838</cx:pt>
          <cx:pt idx="6060">1284.838</cx:pt>
          <cx:pt idx="6061">1284.838</cx:pt>
          <cx:pt idx="6062">1284.838</cx:pt>
          <cx:pt idx="6063">1284.838</cx:pt>
          <cx:pt idx="6064">1284.838</cx:pt>
          <cx:pt idx="6065">1284.838</cx:pt>
          <cx:pt idx="6066">1284.838</cx:pt>
          <cx:pt idx="6067">1284.838</cx:pt>
          <cx:pt idx="6068">1284.838</cx:pt>
          <cx:pt idx="6069">1284.838</cx:pt>
          <cx:pt idx="6070">1284.838</cx:pt>
          <cx:pt idx="6071">1284.838</cx:pt>
          <cx:pt idx="6072">1284.838</cx:pt>
          <cx:pt idx="6073">1284.838</cx:pt>
          <cx:pt idx="6074">1284.838</cx:pt>
          <cx:pt idx="6075">1284.838</cx:pt>
          <cx:pt idx="6076">1284.838</cx:pt>
          <cx:pt idx="6077">1284.838</cx:pt>
          <cx:pt idx="6078">1284.838</cx:pt>
          <cx:pt idx="6079">1284.838</cx:pt>
          <cx:pt idx="6080">1284.838</cx:pt>
          <cx:pt idx="6081">1284.838</cx:pt>
          <cx:pt idx="6082">1284.838</cx:pt>
          <cx:pt idx="6083">1284.838</cx:pt>
          <cx:pt idx="6084">1284.838</cx:pt>
          <cx:pt idx="6085">1284.838</cx:pt>
          <cx:pt idx="6086">1284.838</cx:pt>
          <cx:pt idx="6087">1284.838</cx:pt>
          <cx:pt idx="6088">1284.838</cx:pt>
          <cx:pt idx="6089">1284.838</cx:pt>
          <cx:pt idx="6090">1284.838</cx:pt>
          <cx:pt idx="6091">1284.838</cx:pt>
          <cx:pt idx="6092">1284.838</cx:pt>
          <cx:pt idx="6093">1284.838</cx:pt>
          <cx:pt idx="6094">1284.838</cx:pt>
          <cx:pt idx="6095">1284.838</cx:pt>
          <cx:pt idx="6096">1284.838</cx:pt>
          <cx:pt idx="6097">1284.838</cx:pt>
          <cx:pt idx="6098">1284.838</cx:pt>
          <cx:pt idx="6099">1284.838</cx:pt>
          <cx:pt idx="6100">1284.838</cx:pt>
          <cx:pt idx="6101">1284.838</cx:pt>
          <cx:pt idx="6102">1284.838</cx:pt>
          <cx:pt idx="6103">1284.838</cx:pt>
          <cx:pt idx="6104">1284.838</cx:pt>
          <cx:pt idx="6105">1284.838</cx:pt>
          <cx:pt idx="6106">1284.838</cx:pt>
          <cx:pt idx="6107">1284.838</cx:pt>
          <cx:pt idx="6108">1284.838</cx:pt>
          <cx:pt idx="6109">1284.838</cx:pt>
          <cx:pt idx="6110">1284.838</cx:pt>
          <cx:pt idx="6111">1284.838</cx:pt>
          <cx:pt idx="6112">1284.838</cx:pt>
          <cx:pt idx="6113">1284.838</cx:pt>
          <cx:pt idx="6114">1284.838</cx:pt>
          <cx:pt idx="6115">1284.838</cx:pt>
          <cx:pt idx="6116">1284.838</cx:pt>
          <cx:pt idx="6117">1284.838</cx:pt>
          <cx:pt idx="6118">1284.838</cx:pt>
          <cx:pt idx="6119">1284.838</cx:pt>
          <cx:pt idx="6120">1284.838</cx:pt>
          <cx:pt idx="6121">1284.838</cx:pt>
          <cx:pt idx="6122">1284.838</cx:pt>
          <cx:pt idx="6123">1284.838</cx:pt>
          <cx:pt idx="6124">1284.838</cx:pt>
          <cx:pt idx="6125">1284.838</cx:pt>
          <cx:pt idx="6126">1284.838</cx:pt>
          <cx:pt idx="6127">1284.838</cx:pt>
          <cx:pt idx="6128">1284.838</cx:pt>
          <cx:pt idx="6129">1284.838</cx:pt>
          <cx:pt idx="6130">1284.838</cx:pt>
          <cx:pt idx="6131">1284.838</cx:pt>
          <cx:pt idx="6132">1284.838</cx:pt>
          <cx:pt idx="6133">1284.838</cx:pt>
          <cx:pt idx="6134">1284.838</cx:pt>
          <cx:pt idx="6135">1284.838</cx:pt>
          <cx:pt idx="6136">1284.838</cx:pt>
          <cx:pt idx="6137">1284.838</cx:pt>
          <cx:pt idx="6138">1284.838</cx:pt>
          <cx:pt idx="6139">1284.838</cx:pt>
          <cx:pt idx="6140">1284.838</cx:pt>
          <cx:pt idx="6141">1284.838</cx:pt>
          <cx:pt idx="6142">1284.838</cx:pt>
          <cx:pt idx="6143">1284.838</cx:pt>
          <cx:pt idx="6144">1284.838</cx:pt>
          <cx:pt idx="6145">1284.838</cx:pt>
          <cx:pt idx="6146">1284.838</cx:pt>
          <cx:pt idx="6147">1284.838</cx:pt>
          <cx:pt idx="6148">1284.838</cx:pt>
          <cx:pt idx="6149">1284.838</cx:pt>
          <cx:pt idx="6150">1284.838</cx:pt>
          <cx:pt idx="6151">1284.838</cx:pt>
          <cx:pt idx="6152">1284.838</cx:pt>
          <cx:pt idx="6153">1284.838</cx:pt>
          <cx:pt idx="6154">1284.838</cx:pt>
          <cx:pt idx="6155">1284.838</cx:pt>
          <cx:pt idx="6156">1284.838</cx:pt>
          <cx:pt idx="6157">1284.838</cx:pt>
          <cx:pt idx="6158">1284.838</cx:pt>
          <cx:pt idx="6159">1284.838</cx:pt>
          <cx:pt idx="6160">1284.838</cx:pt>
          <cx:pt idx="6161">1284.838</cx:pt>
          <cx:pt idx="6162">1284.838</cx:pt>
          <cx:pt idx="6163">1284.838</cx:pt>
          <cx:pt idx="6164">1284.838</cx:pt>
          <cx:pt idx="6165">1284.838</cx:pt>
          <cx:pt idx="6166">1284.838</cx:pt>
          <cx:pt idx="6167">1284.838</cx:pt>
          <cx:pt idx="6168">1284.838</cx:pt>
          <cx:pt idx="6169">1284.838</cx:pt>
          <cx:pt idx="6170">1284.838</cx:pt>
          <cx:pt idx="6171">1284.838</cx:pt>
          <cx:pt idx="6172">1284.838</cx:pt>
          <cx:pt idx="6173">1284.838</cx:pt>
          <cx:pt idx="6174">1284.838</cx:pt>
          <cx:pt idx="6175">1284.838</cx:pt>
          <cx:pt idx="6176">1284.838</cx:pt>
          <cx:pt idx="6177">1284.838</cx:pt>
          <cx:pt idx="6178">1284.838</cx:pt>
          <cx:pt idx="6179">1284.838</cx:pt>
          <cx:pt idx="6180">1284.838</cx:pt>
          <cx:pt idx="6181">1284.838</cx:pt>
          <cx:pt idx="6182">1284.838</cx:pt>
          <cx:pt idx="6183">1284.838</cx:pt>
          <cx:pt idx="6184">1284.838</cx:pt>
          <cx:pt idx="6185">1284.838</cx:pt>
          <cx:pt idx="6186">1284.838</cx:pt>
          <cx:pt idx="6187">1284.838</cx:pt>
          <cx:pt idx="6188">1284.838</cx:pt>
          <cx:pt idx="6189">1284.838</cx:pt>
          <cx:pt idx="6190">1284.838</cx:pt>
          <cx:pt idx="6191">1284.838</cx:pt>
          <cx:pt idx="6192">1284.838</cx:pt>
          <cx:pt idx="6193">1284.838</cx:pt>
          <cx:pt idx="6194">1284.838</cx:pt>
          <cx:pt idx="6195">1284.838</cx:pt>
          <cx:pt idx="6196">1284.838</cx:pt>
          <cx:pt idx="6197">1284.838</cx:pt>
          <cx:pt idx="6198">1284.838</cx:pt>
          <cx:pt idx="6199">1284.838</cx:pt>
          <cx:pt idx="6200">1284.838</cx:pt>
          <cx:pt idx="6201">1284.838</cx:pt>
          <cx:pt idx="6202">1284.838</cx:pt>
          <cx:pt idx="6203">1284.838</cx:pt>
          <cx:pt idx="6204">1284.838</cx:pt>
          <cx:pt idx="6205">1284.838</cx:pt>
          <cx:pt idx="6206">1284.838</cx:pt>
          <cx:pt idx="6207">1284.838</cx:pt>
          <cx:pt idx="6208">1284.838</cx:pt>
          <cx:pt idx="6209">1284.838</cx:pt>
          <cx:pt idx="6210">1284.838</cx:pt>
          <cx:pt idx="6211">1284.838</cx:pt>
          <cx:pt idx="6212">1284.838</cx:pt>
          <cx:pt idx="6213">1284.838</cx:pt>
          <cx:pt idx="6214">1284.838</cx:pt>
          <cx:pt idx="6215">1284.838</cx:pt>
          <cx:pt idx="6216">1284.838</cx:pt>
          <cx:pt idx="6217">1284.838</cx:pt>
          <cx:pt idx="6218">1284.838</cx:pt>
          <cx:pt idx="6219">1284.838</cx:pt>
          <cx:pt idx="6220">1284.838</cx:pt>
          <cx:pt idx="6221">1284.838</cx:pt>
          <cx:pt idx="6222">1284.838</cx:pt>
          <cx:pt idx="6223">1284.838</cx:pt>
          <cx:pt idx="6224">1284.838</cx:pt>
          <cx:pt idx="6225">1284.838</cx:pt>
          <cx:pt idx="6226">1284.838</cx:pt>
          <cx:pt idx="6227">1284.838</cx:pt>
          <cx:pt idx="6228">1284.838</cx:pt>
          <cx:pt idx="6229">1284.838</cx:pt>
          <cx:pt idx="6230">1284.838</cx:pt>
          <cx:pt idx="6231">1284.838</cx:pt>
          <cx:pt idx="6232">1284.838</cx:pt>
          <cx:pt idx="6233">1284.838</cx:pt>
          <cx:pt idx="6234">1284.838</cx:pt>
          <cx:pt idx="6235">1284.838</cx:pt>
          <cx:pt idx="6236">1284.838</cx:pt>
          <cx:pt idx="6237">1284.838</cx:pt>
          <cx:pt idx="6238">1284.838</cx:pt>
          <cx:pt idx="6239">1284.838</cx:pt>
          <cx:pt idx="6240">1284.838</cx:pt>
          <cx:pt idx="6241">1284.838</cx:pt>
          <cx:pt idx="6242">1284.838</cx:pt>
          <cx:pt idx="6243">1284.838</cx:pt>
          <cx:pt idx="6244">1284.838</cx:pt>
          <cx:pt idx="6245">1284.838</cx:pt>
          <cx:pt idx="6246">1284.838</cx:pt>
          <cx:pt idx="6247">1284.838</cx:pt>
          <cx:pt idx="6248">1284.838</cx:pt>
          <cx:pt idx="6249">1284.838</cx:pt>
          <cx:pt idx="6250">1284.838</cx:pt>
          <cx:pt idx="6251">1284.838</cx:pt>
          <cx:pt idx="6252">1284.838</cx:pt>
          <cx:pt idx="6253">1284.838</cx:pt>
          <cx:pt idx="6254">1284.838</cx:pt>
          <cx:pt idx="6255">1284.838</cx:pt>
          <cx:pt idx="6256">1284.838</cx:pt>
          <cx:pt idx="6257">1284.838</cx:pt>
          <cx:pt idx="6258">1284.838</cx:pt>
          <cx:pt idx="6259">1284.838</cx:pt>
          <cx:pt idx="6260">1284.838</cx:pt>
          <cx:pt idx="6261">1284.838</cx:pt>
          <cx:pt idx="6262">1284.838</cx:pt>
          <cx:pt idx="6263">1284.838</cx:pt>
          <cx:pt idx="6264">1284.838</cx:pt>
          <cx:pt idx="6265">1284.838</cx:pt>
          <cx:pt idx="6266">1284.838</cx:pt>
          <cx:pt idx="6267">1284.838</cx:pt>
          <cx:pt idx="6268">1284.838</cx:pt>
          <cx:pt idx="6269">1284.838</cx:pt>
          <cx:pt idx="6270">1284.838</cx:pt>
          <cx:pt idx="6271">1284.838</cx:pt>
          <cx:pt idx="6272">1284.838</cx:pt>
          <cx:pt idx="6273">1284.838</cx:pt>
          <cx:pt idx="6274">1284.838</cx:pt>
          <cx:pt idx="6275">1284.838</cx:pt>
          <cx:pt idx="6276">1284.838</cx:pt>
          <cx:pt idx="6277">1284.838</cx:pt>
          <cx:pt idx="6278">1284.838</cx:pt>
          <cx:pt idx="6279">1284.838</cx:pt>
          <cx:pt idx="6280">1284.838</cx:pt>
          <cx:pt idx="6281">1284.838</cx:pt>
          <cx:pt idx="6282">1284.838</cx:pt>
          <cx:pt idx="6283">1284.838</cx:pt>
          <cx:pt idx="6284">1284.838</cx:pt>
          <cx:pt idx="6285">1284.838</cx:pt>
          <cx:pt idx="6286">1284.838</cx:pt>
          <cx:pt idx="6287">1284.838</cx:pt>
          <cx:pt idx="6288">1284.838</cx:pt>
          <cx:pt idx="6289">1284.838</cx:pt>
          <cx:pt idx="6290">1284.838</cx:pt>
          <cx:pt idx="6291">1284.838</cx:pt>
          <cx:pt idx="6292">1284.838</cx:pt>
          <cx:pt idx="6293">1284.838</cx:pt>
          <cx:pt idx="6294">1284.838</cx:pt>
          <cx:pt idx="6295">1284.838</cx:pt>
          <cx:pt idx="6296">1284.838</cx:pt>
          <cx:pt idx="6297">1284.838</cx:pt>
          <cx:pt idx="6298">1284.838</cx:pt>
          <cx:pt idx="6299">1284.838</cx:pt>
          <cx:pt idx="6300">1284.838</cx:pt>
          <cx:pt idx="6301">1284.838</cx:pt>
          <cx:pt idx="6302">1284.838</cx:pt>
          <cx:pt idx="6303">1284.838</cx:pt>
          <cx:pt idx="6304">1284.838</cx:pt>
          <cx:pt idx="6305">1284.838</cx:pt>
          <cx:pt idx="6306">1284.838</cx:pt>
          <cx:pt idx="6307">1284.838</cx:pt>
          <cx:pt idx="6308">1284.838</cx:pt>
          <cx:pt idx="6309">1284.838</cx:pt>
          <cx:pt idx="6310">1284.838</cx:pt>
          <cx:pt idx="6311">1284.838</cx:pt>
          <cx:pt idx="6312">1284.838</cx:pt>
          <cx:pt idx="6313">1284.838</cx:pt>
          <cx:pt idx="6314">1284.838</cx:pt>
          <cx:pt idx="6315">1284.838</cx:pt>
          <cx:pt idx="6316">1284.838</cx:pt>
          <cx:pt idx="6317">1284.838</cx:pt>
          <cx:pt idx="6318">1284.838</cx:pt>
          <cx:pt idx="6319">1284.838</cx:pt>
          <cx:pt idx="6320">1284.838</cx:pt>
          <cx:pt idx="6321">1284.838</cx:pt>
          <cx:pt idx="6322">1284.838</cx:pt>
          <cx:pt idx="6323">1284.838</cx:pt>
          <cx:pt idx="6324">1284.838</cx:pt>
          <cx:pt idx="6325">1284.838</cx:pt>
          <cx:pt idx="6326">1284.838</cx:pt>
          <cx:pt idx="6327">1284.838</cx:pt>
          <cx:pt idx="6328">1284.838</cx:pt>
          <cx:pt idx="6329">1284.838</cx:pt>
          <cx:pt idx="6330">1284.838</cx:pt>
          <cx:pt idx="6331">1284.838</cx:pt>
          <cx:pt idx="6332">1284.838</cx:pt>
          <cx:pt idx="6333">1284.838</cx:pt>
          <cx:pt idx="6334">1284.838</cx:pt>
          <cx:pt idx="6335">1284.838</cx:pt>
          <cx:pt idx="6336">1284.838</cx:pt>
          <cx:pt idx="6337">1284.838</cx:pt>
          <cx:pt idx="6338">1284.838</cx:pt>
          <cx:pt idx="6339">1284.838</cx:pt>
          <cx:pt idx="6340">1284.838</cx:pt>
          <cx:pt idx="6341">1284.838</cx:pt>
          <cx:pt idx="6342">1284.838</cx:pt>
          <cx:pt idx="6343">1284.838</cx:pt>
          <cx:pt idx="6344">1284.838</cx:pt>
          <cx:pt idx="6345">1284.838</cx:pt>
          <cx:pt idx="6346">1284.838</cx:pt>
          <cx:pt idx="6347">1284.838</cx:pt>
          <cx:pt idx="6348">1284.838</cx:pt>
          <cx:pt idx="6349">1284.838</cx:pt>
          <cx:pt idx="6350">1284.838</cx:pt>
          <cx:pt idx="6351">1284.838</cx:pt>
          <cx:pt idx="6352">1284.838</cx:pt>
          <cx:pt idx="6353">1284.838</cx:pt>
          <cx:pt idx="6354">1284.838</cx:pt>
          <cx:pt idx="6355">1284.838</cx:pt>
          <cx:pt idx="6356">1284.838</cx:pt>
          <cx:pt idx="6357">1284.838</cx:pt>
          <cx:pt idx="6358">1284.838</cx:pt>
          <cx:pt idx="6359">1284.838</cx:pt>
          <cx:pt idx="6360">1284.838</cx:pt>
          <cx:pt idx="6361">1284.838</cx:pt>
          <cx:pt idx="6362">1284.838</cx:pt>
          <cx:pt idx="6363">1284.838</cx:pt>
          <cx:pt idx="6364">1284.838</cx:pt>
          <cx:pt idx="6365">1284.838</cx:pt>
          <cx:pt idx="6366">1284.838</cx:pt>
          <cx:pt idx="6367">1284.838</cx:pt>
          <cx:pt idx="6368">1284.838</cx:pt>
          <cx:pt idx="6369">1284.838</cx:pt>
          <cx:pt idx="6370">1284.838</cx:pt>
          <cx:pt idx="6371">1284.838</cx:pt>
          <cx:pt idx="6372">1284.838</cx:pt>
          <cx:pt idx="6373">1284.838</cx:pt>
          <cx:pt idx="6374">1284.838</cx:pt>
          <cx:pt idx="6375">1284.838</cx:pt>
          <cx:pt idx="6376">1284.838</cx:pt>
          <cx:pt idx="6377">1284.838</cx:pt>
          <cx:pt idx="6378">1284.838</cx:pt>
          <cx:pt idx="6379">1284.838</cx:pt>
          <cx:pt idx="6380">1284.838</cx:pt>
          <cx:pt idx="6381">1284.838</cx:pt>
          <cx:pt idx="6382">1284.838</cx:pt>
          <cx:pt idx="6383">1284.838</cx:pt>
          <cx:pt idx="6384">1284.838</cx:pt>
          <cx:pt idx="6385">1284.838</cx:pt>
          <cx:pt idx="6386">1284.838</cx:pt>
          <cx:pt idx="6387">1284.838</cx:pt>
          <cx:pt idx="6388">1284.838</cx:pt>
          <cx:pt idx="6389">1284.838</cx:pt>
          <cx:pt idx="6390">1284.838</cx:pt>
          <cx:pt idx="6391">1284.838</cx:pt>
          <cx:pt idx="6392">1284.838</cx:pt>
          <cx:pt idx="6393">1284.838</cx:pt>
          <cx:pt idx="6394">1284.838</cx:pt>
          <cx:pt idx="6395">1284.838</cx:pt>
          <cx:pt idx="6396">1284.838</cx:pt>
          <cx:pt idx="6397">1284.838</cx:pt>
          <cx:pt idx="6398">1284.838</cx:pt>
          <cx:pt idx="6399">1284.838</cx:pt>
          <cx:pt idx="6400">1284.838</cx:pt>
          <cx:pt idx="6401">1284.838</cx:pt>
          <cx:pt idx="6402">1284.838</cx:pt>
          <cx:pt idx="6403">1284.838</cx:pt>
          <cx:pt idx="6404">1284.838</cx:pt>
          <cx:pt idx="6405">1284.838</cx:pt>
          <cx:pt idx="6406">1284.838</cx:pt>
          <cx:pt idx="6407">1284.838</cx:pt>
          <cx:pt idx="6408">1284.838</cx:pt>
          <cx:pt idx="6409">1284.838</cx:pt>
          <cx:pt idx="6410">1284.838</cx:pt>
          <cx:pt idx="6411">1284.838</cx:pt>
          <cx:pt idx="6412">1284.838</cx:pt>
          <cx:pt idx="6413">1284.838</cx:pt>
          <cx:pt idx="6414">1284.838</cx:pt>
          <cx:pt idx="6415">1284.838</cx:pt>
          <cx:pt idx="6416">1284.838</cx:pt>
          <cx:pt idx="6417">1284.838</cx:pt>
          <cx:pt idx="6418">1284.838</cx:pt>
          <cx:pt idx="6419">1284.838</cx:pt>
          <cx:pt idx="6420">1284.838</cx:pt>
          <cx:pt idx="6421">1284.838</cx:pt>
          <cx:pt idx="6422">1284.838</cx:pt>
          <cx:pt idx="6423">1284.838</cx:pt>
          <cx:pt idx="6424">1284.838</cx:pt>
          <cx:pt idx="6425">1284.838</cx:pt>
          <cx:pt idx="6426">1284.838</cx:pt>
          <cx:pt idx="6427">1284.838</cx:pt>
          <cx:pt idx="6428">1284.838</cx:pt>
          <cx:pt idx="6429">1284.838</cx:pt>
          <cx:pt idx="6430">1284.838</cx:pt>
          <cx:pt idx="6431">1284.838</cx:pt>
          <cx:pt idx="6432">1284.838</cx:pt>
          <cx:pt idx="6433">1284.838</cx:pt>
          <cx:pt idx="6434">1284.838</cx:pt>
          <cx:pt idx="6435">1284.838</cx:pt>
          <cx:pt idx="6436">1284.838</cx:pt>
          <cx:pt idx="6437">1284.838</cx:pt>
          <cx:pt idx="6438">1284.838</cx:pt>
          <cx:pt idx="6439">1284.838</cx:pt>
          <cx:pt idx="6440">1284.838</cx:pt>
          <cx:pt idx="6441">1284.838</cx:pt>
          <cx:pt idx="6442">1284.838</cx:pt>
          <cx:pt idx="6443">1284.838</cx:pt>
          <cx:pt idx="6444">1284.838</cx:pt>
          <cx:pt idx="6445">1284.838</cx:pt>
          <cx:pt idx="6446">1284.838</cx:pt>
          <cx:pt idx="6447">1284.838</cx:pt>
          <cx:pt idx="6448">1284.838</cx:pt>
          <cx:pt idx="6449">1284.838</cx:pt>
          <cx:pt idx="6450">1284.838</cx:pt>
          <cx:pt idx="6451">1284.838</cx:pt>
          <cx:pt idx="6452">1284.838</cx:pt>
          <cx:pt idx="6453">1284.838</cx:pt>
          <cx:pt idx="6454">1284.838</cx:pt>
          <cx:pt idx="6455">1284.838</cx:pt>
          <cx:pt idx="6456">1284.838</cx:pt>
          <cx:pt idx="6457">1284.838</cx:pt>
          <cx:pt idx="6458">1284.838</cx:pt>
          <cx:pt idx="6459">1284.838</cx:pt>
          <cx:pt idx="6460">1284.838</cx:pt>
          <cx:pt idx="6461">1284.838</cx:pt>
          <cx:pt idx="6462">1284.838</cx:pt>
          <cx:pt idx="6463">1284.838</cx:pt>
          <cx:pt idx="6464">1284.838</cx:pt>
          <cx:pt idx="6465">1284.838</cx:pt>
          <cx:pt idx="6466">1284.838</cx:pt>
          <cx:pt idx="6467">1284.838</cx:pt>
          <cx:pt idx="6468">1284.838</cx:pt>
          <cx:pt idx="6469">1284.838</cx:pt>
          <cx:pt idx="6470">1284.838</cx:pt>
          <cx:pt idx="6471">1284.838</cx:pt>
          <cx:pt idx="6472">1284.838</cx:pt>
          <cx:pt idx="6473">1284.838</cx:pt>
          <cx:pt idx="6474">1284.838</cx:pt>
          <cx:pt idx="6475">1284.838</cx:pt>
          <cx:pt idx="6476">1284.838</cx:pt>
          <cx:pt idx="6477">1284.838</cx:pt>
          <cx:pt idx="6478">1284.838</cx:pt>
          <cx:pt idx="6479">1284.838</cx:pt>
          <cx:pt idx="6480">1284.838</cx:pt>
          <cx:pt idx="6481">1284.838</cx:pt>
          <cx:pt idx="6482">1284.838</cx:pt>
          <cx:pt idx="6483">1284.838</cx:pt>
          <cx:pt idx="6484">1284.838</cx:pt>
          <cx:pt idx="6485">1284.838</cx:pt>
          <cx:pt idx="6486">1284.838</cx:pt>
          <cx:pt idx="6487">1284.838</cx:pt>
          <cx:pt idx="6488">1284.838</cx:pt>
          <cx:pt idx="6489">1284.838</cx:pt>
          <cx:pt idx="6490">1284.838</cx:pt>
          <cx:pt idx="6491">1284.838</cx:pt>
          <cx:pt idx="6492">1284.838</cx:pt>
          <cx:pt idx="6493">1284.838</cx:pt>
          <cx:pt idx="6494">1284.838</cx:pt>
          <cx:pt idx="6495">1284.838</cx:pt>
          <cx:pt idx="6496">1284.838</cx:pt>
          <cx:pt idx="6497">1284.838</cx:pt>
          <cx:pt idx="6498">1284.838</cx:pt>
          <cx:pt idx="6499">1284.838</cx:pt>
          <cx:pt idx="6500">1284.838</cx:pt>
          <cx:pt idx="6501">1284.838</cx:pt>
          <cx:pt idx="6502">1284.838</cx:pt>
          <cx:pt idx="6503">1284.838</cx:pt>
          <cx:pt idx="6504">1284.838</cx:pt>
          <cx:pt idx="6505">1284.838</cx:pt>
          <cx:pt idx="6506">1284.838</cx:pt>
          <cx:pt idx="6507">1284.838</cx:pt>
          <cx:pt idx="6508">1284.838</cx:pt>
          <cx:pt idx="6509">1284.838</cx:pt>
          <cx:pt idx="6510">1284.838</cx:pt>
          <cx:pt idx="6511">1284.838</cx:pt>
          <cx:pt idx="6512">1284.838</cx:pt>
          <cx:pt idx="6513">1284.838</cx:pt>
          <cx:pt idx="6514">1284.838</cx:pt>
          <cx:pt idx="6515">1284.838</cx:pt>
          <cx:pt idx="6516">1284.838</cx:pt>
          <cx:pt idx="6517">1284.838</cx:pt>
          <cx:pt idx="6518">1284.838</cx:pt>
          <cx:pt idx="6519">1284.838</cx:pt>
          <cx:pt idx="6520">1284.838</cx:pt>
          <cx:pt idx="6521">1284.838</cx:pt>
          <cx:pt idx="6522">1284.838</cx:pt>
          <cx:pt idx="6523">1284.838</cx:pt>
          <cx:pt idx="6524">1284.838</cx:pt>
          <cx:pt idx="6525">1284.838</cx:pt>
          <cx:pt idx="6526">1284.838</cx:pt>
          <cx:pt idx="6527">1284.838</cx:pt>
          <cx:pt idx="6528">1284.838</cx:pt>
          <cx:pt idx="6529">1284.838</cx:pt>
          <cx:pt idx="6530">1284.838</cx:pt>
          <cx:pt idx="6531">1284.838</cx:pt>
          <cx:pt idx="6532">1284.838</cx:pt>
          <cx:pt idx="6533">1284.838</cx:pt>
          <cx:pt idx="6534">1284.838</cx:pt>
          <cx:pt idx="6535">1284.838</cx:pt>
          <cx:pt idx="6536">1284.838</cx:pt>
          <cx:pt idx="6537">1284.838</cx:pt>
          <cx:pt idx="6538">1284.838</cx:pt>
          <cx:pt idx="6539">1284.838</cx:pt>
          <cx:pt idx="6540">1284.838</cx:pt>
          <cx:pt idx="6541">1284.838</cx:pt>
          <cx:pt idx="6542">1284.838</cx:pt>
          <cx:pt idx="6543">1284.838</cx:pt>
          <cx:pt idx="6544">1284.838</cx:pt>
          <cx:pt idx="6545">1284.838</cx:pt>
          <cx:pt idx="6546">1284.838</cx:pt>
          <cx:pt idx="6547">1284.838</cx:pt>
          <cx:pt idx="6548">1284.838</cx:pt>
          <cx:pt idx="6549">1284.838</cx:pt>
          <cx:pt idx="6550">1284.838</cx:pt>
          <cx:pt idx="6551">1284.838</cx:pt>
          <cx:pt idx="6552">1284.838</cx:pt>
          <cx:pt idx="6553">1284.838</cx:pt>
          <cx:pt idx="6554">1284.838</cx:pt>
          <cx:pt idx="6555">1284.838</cx:pt>
          <cx:pt idx="6556">1284.838</cx:pt>
          <cx:pt idx="6557">1284.838</cx:pt>
          <cx:pt idx="6558">1284.838</cx:pt>
          <cx:pt idx="6559">1284.838</cx:pt>
          <cx:pt idx="6560">1284.838</cx:pt>
          <cx:pt idx="6561">1284.838</cx:pt>
          <cx:pt idx="6562">1284.838</cx:pt>
          <cx:pt idx="6563">1284.838</cx:pt>
          <cx:pt idx="6564">1284.838</cx:pt>
          <cx:pt idx="6565">1284.838</cx:pt>
          <cx:pt idx="6566">1284.838</cx:pt>
          <cx:pt idx="6567">1284.838</cx:pt>
          <cx:pt idx="6568">1284.838</cx:pt>
          <cx:pt idx="6569">1284.838</cx:pt>
          <cx:pt idx="6570">1284.838</cx:pt>
          <cx:pt idx="6571">1284.838</cx:pt>
          <cx:pt idx="6572">1284.838</cx:pt>
          <cx:pt idx="6573">1284.838</cx:pt>
          <cx:pt idx="6574">1284.838</cx:pt>
          <cx:pt idx="6575">1284.838</cx:pt>
          <cx:pt idx="6576">1284.838</cx:pt>
          <cx:pt idx="6577">1284.838</cx:pt>
          <cx:pt idx="6578">1284.838</cx:pt>
          <cx:pt idx="6579">1284.838</cx:pt>
          <cx:pt idx="6580">1284.838</cx:pt>
          <cx:pt idx="6581">1284.838</cx:pt>
          <cx:pt idx="6582">1284.838</cx:pt>
          <cx:pt idx="6583">1284.838</cx:pt>
          <cx:pt idx="6584">1284.838</cx:pt>
          <cx:pt idx="6585">1284.838</cx:pt>
          <cx:pt idx="6586">1284.838</cx:pt>
          <cx:pt idx="6587">1284.838</cx:pt>
          <cx:pt idx="6588">1284.838</cx:pt>
          <cx:pt idx="6589">1284.838</cx:pt>
          <cx:pt idx="6590">1284.838</cx:pt>
          <cx:pt idx="6591">1284.838</cx:pt>
          <cx:pt idx="6592">1284.838</cx:pt>
          <cx:pt idx="6593">1284.838</cx:pt>
          <cx:pt idx="6594">1284.838</cx:pt>
          <cx:pt idx="6595">1284.838</cx:pt>
          <cx:pt idx="6596">1284.838</cx:pt>
          <cx:pt idx="6597">1284.838</cx:pt>
          <cx:pt idx="6598">1284.838</cx:pt>
          <cx:pt idx="6599">1284.838</cx:pt>
          <cx:pt idx="6600">1284.838</cx:pt>
          <cx:pt idx="6601">1284.838</cx:pt>
          <cx:pt idx="6602">1284.838</cx:pt>
          <cx:pt idx="6603">1284.838</cx:pt>
          <cx:pt idx="6604">1284.838</cx:pt>
          <cx:pt idx="6605">1284.838</cx:pt>
          <cx:pt idx="6606">1284.838</cx:pt>
          <cx:pt idx="6607">1284.838</cx:pt>
          <cx:pt idx="6608">1284.838</cx:pt>
          <cx:pt idx="6609">1284.838</cx:pt>
          <cx:pt idx="6610">1284.838</cx:pt>
          <cx:pt idx="6611">1284.838</cx:pt>
          <cx:pt idx="6612">1284.838</cx:pt>
          <cx:pt idx="6613">1284.838</cx:pt>
          <cx:pt idx="6614">1284.838</cx:pt>
          <cx:pt idx="6615">1284.838</cx:pt>
          <cx:pt idx="6616">1284.838</cx:pt>
          <cx:pt idx="6617">1284.838</cx:pt>
          <cx:pt idx="6618">1284.838</cx:pt>
          <cx:pt idx="6619">1284.838</cx:pt>
          <cx:pt idx="6620">1284.838</cx:pt>
          <cx:pt idx="6621">1284.838</cx:pt>
          <cx:pt idx="6622">1284.838</cx:pt>
          <cx:pt idx="6623">1284.838</cx:pt>
          <cx:pt idx="6624">1284.838</cx:pt>
          <cx:pt idx="6625">1284.838</cx:pt>
          <cx:pt idx="6626">1284.838</cx:pt>
          <cx:pt idx="6627">1284.838</cx:pt>
          <cx:pt idx="6628">1284.838</cx:pt>
          <cx:pt idx="6629">1284.838</cx:pt>
          <cx:pt idx="6630">1284.838</cx:pt>
          <cx:pt idx="6631">1284.838</cx:pt>
          <cx:pt idx="6632">1284.838</cx:pt>
          <cx:pt idx="6633">1284.838</cx:pt>
          <cx:pt idx="6634">1284.838</cx:pt>
          <cx:pt idx="6635">1284.838</cx:pt>
          <cx:pt idx="6636">1284.838</cx:pt>
          <cx:pt idx="6637">1284.838</cx:pt>
          <cx:pt idx="6638">1284.838</cx:pt>
          <cx:pt idx="6639">1284.838</cx:pt>
          <cx:pt idx="6640">1284.838</cx:pt>
          <cx:pt idx="6641">1284.838</cx:pt>
          <cx:pt idx="6642">1284.838</cx:pt>
          <cx:pt idx="6643">1284.838</cx:pt>
          <cx:pt idx="6644">1284.838</cx:pt>
          <cx:pt idx="6645">1284.838</cx:pt>
          <cx:pt idx="6646">1284.838</cx:pt>
          <cx:pt idx="6647">1284.838</cx:pt>
          <cx:pt idx="6648">1284.838</cx:pt>
          <cx:pt idx="6649">1284.838</cx:pt>
          <cx:pt idx="6650">1284.838</cx:pt>
          <cx:pt idx="6651">1284.838</cx:pt>
          <cx:pt idx="6652">1284.838</cx:pt>
          <cx:pt idx="6653">1284.838</cx:pt>
          <cx:pt idx="6654">1284.838</cx:pt>
          <cx:pt idx="6655">1284.838</cx:pt>
          <cx:pt idx="6656">1284.838</cx:pt>
          <cx:pt idx="6657">1284.838</cx:pt>
          <cx:pt idx="6658">1284.838</cx:pt>
          <cx:pt idx="6659">1284.838</cx:pt>
          <cx:pt idx="6660">1284.838</cx:pt>
          <cx:pt idx="6661">1284.838</cx:pt>
          <cx:pt idx="6662">1284.838</cx:pt>
          <cx:pt idx="6663">1284.838</cx:pt>
          <cx:pt idx="6664">1284.838</cx:pt>
          <cx:pt idx="6665">1284.838</cx:pt>
          <cx:pt idx="6666">1284.838</cx:pt>
          <cx:pt idx="6667">1284.838</cx:pt>
          <cx:pt idx="6668">1284.838</cx:pt>
          <cx:pt idx="6669">1284.838</cx:pt>
          <cx:pt idx="6670">1284.838</cx:pt>
          <cx:pt idx="6671">1284.838</cx:pt>
          <cx:pt idx="6672">1284.838</cx:pt>
          <cx:pt idx="6673">1284.838</cx:pt>
          <cx:pt idx="6674">1284.838</cx:pt>
          <cx:pt idx="6675">1284.838</cx:pt>
          <cx:pt idx="6676">1284.838</cx:pt>
          <cx:pt idx="6677">1284.838</cx:pt>
          <cx:pt idx="6678">1284.838</cx:pt>
          <cx:pt idx="6679">1284.838</cx:pt>
          <cx:pt idx="6680">1284.838</cx:pt>
          <cx:pt idx="6681">1284.838</cx:pt>
          <cx:pt idx="6682">1284.838</cx:pt>
          <cx:pt idx="6683">1284.838</cx:pt>
          <cx:pt idx="6684">1284.838</cx:pt>
          <cx:pt idx="6685">1284.838</cx:pt>
          <cx:pt idx="6686">1284.838</cx:pt>
          <cx:pt idx="6687">1284.838</cx:pt>
          <cx:pt idx="6688">1284.838</cx:pt>
          <cx:pt idx="6689">1284.838</cx:pt>
          <cx:pt idx="6690">1284.838</cx:pt>
          <cx:pt idx="6691">1284.838</cx:pt>
          <cx:pt idx="6692">1284.838</cx:pt>
          <cx:pt idx="6693">1284.838</cx:pt>
          <cx:pt idx="6694">1284.838</cx:pt>
          <cx:pt idx="6695">1284.838</cx:pt>
          <cx:pt idx="6696">1284.838</cx:pt>
          <cx:pt idx="6697">1284.838</cx:pt>
          <cx:pt idx="6698">1284.838</cx:pt>
          <cx:pt idx="6699">1284.838</cx:pt>
          <cx:pt idx="6700">1284.838</cx:pt>
          <cx:pt idx="6701">1284.838</cx:pt>
          <cx:pt idx="6702">1284.838</cx:pt>
          <cx:pt idx="6703">1284.838</cx:pt>
          <cx:pt idx="6704">1284.838</cx:pt>
          <cx:pt idx="6705">1284.838</cx:pt>
          <cx:pt idx="6706">1284.838</cx:pt>
          <cx:pt idx="6707">1284.838</cx:pt>
          <cx:pt idx="6708">1284.838</cx:pt>
          <cx:pt idx="6709">1284.838</cx:pt>
          <cx:pt idx="6710">1284.838</cx:pt>
          <cx:pt idx="6711">1284.838</cx:pt>
          <cx:pt idx="6712">1284.838</cx:pt>
          <cx:pt idx="6713">1284.838</cx:pt>
          <cx:pt idx="6714">1284.838</cx:pt>
          <cx:pt idx="6715">1284.838</cx:pt>
          <cx:pt idx="6716">1284.838</cx:pt>
          <cx:pt idx="6717">1284.838</cx:pt>
          <cx:pt idx="6718">1284.838</cx:pt>
          <cx:pt idx="6719">1284.838</cx:pt>
          <cx:pt idx="6720">1284.838</cx:pt>
          <cx:pt idx="6721">1284.838</cx:pt>
          <cx:pt idx="6722">1284.838</cx:pt>
          <cx:pt idx="6723">1284.838</cx:pt>
          <cx:pt idx="6724">1284.838</cx:pt>
          <cx:pt idx="6725">1284.838</cx:pt>
          <cx:pt idx="6726">1284.838</cx:pt>
          <cx:pt idx="6727">1284.838</cx:pt>
          <cx:pt idx="6728">1284.838</cx:pt>
          <cx:pt idx="6729">1284.838</cx:pt>
          <cx:pt idx="6730">1284.838</cx:pt>
          <cx:pt idx="6731">1284.838</cx:pt>
          <cx:pt idx="6732">1284.838</cx:pt>
          <cx:pt idx="6733">1284.838</cx:pt>
          <cx:pt idx="6734">1284.838</cx:pt>
          <cx:pt idx="6735">1284.838</cx:pt>
          <cx:pt idx="6736">1284.838</cx:pt>
          <cx:pt idx="6737">1284.838</cx:pt>
          <cx:pt idx="6738">1284.838</cx:pt>
          <cx:pt idx="6739">1284.838</cx:pt>
          <cx:pt idx="6740">1284.838</cx:pt>
          <cx:pt idx="6741">1284.838</cx:pt>
          <cx:pt idx="6742">1284.838</cx:pt>
          <cx:pt idx="6743">1284.838</cx:pt>
          <cx:pt idx="6744">1284.838</cx:pt>
          <cx:pt idx="6745">1284.838</cx:pt>
          <cx:pt idx="6746">1284.838</cx:pt>
          <cx:pt idx="6747">1284.838</cx:pt>
          <cx:pt idx="6748">1284.838</cx:pt>
          <cx:pt idx="6749">1284.838</cx:pt>
          <cx:pt idx="6750">1284.838</cx:pt>
          <cx:pt idx="6751">1284.838</cx:pt>
          <cx:pt idx="6752">1284.838</cx:pt>
          <cx:pt idx="6753">1284.838</cx:pt>
          <cx:pt idx="6754">1284.838</cx:pt>
          <cx:pt idx="6755">1284.838</cx:pt>
          <cx:pt idx="6756">1284.838</cx:pt>
          <cx:pt idx="6757">1284.838</cx:pt>
          <cx:pt idx="6758">1284.838</cx:pt>
          <cx:pt idx="6759">1284.838</cx:pt>
          <cx:pt idx="6760">1284.838</cx:pt>
          <cx:pt idx="6761">1284.838</cx:pt>
          <cx:pt idx="6762">1284.838</cx:pt>
          <cx:pt idx="6763">1284.838</cx:pt>
          <cx:pt idx="6764">1284.838</cx:pt>
          <cx:pt idx="6765">1284.838</cx:pt>
          <cx:pt idx="6766">1284.838</cx:pt>
          <cx:pt idx="6767">1284.838</cx:pt>
          <cx:pt idx="6768">1284.838</cx:pt>
          <cx:pt idx="6769">1284.838</cx:pt>
          <cx:pt idx="6770">1284.838</cx:pt>
          <cx:pt idx="6771">1284.838</cx:pt>
          <cx:pt idx="6772">1284.838</cx:pt>
          <cx:pt idx="6773">1284.838</cx:pt>
          <cx:pt idx="6774">1284.838</cx:pt>
          <cx:pt idx="6775">1284.838</cx:pt>
          <cx:pt idx="6776">1284.838</cx:pt>
          <cx:pt idx="6777">1284.838</cx:pt>
          <cx:pt idx="6778">1284.838</cx:pt>
          <cx:pt idx="6779">1284.838</cx:pt>
          <cx:pt idx="6780">1284.838</cx:pt>
          <cx:pt idx="6781">1284.838</cx:pt>
          <cx:pt idx="6782">1284.838</cx:pt>
          <cx:pt idx="6783">1284.838</cx:pt>
          <cx:pt idx="6784">1284.838</cx:pt>
          <cx:pt idx="6785">1284.838</cx:pt>
          <cx:pt idx="6786">1284.838</cx:pt>
          <cx:pt idx="6787">1284.838</cx:pt>
          <cx:pt idx="6788">1284.838</cx:pt>
          <cx:pt idx="6789">1284.838</cx:pt>
          <cx:pt idx="6790">1284.838</cx:pt>
          <cx:pt idx="6791">1284.838</cx:pt>
          <cx:pt idx="6792">1284.838</cx:pt>
          <cx:pt idx="6793">1284.838</cx:pt>
          <cx:pt idx="6794">1284.838</cx:pt>
          <cx:pt idx="6795">1284.838</cx:pt>
          <cx:pt idx="6796">1284.838</cx:pt>
          <cx:pt idx="6797">1284.838</cx:pt>
          <cx:pt idx="6798">1284.838</cx:pt>
          <cx:pt idx="6799">1284.838</cx:pt>
          <cx:pt idx="6800">1284.838</cx:pt>
          <cx:pt idx="6801">1284.838</cx:pt>
          <cx:pt idx="6802">1284.838</cx:pt>
          <cx:pt idx="6803">1284.838</cx:pt>
          <cx:pt idx="6804">1284.838</cx:pt>
          <cx:pt idx="6805">1284.838</cx:pt>
          <cx:pt idx="6806">1284.838</cx:pt>
          <cx:pt idx="6807">1284.838</cx:pt>
          <cx:pt idx="6808">1284.838</cx:pt>
          <cx:pt idx="6809">1284.838</cx:pt>
          <cx:pt idx="6810">1284.838</cx:pt>
          <cx:pt idx="6811">1284.838</cx:pt>
          <cx:pt idx="6812">1284.838</cx:pt>
          <cx:pt idx="6813">1284.838</cx:pt>
          <cx:pt idx="6814">1284.838</cx:pt>
          <cx:pt idx="6815">1284.838</cx:pt>
          <cx:pt idx="6816">1284.838</cx:pt>
          <cx:pt idx="6817">1284.838</cx:pt>
          <cx:pt idx="6818">1284.838</cx:pt>
          <cx:pt idx="6819">1284.838</cx:pt>
          <cx:pt idx="6820">1284.838</cx:pt>
          <cx:pt idx="6821">1284.838</cx:pt>
          <cx:pt idx="6822">1284.838</cx:pt>
          <cx:pt idx="6823">1284.838</cx:pt>
          <cx:pt idx="6824">1284.838</cx:pt>
          <cx:pt idx="6825">1284.838</cx:pt>
          <cx:pt idx="6826">1284.838</cx:pt>
          <cx:pt idx="6827">1284.838</cx:pt>
          <cx:pt idx="6828">1284.838</cx:pt>
          <cx:pt idx="6829">1284.838</cx:pt>
          <cx:pt idx="6830">1284.838</cx:pt>
          <cx:pt idx="6831">1284.838</cx:pt>
          <cx:pt idx="6832">1284.838</cx:pt>
          <cx:pt idx="6833">1284.838</cx:pt>
          <cx:pt idx="6834">1284.838</cx:pt>
          <cx:pt idx="6835">1284.838</cx:pt>
          <cx:pt idx="6836">1284.838</cx:pt>
          <cx:pt idx="6837">1284.838</cx:pt>
          <cx:pt idx="6838">1284.838</cx:pt>
          <cx:pt idx="6839">1284.838</cx:pt>
          <cx:pt idx="6840">1284.838</cx:pt>
          <cx:pt idx="6841">1284.838</cx:pt>
          <cx:pt idx="6842">1284.838</cx:pt>
          <cx:pt idx="6843">1284.838</cx:pt>
          <cx:pt idx="6844">1284.838</cx:pt>
          <cx:pt idx="6845">1284.838</cx:pt>
          <cx:pt idx="6846">1284.838</cx:pt>
          <cx:pt idx="6847">1284.838</cx:pt>
          <cx:pt idx="6848">1284.838</cx:pt>
          <cx:pt idx="6849">1284.838</cx:pt>
          <cx:pt idx="6850">1284.838</cx:pt>
          <cx:pt idx="6851">1284.838</cx:pt>
          <cx:pt idx="6852">1284.838</cx:pt>
          <cx:pt idx="6853">1284.838</cx:pt>
          <cx:pt idx="6854">1284.838</cx:pt>
          <cx:pt idx="6855">1284.838</cx:pt>
          <cx:pt idx="6856">1284.838</cx:pt>
          <cx:pt idx="6857">1284.838</cx:pt>
          <cx:pt idx="6858">1284.838</cx:pt>
          <cx:pt idx="6859">1284.838</cx:pt>
          <cx:pt idx="6860">1284.838</cx:pt>
          <cx:pt idx="6861">1284.838</cx:pt>
          <cx:pt idx="6862">1284.838</cx:pt>
          <cx:pt idx="6863">1284.838</cx:pt>
          <cx:pt idx="6864">1284.838</cx:pt>
          <cx:pt idx="6865">1284.838</cx:pt>
          <cx:pt idx="6866">1284.838</cx:pt>
          <cx:pt idx="6867">1284.838</cx:pt>
          <cx:pt idx="6868">1284.838</cx:pt>
          <cx:pt idx="6869">1284.838</cx:pt>
          <cx:pt idx="6870">1284.838</cx:pt>
          <cx:pt idx="6871">1284.838</cx:pt>
          <cx:pt idx="6872">1284.838</cx:pt>
          <cx:pt idx="6873">1284.838</cx:pt>
          <cx:pt idx="6874">1284.838</cx:pt>
          <cx:pt idx="6875">1284.838</cx:pt>
          <cx:pt idx="6876">1284.838</cx:pt>
          <cx:pt idx="6877">1284.838</cx:pt>
          <cx:pt idx="6878">1284.838</cx:pt>
          <cx:pt idx="6879">1284.838</cx:pt>
          <cx:pt idx="6880">1284.838</cx:pt>
          <cx:pt idx="6881">1284.838</cx:pt>
          <cx:pt idx="6882">1284.838</cx:pt>
          <cx:pt idx="6883">1284.838</cx:pt>
          <cx:pt idx="6884">1284.838</cx:pt>
          <cx:pt idx="6885">1284.838</cx:pt>
          <cx:pt idx="6886">1284.838</cx:pt>
          <cx:pt idx="6887">1284.838</cx:pt>
          <cx:pt idx="6888">1284.838</cx:pt>
          <cx:pt idx="6889">1284.838</cx:pt>
          <cx:pt idx="6890">1284.838</cx:pt>
          <cx:pt idx="6891">1284.838</cx:pt>
          <cx:pt idx="6892">1284.838</cx:pt>
          <cx:pt idx="6893">1284.838</cx:pt>
          <cx:pt idx="6894">1284.838</cx:pt>
          <cx:pt idx="6895">1284.838</cx:pt>
          <cx:pt idx="6896">1284.838</cx:pt>
          <cx:pt idx="6897">1284.838</cx:pt>
          <cx:pt idx="6898">1284.838</cx:pt>
          <cx:pt idx="6899">1284.838</cx:pt>
          <cx:pt idx="6900">1284.838</cx:pt>
          <cx:pt idx="6901">1284.838</cx:pt>
          <cx:pt idx="6902">1284.838</cx:pt>
          <cx:pt idx="6903">1284.838</cx:pt>
          <cx:pt idx="6904">1284.838</cx:pt>
          <cx:pt idx="6905">1284.838</cx:pt>
          <cx:pt idx="6906">1284.838</cx:pt>
          <cx:pt idx="6907">1284.838</cx:pt>
          <cx:pt idx="6908">1284.838</cx:pt>
          <cx:pt idx="6909">1284.838</cx:pt>
          <cx:pt idx="6910">1284.838</cx:pt>
          <cx:pt idx="6911">1284.838</cx:pt>
          <cx:pt idx="6912">1284.838</cx:pt>
          <cx:pt idx="6913">1284.838</cx:pt>
          <cx:pt idx="6914">1284.838</cx:pt>
          <cx:pt idx="6915">1284.838</cx:pt>
          <cx:pt idx="6916">1284.838</cx:pt>
          <cx:pt idx="6917">1284.838</cx:pt>
          <cx:pt idx="6918">1284.838</cx:pt>
          <cx:pt idx="6919">1284.838</cx:pt>
          <cx:pt idx="6920">1284.838</cx:pt>
          <cx:pt idx="6921">1284.838</cx:pt>
          <cx:pt idx="6922">1284.838</cx:pt>
          <cx:pt idx="6923">1284.838</cx:pt>
          <cx:pt idx="6924">1284.838</cx:pt>
          <cx:pt idx="6925">1284.838</cx:pt>
          <cx:pt idx="6926">1284.838</cx:pt>
          <cx:pt idx="6927">1284.838</cx:pt>
          <cx:pt idx="6928">1284.838</cx:pt>
          <cx:pt idx="6929">1284.838</cx:pt>
          <cx:pt idx="6930">1284.838</cx:pt>
          <cx:pt idx="6931">1284.838</cx:pt>
          <cx:pt idx="6932">1284.838</cx:pt>
        </cx:lvl>
      </cx:numDim>
    </cx:data>
    <cx:data id="5">
      <cx:numDim type="val">
        <cx:f>'Box Plots'!$F$151:$F$7083</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0</cx:pt>
          <cx:pt idx="421">0</cx:pt>
          <cx:pt idx="422">0</cx:pt>
          <cx:pt idx="423">0</cx:pt>
          <cx:pt idx="424">0</cx:pt>
          <cx:pt idx="425">0</cx:pt>
          <cx:pt idx="426">0</cx:pt>
          <cx:pt idx="427">0</cx:pt>
          <cx:pt idx="428">0</cx:pt>
          <cx:pt idx="429">0</cx:pt>
          <cx:pt idx="430">0</cx:pt>
          <cx:pt idx="431">0</cx:pt>
          <cx:pt idx="432">0</cx:pt>
          <cx:pt idx="433">0</cx:pt>
          <cx:pt idx="434">0</cx:pt>
          <cx:pt idx="435">0</cx:pt>
          <cx:pt idx="436">0</cx:pt>
          <cx:pt idx="437">0</cx:pt>
          <cx:pt idx="438">0</cx:pt>
          <cx:pt idx="439">0</cx:pt>
          <cx:pt idx="440">0</cx:pt>
          <cx:pt idx="441">0</cx:pt>
          <cx:pt idx="442">0</cx:pt>
          <cx:pt idx="443">0</cx:pt>
          <cx:pt idx="444">0</cx:pt>
          <cx:pt idx="445">0</cx:pt>
          <cx:pt idx="446">0</cx:pt>
          <cx:pt idx="447">0</cx:pt>
          <cx:pt idx="448">0</cx:pt>
          <cx:pt idx="449">0</cx:pt>
          <cx:pt idx="450">0</cx:pt>
          <cx:pt idx="451">0</cx:pt>
          <cx:pt idx="452">0</cx:pt>
          <cx:pt idx="453">0</cx:pt>
          <cx:pt idx="454">0</cx:pt>
          <cx:pt idx="455">0</cx:pt>
          <cx:pt idx="456">0</cx:pt>
          <cx:pt idx="457">0</cx:pt>
          <cx:pt idx="458">0</cx:pt>
          <cx:pt idx="459">0</cx:pt>
          <cx:pt idx="460">0</cx:pt>
          <cx:pt idx="461">0</cx:pt>
          <cx:pt idx="462">0</cx:pt>
          <cx:pt idx="463">0</cx:pt>
          <cx:pt idx="464">0</cx:pt>
          <cx:pt idx="465">0</cx:pt>
          <cx:pt idx="466">0</cx:pt>
          <cx:pt idx="467">0</cx:pt>
          <cx:pt idx="468">0</cx:pt>
          <cx:pt idx="469">0</cx:pt>
          <cx:pt idx="470">0</cx:pt>
          <cx:pt idx="471">0</cx:pt>
          <cx:pt idx="472">0</cx:pt>
          <cx:pt idx="473">0</cx:pt>
          <cx:pt idx="474">0</cx:pt>
          <cx:pt idx="475">0</cx:pt>
          <cx:pt idx="476">0</cx:pt>
          <cx:pt idx="477">0</cx:pt>
          <cx:pt idx="478">0</cx:pt>
          <cx:pt idx="479">0</cx:pt>
          <cx:pt idx="480">0</cx:pt>
          <cx:pt idx="481">0</cx:pt>
          <cx:pt idx="482">0</cx:pt>
          <cx:pt idx="483">0</cx:pt>
          <cx:pt idx="484">0</cx:pt>
          <cx:pt idx="485">0</cx:pt>
          <cx:pt idx="486">0</cx:pt>
          <cx:pt idx="487">0</cx:pt>
          <cx:pt idx="488">0</cx:pt>
          <cx:pt idx="489">0</cx:pt>
          <cx:pt idx="490">0</cx:pt>
          <cx:pt idx="491">0</cx:pt>
          <cx:pt idx="492">0</cx:pt>
          <cx:pt idx="493">0</cx:pt>
          <cx:pt idx="494">0</cx:pt>
          <cx:pt idx="495">0</cx:pt>
          <cx:pt idx="496">0</cx:pt>
          <cx:pt idx="497">0</cx:pt>
          <cx:pt idx="498">0</cx:pt>
          <cx:pt idx="499">0</cx:pt>
          <cx:pt idx="500">0</cx:pt>
          <cx:pt idx="501">0</cx:pt>
          <cx:pt idx="502">0</cx:pt>
          <cx:pt idx="503">0</cx:pt>
          <cx:pt idx="504">0</cx:pt>
          <cx:pt idx="505">0</cx:pt>
          <cx:pt idx="506">0</cx:pt>
          <cx:pt idx="507">0</cx:pt>
          <cx:pt idx="508">0</cx:pt>
          <cx:pt idx="509">0</cx:pt>
          <cx:pt idx="510">0</cx:pt>
          <cx:pt idx="511">0</cx:pt>
          <cx:pt idx="512">0</cx:pt>
          <cx:pt idx="513">0</cx:pt>
          <cx:pt idx="514">0</cx:pt>
          <cx:pt idx="515">0</cx:pt>
          <cx:pt idx="516">0</cx:pt>
          <cx:pt idx="517">0</cx:pt>
          <cx:pt idx="518">0</cx:pt>
          <cx:pt idx="519">0</cx:pt>
          <cx:pt idx="520">0</cx:pt>
          <cx:pt idx="521">0</cx:pt>
          <cx:pt idx="522">0</cx:pt>
          <cx:pt idx="523">0</cx:pt>
          <cx:pt idx="524">0</cx:pt>
          <cx:pt idx="525">0</cx:pt>
          <cx:pt idx="526">0</cx:pt>
          <cx:pt idx="527">0</cx:pt>
          <cx:pt idx="528">0</cx:pt>
          <cx:pt idx="529">0</cx:pt>
          <cx:pt idx="530">0</cx:pt>
          <cx:pt idx="531">0</cx:pt>
          <cx:pt idx="532">0</cx:pt>
          <cx:pt idx="533">0</cx:pt>
          <cx:pt idx="534">0</cx:pt>
          <cx:pt idx="535">0</cx:pt>
          <cx:pt idx="536">0</cx:pt>
          <cx:pt idx="537">0</cx:pt>
          <cx:pt idx="538">0</cx:pt>
          <cx:pt idx="539">0</cx:pt>
          <cx:pt idx="540">0</cx:pt>
          <cx:pt idx="541">0</cx:pt>
          <cx:pt idx="542">0</cx:pt>
          <cx:pt idx="543">0</cx:pt>
          <cx:pt idx="544">0</cx:pt>
          <cx:pt idx="545">0</cx:pt>
          <cx:pt idx="546">0</cx:pt>
          <cx:pt idx="547">0</cx:pt>
          <cx:pt idx="548">0</cx:pt>
          <cx:pt idx="549">0</cx:pt>
          <cx:pt idx="550">0</cx:pt>
          <cx:pt idx="551">0</cx:pt>
          <cx:pt idx="552">0</cx:pt>
          <cx:pt idx="553">0</cx:pt>
          <cx:pt idx="554">0</cx:pt>
          <cx:pt idx="555">0</cx:pt>
          <cx:pt idx="556">0</cx:pt>
          <cx:pt idx="557">0</cx:pt>
          <cx:pt idx="558">0</cx:pt>
          <cx:pt idx="559">0</cx:pt>
          <cx:pt idx="560">0</cx:pt>
          <cx:pt idx="561">0</cx:pt>
          <cx:pt idx="562">0</cx:pt>
          <cx:pt idx="563">0</cx:pt>
          <cx:pt idx="564">0</cx:pt>
          <cx:pt idx="565">0</cx:pt>
          <cx:pt idx="566">0</cx:pt>
          <cx:pt idx="567">0</cx:pt>
          <cx:pt idx="568">0</cx:pt>
          <cx:pt idx="569">0</cx:pt>
          <cx:pt idx="570">0</cx:pt>
          <cx:pt idx="571">0</cx:pt>
          <cx:pt idx="572">0</cx:pt>
          <cx:pt idx="573">0</cx:pt>
          <cx:pt idx="574">0</cx:pt>
          <cx:pt idx="575">0</cx:pt>
          <cx:pt idx="576">0</cx:pt>
          <cx:pt idx="577">0</cx:pt>
          <cx:pt idx="578">0</cx:pt>
          <cx:pt idx="579">0</cx:pt>
          <cx:pt idx="580">0</cx:pt>
          <cx:pt idx="581">0</cx:pt>
          <cx:pt idx="582">0</cx:pt>
          <cx:pt idx="583">0</cx:pt>
          <cx:pt idx="584">0</cx:pt>
          <cx:pt idx="585">0</cx:pt>
          <cx:pt idx="586">0</cx:pt>
          <cx:pt idx="587">0</cx:pt>
          <cx:pt idx="588">0</cx:pt>
          <cx:pt idx="589">0</cx:pt>
          <cx:pt idx="590">0</cx:pt>
          <cx:pt idx="591">0</cx:pt>
          <cx:pt idx="592">0</cx:pt>
          <cx:pt idx="593">0</cx:pt>
          <cx:pt idx="594">0</cx:pt>
          <cx:pt idx="595">0</cx:pt>
          <cx:pt idx="596">0</cx:pt>
          <cx:pt idx="597">0</cx:pt>
          <cx:pt idx="598">0</cx:pt>
          <cx:pt idx="599">0</cx:pt>
          <cx:pt idx="600">0</cx:pt>
          <cx:pt idx="601">0</cx:pt>
          <cx:pt idx="602">0</cx:pt>
          <cx:pt idx="603">0</cx:pt>
          <cx:pt idx="604">0</cx:pt>
          <cx:pt idx="605">0</cx:pt>
          <cx:pt idx="606">0</cx:pt>
          <cx:pt idx="607">0</cx:pt>
          <cx:pt idx="608">0</cx:pt>
          <cx:pt idx="609">0</cx:pt>
          <cx:pt idx="610">0</cx:pt>
          <cx:pt idx="611">0</cx:pt>
          <cx:pt idx="612">0</cx:pt>
          <cx:pt idx="613">0</cx:pt>
          <cx:pt idx="614">0</cx:pt>
          <cx:pt idx="615">0</cx:pt>
          <cx:pt idx="616">0</cx:pt>
          <cx:pt idx="617">0</cx:pt>
          <cx:pt idx="618">0</cx:pt>
          <cx:pt idx="619">0</cx:pt>
          <cx:pt idx="620">0</cx:pt>
          <cx:pt idx="621">0</cx:pt>
          <cx:pt idx="622">0</cx:pt>
          <cx:pt idx="623">0</cx:pt>
          <cx:pt idx="624">0</cx:pt>
          <cx:pt idx="625">0</cx:pt>
          <cx:pt idx="626">0</cx:pt>
          <cx:pt idx="627">0</cx:pt>
          <cx:pt idx="628">0</cx:pt>
          <cx:pt idx="629">0</cx:pt>
          <cx:pt idx="630">0</cx:pt>
          <cx:pt idx="631">0</cx:pt>
          <cx:pt idx="632">0</cx:pt>
          <cx:pt idx="633">0</cx:pt>
          <cx:pt idx="634">0</cx:pt>
          <cx:pt idx="635">0</cx:pt>
          <cx:pt idx="636">0</cx:pt>
          <cx:pt idx="637">0</cx:pt>
          <cx:pt idx="638">0</cx:pt>
          <cx:pt idx="639">0</cx:pt>
          <cx:pt idx="640">0</cx:pt>
          <cx:pt idx="641">0</cx:pt>
          <cx:pt idx="642">0</cx:pt>
          <cx:pt idx="643">0</cx:pt>
          <cx:pt idx="644">0</cx:pt>
          <cx:pt idx="645">0</cx:pt>
          <cx:pt idx="646">0</cx:pt>
          <cx:pt idx="647">0</cx:pt>
          <cx:pt idx="648">0</cx:pt>
          <cx:pt idx="649">0</cx:pt>
          <cx:pt idx="650">0</cx:pt>
          <cx:pt idx="651">0</cx:pt>
          <cx:pt idx="652">0</cx:pt>
          <cx:pt idx="653">0</cx:pt>
          <cx:pt idx="654">0</cx:pt>
          <cx:pt idx="655">0</cx:pt>
          <cx:pt idx="656">0</cx:pt>
          <cx:pt idx="657">0</cx:pt>
          <cx:pt idx="658">0</cx:pt>
          <cx:pt idx="659">0</cx:pt>
          <cx:pt idx="660">0</cx:pt>
          <cx:pt idx="661">0</cx:pt>
          <cx:pt idx="662">0</cx:pt>
          <cx:pt idx="663">0</cx:pt>
          <cx:pt idx="664">0</cx:pt>
          <cx:pt idx="665">0</cx:pt>
          <cx:pt idx="666">0</cx:pt>
          <cx:pt idx="667">0</cx:pt>
          <cx:pt idx="668">0</cx:pt>
          <cx:pt idx="669">0</cx:pt>
          <cx:pt idx="670">0</cx:pt>
          <cx:pt idx="671">0</cx:pt>
          <cx:pt idx="672">0</cx:pt>
          <cx:pt idx="673">0</cx:pt>
          <cx:pt idx="674">0</cx:pt>
          <cx:pt idx="675">0</cx:pt>
          <cx:pt idx="676">0</cx:pt>
          <cx:pt idx="677">0</cx:pt>
          <cx:pt idx="678">0</cx:pt>
          <cx:pt idx="679">0</cx:pt>
          <cx:pt idx="680">0</cx:pt>
          <cx:pt idx="681">0</cx:pt>
          <cx:pt idx="682">0</cx:pt>
          <cx:pt idx="683">0</cx:pt>
          <cx:pt idx="684">0</cx:pt>
          <cx:pt idx="685">0</cx:pt>
          <cx:pt idx="686">0</cx:pt>
          <cx:pt idx="687">0</cx:pt>
          <cx:pt idx="688">0</cx:pt>
          <cx:pt idx="689">0</cx:pt>
          <cx:pt idx="690">0</cx:pt>
          <cx:pt idx="691">0</cx:pt>
          <cx:pt idx="692">0</cx:pt>
          <cx:pt idx="693">0</cx:pt>
          <cx:pt idx="694">0</cx:pt>
          <cx:pt idx="695">0</cx:pt>
          <cx:pt idx="696">0</cx:pt>
          <cx:pt idx="697">0</cx:pt>
          <cx:pt idx="698">0</cx:pt>
          <cx:pt idx="699">0</cx:pt>
          <cx:pt idx="700">0</cx:pt>
          <cx:pt idx="701">0</cx:pt>
          <cx:pt idx="702">0</cx:pt>
          <cx:pt idx="703">0</cx:pt>
          <cx:pt idx="704">0</cx:pt>
          <cx:pt idx="705">0</cx:pt>
          <cx:pt idx="706">0</cx:pt>
          <cx:pt idx="707">0</cx:pt>
          <cx:pt idx="708">0</cx:pt>
          <cx:pt idx="709">0</cx:pt>
          <cx:pt idx="710">0</cx:pt>
          <cx:pt idx="711">0</cx:pt>
          <cx:pt idx="712">0</cx:pt>
          <cx:pt idx="713">0</cx:pt>
          <cx:pt idx="714">0</cx:pt>
          <cx:pt idx="715">0</cx:pt>
          <cx:pt idx="716">0</cx:pt>
          <cx:pt idx="717">0</cx:pt>
          <cx:pt idx="718">0</cx:pt>
          <cx:pt idx="719">0</cx:pt>
          <cx:pt idx="720">0</cx:pt>
          <cx:pt idx="721">0</cx:pt>
          <cx:pt idx="722">0</cx:pt>
          <cx:pt idx="723">0</cx:pt>
          <cx:pt idx="724">0</cx:pt>
          <cx:pt idx="725">0</cx:pt>
          <cx:pt idx="726">0</cx:pt>
          <cx:pt idx="727">0</cx:pt>
          <cx:pt idx="728">0</cx:pt>
          <cx:pt idx="729">0</cx:pt>
          <cx:pt idx="730">0</cx:pt>
          <cx:pt idx="731">0</cx:pt>
          <cx:pt idx="732">0</cx:pt>
          <cx:pt idx="733">0</cx:pt>
          <cx:pt idx="734">0</cx:pt>
          <cx:pt idx="735">0</cx:pt>
          <cx:pt idx="736">0</cx:pt>
          <cx:pt idx="737">0</cx:pt>
          <cx:pt idx="738">0</cx:pt>
          <cx:pt idx="739">0</cx:pt>
          <cx:pt idx="740">0</cx:pt>
          <cx:pt idx="741">0</cx:pt>
          <cx:pt idx="742">0</cx:pt>
          <cx:pt idx="743">0</cx:pt>
          <cx:pt idx="744">0</cx:pt>
          <cx:pt idx="745">0</cx:pt>
          <cx:pt idx="746">0</cx:pt>
          <cx:pt idx="747">0</cx:pt>
          <cx:pt idx="748">0</cx:pt>
          <cx:pt idx="749">0</cx:pt>
          <cx:pt idx="750">0</cx:pt>
          <cx:pt idx="751">0</cx:pt>
          <cx:pt idx="752">0</cx:pt>
          <cx:pt idx="753">0</cx:pt>
          <cx:pt idx="754">0</cx:pt>
          <cx:pt idx="755">0</cx:pt>
          <cx:pt idx="756">0</cx:pt>
          <cx:pt idx="757">0</cx:pt>
          <cx:pt idx="758">0</cx:pt>
          <cx:pt idx="759">0</cx:pt>
          <cx:pt idx="760">0</cx:pt>
          <cx:pt idx="761">0</cx:pt>
          <cx:pt idx="762">0</cx:pt>
          <cx:pt idx="763">0</cx:pt>
          <cx:pt idx="764">0</cx:pt>
          <cx:pt idx="765">0</cx:pt>
          <cx:pt idx="766">0</cx:pt>
          <cx:pt idx="767">0</cx:pt>
          <cx:pt idx="768">0</cx:pt>
          <cx:pt idx="769">0</cx:pt>
          <cx:pt idx="770">0</cx:pt>
          <cx:pt idx="771">0</cx:pt>
          <cx:pt idx="772">0</cx:pt>
          <cx:pt idx="773">0</cx:pt>
          <cx:pt idx="774">0</cx:pt>
          <cx:pt idx="775">0</cx:pt>
          <cx:pt idx="776">0</cx:pt>
          <cx:pt idx="777">0</cx:pt>
          <cx:pt idx="778">0</cx:pt>
          <cx:pt idx="779">0</cx:pt>
          <cx:pt idx="780">0</cx:pt>
          <cx:pt idx="781">0</cx:pt>
          <cx:pt idx="782">0</cx:pt>
          <cx:pt idx="783">0</cx:pt>
          <cx:pt idx="784">0</cx:pt>
          <cx:pt idx="785">0</cx:pt>
          <cx:pt idx="786">0</cx:pt>
          <cx:pt idx="787">0</cx:pt>
          <cx:pt idx="788">0</cx:pt>
          <cx:pt idx="789">0</cx:pt>
          <cx:pt idx="790">0</cx:pt>
          <cx:pt idx="791">0</cx:pt>
          <cx:pt idx="792">0</cx:pt>
          <cx:pt idx="793">0</cx:pt>
          <cx:pt idx="794">0</cx:pt>
          <cx:pt idx="795">0</cx:pt>
          <cx:pt idx="796">0</cx:pt>
          <cx:pt idx="797">0</cx:pt>
          <cx:pt idx="798">0</cx:pt>
          <cx:pt idx="799">0</cx:pt>
          <cx:pt idx="800">0</cx:pt>
          <cx:pt idx="801">0</cx:pt>
          <cx:pt idx="802">0</cx:pt>
          <cx:pt idx="803">0</cx:pt>
          <cx:pt idx="804">0</cx:pt>
          <cx:pt idx="805">0</cx:pt>
          <cx:pt idx="806">0</cx:pt>
          <cx:pt idx="807">0</cx:pt>
          <cx:pt idx="808">0</cx:pt>
          <cx:pt idx="809">0</cx:pt>
          <cx:pt idx="810">0</cx:pt>
          <cx:pt idx="811">0</cx:pt>
          <cx:pt idx="812">0</cx:pt>
          <cx:pt idx="813">0</cx:pt>
          <cx:pt idx="814">0</cx:pt>
          <cx:pt idx="815">0</cx:pt>
          <cx:pt idx="816">0</cx:pt>
          <cx:pt idx="817">0</cx:pt>
          <cx:pt idx="818">0</cx:pt>
          <cx:pt idx="819">0</cx:pt>
          <cx:pt idx="820">0</cx:pt>
          <cx:pt idx="821">0</cx:pt>
          <cx:pt idx="822">0</cx:pt>
          <cx:pt idx="823">0</cx:pt>
          <cx:pt idx="824">0</cx:pt>
          <cx:pt idx="825">0</cx:pt>
          <cx:pt idx="826">0</cx:pt>
          <cx:pt idx="827">0</cx:pt>
          <cx:pt idx="828">0</cx:pt>
          <cx:pt idx="829">0</cx:pt>
          <cx:pt idx="830">0</cx:pt>
          <cx:pt idx="831">0</cx:pt>
          <cx:pt idx="832">0</cx:pt>
          <cx:pt idx="833">0</cx:pt>
          <cx:pt idx="834">0</cx:pt>
          <cx:pt idx="835">0</cx:pt>
          <cx:pt idx="836">0</cx:pt>
          <cx:pt idx="837">0</cx:pt>
          <cx:pt idx="838">0</cx:pt>
          <cx:pt idx="839">0</cx:pt>
          <cx:pt idx="840">0</cx:pt>
          <cx:pt idx="841">0</cx:pt>
          <cx:pt idx="842">0</cx:pt>
          <cx:pt idx="843">0</cx:pt>
          <cx:pt idx="844">0</cx:pt>
          <cx:pt idx="845">0</cx:pt>
          <cx:pt idx="846">0</cx:pt>
          <cx:pt idx="847">0</cx:pt>
          <cx:pt idx="848">0</cx:pt>
          <cx:pt idx="849">0</cx:pt>
          <cx:pt idx="850">0</cx:pt>
          <cx:pt idx="851">0</cx:pt>
          <cx:pt idx="852">0</cx:pt>
          <cx:pt idx="853">0</cx:pt>
          <cx:pt idx="854">0</cx:pt>
          <cx:pt idx="855">0</cx:pt>
          <cx:pt idx="856">0</cx:pt>
          <cx:pt idx="857">0</cx:pt>
          <cx:pt idx="858">0</cx:pt>
          <cx:pt idx="859">0</cx:pt>
          <cx:pt idx="860">0</cx:pt>
          <cx:pt idx="861">0</cx:pt>
          <cx:pt idx="862">0</cx:pt>
          <cx:pt idx="863">0</cx:pt>
          <cx:pt idx="864">0</cx:pt>
          <cx:pt idx="865">0</cx:pt>
          <cx:pt idx="866">0</cx:pt>
          <cx:pt idx="867">0</cx:pt>
          <cx:pt idx="868">0</cx:pt>
          <cx:pt idx="869">0</cx:pt>
          <cx:pt idx="870">0</cx:pt>
          <cx:pt idx="871">0</cx:pt>
          <cx:pt idx="872">0</cx:pt>
          <cx:pt idx="873">0</cx:pt>
          <cx:pt idx="874">0</cx:pt>
          <cx:pt idx="875">0</cx:pt>
          <cx:pt idx="876">0</cx:pt>
          <cx:pt idx="877">0</cx:pt>
          <cx:pt idx="878">0</cx:pt>
          <cx:pt idx="879">0</cx:pt>
          <cx:pt idx="880">0</cx:pt>
          <cx:pt idx="881">0</cx:pt>
          <cx:pt idx="882">0</cx:pt>
          <cx:pt idx="883">0</cx:pt>
          <cx:pt idx="884">0</cx:pt>
          <cx:pt idx="885">0</cx:pt>
          <cx:pt idx="886">0</cx:pt>
          <cx:pt idx="887">0</cx:pt>
          <cx:pt idx="888">0</cx:pt>
          <cx:pt idx="889">0</cx:pt>
          <cx:pt idx="890">0</cx:pt>
          <cx:pt idx="891">0</cx:pt>
          <cx:pt idx="892">0</cx:pt>
          <cx:pt idx="893">0</cx:pt>
          <cx:pt idx="894">0</cx:pt>
          <cx:pt idx="895">0</cx:pt>
          <cx:pt idx="896">0</cx:pt>
          <cx:pt idx="897">0</cx:pt>
          <cx:pt idx="898">0</cx:pt>
          <cx:pt idx="899">0</cx:pt>
          <cx:pt idx="900">0</cx:pt>
          <cx:pt idx="901">0</cx:pt>
          <cx:pt idx="902">0</cx:pt>
          <cx:pt idx="903">0</cx:pt>
          <cx:pt idx="904">0</cx:pt>
          <cx:pt idx="905">0</cx:pt>
          <cx:pt idx="906">0</cx:pt>
          <cx:pt idx="907">0</cx:pt>
          <cx:pt idx="908">0</cx:pt>
          <cx:pt idx="909">0</cx:pt>
          <cx:pt idx="910">0</cx:pt>
          <cx:pt idx="911">0</cx:pt>
          <cx:pt idx="912">0</cx:pt>
          <cx:pt idx="913">0</cx:pt>
          <cx:pt idx="914">0</cx:pt>
          <cx:pt idx="915">0</cx:pt>
          <cx:pt idx="916">0</cx:pt>
          <cx:pt idx="917">0</cx:pt>
          <cx:pt idx="918">0</cx:pt>
          <cx:pt idx="919">0</cx:pt>
          <cx:pt idx="920">0</cx:pt>
          <cx:pt idx="921">0</cx:pt>
          <cx:pt idx="922">0</cx:pt>
          <cx:pt idx="923">0</cx:pt>
          <cx:pt idx="924">0</cx:pt>
          <cx:pt idx="925">0</cx:pt>
          <cx:pt idx="926">0</cx:pt>
          <cx:pt idx="927">0</cx:pt>
          <cx:pt idx="928">0</cx:pt>
          <cx:pt idx="929">0</cx:pt>
          <cx:pt idx="930">0</cx:pt>
          <cx:pt idx="931">0</cx:pt>
          <cx:pt idx="932">0</cx:pt>
          <cx:pt idx="933">0</cx:pt>
          <cx:pt idx="934">0</cx:pt>
          <cx:pt idx="935">0</cx:pt>
          <cx:pt idx="936">0</cx:pt>
          <cx:pt idx="937">0</cx:pt>
          <cx:pt idx="938">0</cx:pt>
          <cx:pt idx="939">0</cx:pt>
          <cx:pt idx="940">0</cx:pt>
          <cx:pt idx="941">0</cx:pt>
          <cx:pt idx="942">0</cx:pt>
          <cx:pt idx="943">0</cx:pt>
          <cx:pt idx="944">0</cx:pt>
          <cx:pt idx="945">0</cx:pt>
          <cx:pt idx="946">0</cx:pt>
          <cx:pt idx="947">0</cx:pt>
          <cx:pt idx="948">0</cx:pt>
          <cx:pt idx="949">0</cx:pt>
          <cx:pt idx="950">0</cx:pt>
          <cx:pt idx="951">0</cx:pt>
          <cx:pt idx="952">0</cx:pt>
          <cx:pt idx="953">0</cx:pt>
          <cx:pt idx="954">0</cx:pt>
          <cx:pt idx="955">0</cx:pt>
          <cx:pt idx="956">0</cx:pt>
          <cx:pt idx="957">0</cx:pt>
          <cx:pt idx="958">0</cx:pt>
          <cx:pt idx="959">0</cx:pt>
          <cx:pt idx="960">0</cx:pt>
          <cx:pt idx="961">0</cx:pt>
          <cx:pt idx="962">0</cx:pt>
          <cx:pt idx="963">0</cx:pt>
          <cx:pt idx="964">0</cx:pt>
          <cx:pt idx="965">0</cx:pt>
          <cx:pt idx="966">0</cx:pt>
          <cx:pt idx="967">0</cx:pt>
          <cx:pt idx="968">0</cx:pt>
          <cx:pt idx="969">0</cx:pt>
          <cx:pt idx="970">0</cx:pt>
          <cx:pt idx="971">0</cx:pt>
          <cx:pt idx="972">0</cx:pt>
          <cx:pt idx="973">0</cx:pt>
          <cx:pt idx="974">0</cx:pt>
          <cx:pt idx="975">0</cx:pt>
          <cx:pt idx="976">0</cx:pt>
          <cx:pt idx="977">0</cx:pt>
          <cx:pt idx="978">0</cx:pt>
          <cx:pt idx="979">0</cx:pt>
          <cx:pt idx="980">0</cx:pt>
          <cx:pt idx="981">0</cx:pt>
          <cx:pt idx="982">0</cx:pt>
          <cx:pt idx="983">0</cx:pt>
          <cx:pt idx="984">0</cx:pt>
          <cx:pt idx="985">0</cx:pt>
          <cx:pt idx="986">0</cx:pt>
          <cx:pt idx="987">0</cx:pt>
          <cx:pt idx="988">0</cx:pt>
          <cx:pt idx="989">0</cx:pt>
          <cx:pt idx="990">0</cx:pt>
          <cx:pt idx="991">0</cx:pt>
          <cx:pt idx="992">0</cx:pt>
          <cx:pt idx="993">0</cx:pt>
          <cx:pt idx="994">0</cx:pt>
          <cx:pt idx="995">0</cx:pt>
          <cx:pt idx="996">0</cx:pt>
          <cx:pt idx="997">0</cx:pt>
          <cx:pt idx="998">0</cx:pt>
          <cx:pt idx="999">0</cx:pt>
          <cx:pt idx="1000">0</cx:pt>
          <cx:pt idx="1001">0</cx:pt>
          <cx:pt idx="1002">0</cx:pt>
          <cx:pt idx="1003">0</cx:pt>
          <cx:pt idx="1004">0</cx:pt>
          <cx:pt idx="1005">0</cx:pt>
          <cx:pt idx="1006">0</cx:pt>
          <cx:pt idx="1007">0</cx:pt>
          <cx:pt idx="1008">0</cx:pt>
          <cx:pt idx="1009">0</cx:pt>
          <cx:pt idx="1010">0</cx:pt>
          <cx:pt idx="1011">0</cx:pt>
          <cx:pt idx="1012">0</cx:pt>
          <cx:pt idx="1013">0</cx:pt>
          <cx:pt idx="1014">0</cx:pt>
          <cx:pt idx="1015">0</cx:pt>
          <cx:pt idx="1016">0</cx:pt>
          <cx:pt idx="1017">0</cx:pt>
          <cx:pt idx="1018">0</cx:pt>
          <cx:pt idx="1019">0</cx:pt>
          <cx:pt idx="1020">0</cx:pt>
          <cx:pt idx="1021">0</cx:pt>
          <cx:pt idx="1022">0</cx:pt>
          <cx:pt idx="1023">0</cx:pt>
          <cx:pt idx="1024">0</cx:pt>
          <cx:pt idx="1025">0</cx:pt>
          <cx:pt idx="1026">0</cx:pt>
          <cx:pt idx="1027">0</cx:pt>
          <cx:pt idx="1028">0</cx:pt>
          <cx:pt idx="1029">0</cx:pt>
          <cx:pt idx="1030">0</cx:pt>
          <cx:pt idx="1031">0</cx:pt>
          <cx:pt idx="1032">0</cx:pt>
          <cx:pt idx="1033">0</cx:pt>
          <cx:pt idx="1034">0</cx:pt>
          <cx:pt idx="1035">0</cx:pt>
          <cx:pt idx="1036">0</cx:pt>
          <cx:pt idx="1037">0</cx:pt>
          <cx:pt idx="1038">0</cx:pt>
          <cx:pt idx="1039">0</cx:pt>
          <cx:pt idx="1040">0</cx:pt>
          <cx:pt idx="1041">0</cx:pt>
          <cx:pt idx="1042">0</cx:pt>
          <cx:pt idx="1043">0</cx:pt>
          <cx:pt idx="1044">0</cx:pt>
          <cx:pt idx="1045">0</cx:pt>
          <cx:pt idx="1046">0</cx:pt>
          <cx:pt idx="1047">0</cx:pt>
          <cx:pt idx="1048">0</cx:pt>
          <cx:pt idx="1049">0</cx:pt>
          <cx:pt idx="1050">0</cx:pt>
          <cx:pt idx="1051">0</cx:pt>
          <cx:pt idx="1052">0</cx:pt>
          <cx:pt idx="1053">0</cx:pt>
          <cx:pt idx="1054">0</cx:pt>
          <cx:pt idx="1055">0</cx:pt>
          <cx:pt idx="1056">0</cx:pt>
          <cx:pt idx="1057">0</cx:pt>
          <cx:pt idx="1058">0</cx:pt>
          <cx:pt idx="1059">0</cx:pt>
          <cx:pt idx="1060">0</cx:pt>
          <cx:pt idx="1061">0</cx:pt>
          <cx:pt idx="1062">0</cx:pt>
          <cx:pt idx="1063">0</cx:pt>
          <cx:pt idx="1064">0</cx:pt>
          <cx:pt idx="1065">0</cx:pt>
          <cx:pt idx="1066">0</cx:pt>
          <cx:pt idx="1067">0</cx:pt>
          <cx:pt idx="1068">0</cx:pt>
          <cx:pt idx="1069">0</cx:pt>
          <cx:pt idx="1070">0</cx:pt>
          <cx:pt idx="1071">0</cx:pt>
          <cx:pt idx="1072">0</cx:pt>
          <cx:pt idx="1073">0</cx:pt>
          <cx:pt idx="1074">0</cx:pt>
          <cx:pt idx="1075">0</cx:pt>
          <cx:pt idx="1076">0</cx:pt>
          <cx:pt idx="1077">0</cx:pt>
          <cx:pt idx="1078">0</cx:pt>
          <cx:pt idx="1079">0</cx:pt>
          <cx:pt idx="1080">0</cx:pt>
          <cx:pt idx="1081">0</cx:pt>
          <cx:pt idx="1082">0</cx:pt>
          <cx:pt idx="1083">0</cx:pt>
          <cx:pt idx="1084">0</cx:pt>
          <cx:pt idx="1085">0</cx:pt>
          <cx:pt idx="1086">0</cx:pt>
          <cx:pt idx="1087">0</cx:pt>
          <cx:pt idx="1088">0</cx:pt>
          <cx:pt idx="1089">0</cx:pt>
          <cx:pt idx="1090">0</cx:pt>
          <cx:pt idx="1091">0</cx:pt>
          <cx:pt idx="1092">0</cx:pt>
          <cx:pt idx="1093">0</cx:pt>
          <cx:pt idx="1094">0</cx:pt>
          <cx:pt idx="1095">0</cx:pt>
          <cx:pt idx="1096">0</cx:pt>
          <cx:pt idx="1097">0</cx:pt>
          <cx:pt idx="1098">0</cx:pt>
          <cx:pt idx="1099">0</cx:pt>
          <cx:pt idx="1100">0</cx:pt>
          <cx:pt idx="1101">0</cx:pt>
          <cx:pt idx="1102">0</cx:pt>
          <cx:pt idx="1103">0</cx:pt>
          <cx:pt idx="1104">0</cx:pt>
          <cx:pt idx="1105">0</cx:pt>
          <cx:pt idx="1106">0</cx:pt>
          <cx:pt idx="1107">0</cx:pt>
          <cx:pt idx="1108">0</cx:pt>
          <cx:pt idx="1109">0</cx:pt>
          <cx:pt idx="1110">0</cx:pt>
          <cx:pt idx="1111">0</cx:pt>
          <cx:pt idx="1112">0</cx:pt>
          <cx:pt idx="1113">0</cx:pt>
          <cx:pt idx="1114">0</cx:pt>
          <cx:pt idx="1115">0</cx:pt>
          <cx:pt idx="1116">0</cx:pt>
          <cx:pt idx="1117">0</cx:pt>
          <cx:pt idx="1118">0</cx:pt>
          <cx:pt idx="1119">0</cx:pt>
          <cx:pt idx="1120">0</cx:pt>
          <cx:pt idx="1121">0</cx:pt>
          <cx:pt idx="1122">0</cx:pt>
          <cx:pt idx="1123">0</cx:pt>
          <cx:pt idx="1124">0</cx:pt>
          <cx:pt idx="1125">0</cx:pt>
          <cx:pt idx="1126">0</cx:pt>
          <cx:pt idx="1127">0</cx:pt>
          <cx:pt idx="1128">0</cx:pt>
          <cx:pt idx="1129">0</cx:pt>
          <cx:pt idx="1130">0</cx:pt>
          <cx:pt idx="1131">0</cx:pt>
          <cx:pt idx="1132">0</cx:pt>
          <cx:pt idx="1133">0</cx:pt>
          <cx:pt idx="1134">0</cx:pt>
          <cx:pt idx="1135">0</cx:pt>
          <cx:pt idx="1136">0</cx:pt>
          <cx:pt idx="1137">0</cx:pt>
          <cx:pt idx="1138">0</cx:pt>
          <cx:pt idx="1139">0</cx:pt>
          <cx:pt idx="1140">0</cx:pt>
          <cx:pt idx="1141">0</cx:pt>
          <cx:pt idx="1142">0</cx:pt>
          <cx:pt idx="1143">0</cx:pt>
          <cx:pt idx="1144">0</cx:pt>
          <cx:pt idx="1145">0</cx:pt>
          <cx:pt idx="1146">0</cx:pt>
          <cx:pt idx="1147">0</cx:pt>
          <cx:pt idx="1148">0</cx:pt>
          <cx:pt idx="1149">0</cx:pt>
          <cx:pt idx="1150">0</cx:pt>
          <cx:pt idx="1151">0</cx:pt>
          <cx:pt idx="1152">0</cx:pt>
          <cx:pt idx="1153">0</cx:pt>
          <cx:pt idx="1154">0</cx:pt>
          <cx:pt idx="1155">0</cx:pt>
          <cx:pt idx="1156">0</cx:pt>
          <cx:pt idx="1157">0</cx:pt>
          <cx:pt idx="1158">0</cx:pt>
          <cx:pt idx="1159">0</cx:pt>
          <cx:pt idx="1160">0</cx:pt>
          <cx:pt idx="1161">0</cx:pt>
          <cx:pt idx="1162">0</cx:pt>
          <cx:pt idx="1163">0</cx:pt>
          <cx:pt idx="1164">0</cx:pt>
          <cx:pt idx="1165">0</cx:pt>
          <cx:pt idx="1166">0</cx:pt>
          <cx:pt idx="1167">0</cx:pt>
          <cx:pt idx="1168">0</cx:pt>
          <cx:pt idx="1169">0</cx:pt>
          <cx:pt idx="1170">0</cx:pt>
          <cx:pt idx="1171">0</cx:pt>
          <cx:pt idx="1172">0</cx:pt>
          <cx:pt idx="1173">0</cx:pt>
          <cx:pt idx="1174">0</cx:pt>
          <cx:pt idx="1175">0</cx:pt>
          <cx:pt idx="1176">0</cx:pt>
          <cx:pt idx="1177">0</cx:pt>
          <cx:pt idx="1178">0</cx:pt>
          <cx:pt idx="1179">0</cx:pt>
          <cx:pt idx="1180">0</cx:pt>
          <cx:pt idx="1181">0</cx:pt>
          <cx:pt idx="1182">0</cx:pt>
          <cx:pt idx="1183">0</cx:pt>
          <cx:pt idx="1184">0</cx:pt>
          <cx:pt idx="1185">0</cx:pt>
          <cx:pt idx="1186">0</cx:pt>
          <cx:pt idx="1187">0</cx:pt>
          <cx:pt idx="1188">0</cx:pt>
          <cx:pt idx="1189">0</cx:pt>
          <cx:pt idx="1190">0</cx:pt>
          <cx:pt idx="1191">0</cx:pt>
          <cx:pt idx="1192">0</cx:pt>
          <cx:pt idx="1193">0</cx:pt>
          <cx:pt idx="1194">0</cx:pt>
          <cx:pt idx="1195">0</cx:pt>
          <cx:pt idx="1196">0</cx:pt>
          <cx:pt idx="1197">0</cx:pt>
          <cx:pt idx="1198">0</cx:pt>
          <cx:pt idx="1199">0</cx:pt>
          <cx:pt idx="1200">0</cx:pt>
          <cx:pt idx="1201">0</cx:pt>
          <cx:pt idx="1202">0</cx:pt>
          <cx:pt idx="1203">0</cx:pt>
          <cx:pt idx="1204">0</cx:pt>
          <cx:pt idx="1205">0</cx:pt>
          <cx:pt idx="1206">0</cx:pt>
          <cx:pt idx="1207">0</cx:pt>
          <cx:pt idx="1208">0</cx:pt>
          <cx:pt idx="1209">0</cx:pt>
          <cx:pt idx="1210">0</cx:pt>
          <cx:pt idx="1211">0</cx:pt>
          <cx:pt idx="1212">0</cx:pt>
          <cx:pt idx="1213">0</cx:pt>
          <cx:pt idx="1214">0</cx:pt>
          <cx:pt idx="1215">0</cx:pt>
          <cx:pt idx="1216">0</cx:pt>
          <cx:pt idx="1217">0</cx:pt>
          <cx:pt idx="1218">0</cx:pt>
          <cx:pt idx="1219">0</cx:pt>
          <cx:pt idx="1220">0</cx:pt>
          <cx:pt idx="1221">0</cx:pt>
          <cx:pt idx="1222">0</cx:pt>
          <cx:pt idx="1223">0</cx:pt>
          <cx:pt idx="1224">0</cx:pt>
          <cx:pt idx="1225">0</cx:pt>
          <cx:pt idx="1226">0</cx:pt>
          <cx:pt idx="1227">0</cx:pt>
          <cx:pt idx="1228">0</cx:pt>
          <cx:pt idx="1229">0</cx:pt>
          <cx:pt idx="1230">0</cx:pt>
          <cx:pt idx="1231">0</cx:pt>
          <cx:pt idx="1232">0</cx:pt>
          <cx:pt idx="1233">0</cx:pt>
          <cx:pt idx="1234">0</cx:pt>
          <cx:pt idx="1235">0</cx:pt>
          <cx:pt idx="1236">0</cx:pt>
          <cx:pt idx="1237">0</cx:pt>
          <cx:pt idx="1238">0</cx:pt>
          <cx:pt idx="1239">0</cx:pt>
          <cx:pt idx="1240">0</cx:pt>
          <cx:pt idx="1241">0</cx:pt>
          <cx:pt idx="1242">0</cx:pt>
          <cx:pt idx="1243">0</cx:pt>
          <cx:pt idx="1244">0</cx:pt>
          <cx:pt idx="1245">0</cx:pt>
          <cx:pt idx="1246">0</cx:pt>
          <cx:pt idx="1247">0</cx:pt>
          <cx:pt idx="1248">0</cx:pt>
          <cx:pt idx="1249">0</cx:pt>
          <cx:pt idx="1250">0</cx:pt>
          <cx:pt idx="1251">0</cx:pt>
          <cx:pt idx="1252">0</cx:pt>
          <cx:pt idx="1253">0</cx:pt>
          <cx:pt idx="1254">0</cx:pt>
          <cx:pt idx="1255">0</cx:pt>
          <cx:pt idx="1256">0</cx:pt>
          <cx:pt idx="1257">0</cx:pt>
          <cx:pt idx="1258">0</cx:pt>
          <cx:pt idx="1259">0</cx:pt>
          <cx:pt idx="1260">0</cx:pt>
          <cx:pt idx="1261">0</cx:pt>
          <cx:pt idx="1262">0</cx:pt>
          <cx:pt idx="1263">0</cx:pt>
          <cx:pt idx="1264">0</cx:pt>
          <cx:pt idx="1265">0</cx:pt>
          <cx:pt idx="1266">0</cx:pt>
          <cx:pt idx="1267">0</cx:pt>
          <cx:pt idx="1268">0</cx:pt>
          <cx:pt idx="1269">0</cx:pt>
          <cx:pt idx="1270">0</cx:pt>
          <cx:pt idx="1271">0</cx:pt>
          <cx:pt idx="1272">0</cx:pt>
          <cx:pt idx="1273">0</cx:pt>
          <cx:pt idx="1274">0</cx:pt>
          <cx:pt idx="1275">0</cx:pt>
          <cx:pt idx="1276">0</cx:pt>
          <cx:pt idx="1277">0</cx:pt>
          <cx:pt idx="1278">0</cx:pt>
          <cx:pt idx="1279">0</cx:pt>
          <cx:pt idx="1280">0</cx:pt>
          <cx:pt idx="1281">0</cx:pt>
          <cx:pt idx="1282">0</cx:pt>
          <cx:pt idx="1283">0</cx:pt>
          <cx:pt idx="1284">0</cx:pt>
          <cx:pt idx="1285">0</cx:pt>
          <cx:pt idx="1286">0</cx:pt>
          <cx:pt idx="1287">0</cx:pt>
          <cx:pt idx="1288">0</cx:pt>
          <cx:pt idx="1289">0</cx:pt>
          <cx:pt idx="1290">0</cx:pt>
          <cx:pt idx="1291">0</cx:pt>
          <cx:pt idx="1292">0</cx:pt>
          <cx:pt idx="1293">0</cx:pt>
          <cx:pt idx="1294">0</cx:pt>
          <cx:pt idx="1295">0</cx:pt>
          <cx:pt idx="1296">0</cx:pt>
          <cx:pt idx="1297">0</cx:pt>
          <cx:pt idx="1298">0</cx:pt>
          <cx:pt idx="1299">0</cx:pt>
          <cx:pt idx="1300">0</cx:pt>
          <cx:pt idx="1301">0</cx:pt>
          <cx:pt idx="1302">0</cx:pt>
          <cx:pt idx="1303">0</cx:pt>
          <cx:pt idx="1304">0</cx:pt>
          <cx:pt idx="1305">0</cx:pt>
          <cx:pt idx="1306">0</cx:pt>
          <cx:pt idx="1307">0</cx:pt>
          <cx:pt idx="1308">0</cx:pt>
          <cx:pt idx="1309">0</cx:pt>
          <cx:pt idx="1310">0</cx:pt>
          <cx:pt idx="1311">0</cx:pt>
          <cx:pt idx="1312">0</cx:pt>
          <cx:pt idx="1313">0</cx:pt>
          <cx:pt idx="1314">0</cx:pt>
          <cx:pt idx="1315">0</cx:pt>
          <cx:pt idx="1316">0</cx:pt>
          <cx:pt idx="1317">0</cx:pt>
          <cx:pt idx="1318">0</cx:pt>
          <cx:pt idx="1319">0</cx:pt>
          <cx:pt idx="1320">0</cx:pt>
          <cx:pt idx="1321">0</cx:pt>
          <cx:pt idx="1322">0</cx:pt>
          <cx:pt idx="1323">0</cx:pt>
          <cx:pt idx="1324">0</cx:pt>
          <cx:pt idx="1325">0</cx:pt>
          <cx:pt idx="1326">0</cx:pt>
          <cx:pt idx="1327">0</cx:pt>
          <cx:pt idx="1328">0</cx:pt>
          <cx:pt idx="1329">0</cx:pt>
          <cx:pt idx="1330">0</cx:pt>
          <cx:pt idx="1331">0</cx:pt>
          <cx:pt idx="1332">0</cx:pt>
          <cx:pt idx="1333">0</cx:pt>
          <cx:pt idx="1334">0</cx:pt>
          <cx:pt idx="1335">0</cx:pt>
          <cx:pt idx="1336">0</cx:pt>
          <cx:pt idx="1337">0</cx:pt>
          <cx:pt idx="1338">0</cx:pt>
          <cx:pt idx="1339">0</cx:pt>
          <cx:pt idx="1340">0</cx:pt>
          <cx:pt idx="1341">0</cx:pt>
          <cx:pt idx="1342">0</cx:pt>
          <cx:pt idx="1343">0</cx:pt>
          <cx:pt idx="1344">0</cx:pt>
          <cx:pt idx="1345">0</cx:pt>
          <cx:pt idx="1346">0</cx:pt>
          <cx:pt idx="1347">0</cx:pt>
          <cx:pt idx="1348">0</cx:pt>
          <cx:pt idx="1349">0</cx:pt>
          <cx:pt idx="1350">0</cx:pt>
          <cx:pt idx="1351">0</cx:pt>
          <cx:pt idx="1352">0</cx:pt>
          <cx:pt idx="1353">0</cx:pt>
          <cx:pt idx="1354">0</cx:pt>
          <cx:pt idx="1355">0</cx:pt>
          <cx:pt idx="1356">0</cx:pt>
          <cx:pt idx="1357">0</cx:pt>
          <cx:pt idx="1358">0</cx:pt>
          <cx:pt idx="1359">0</cx:pt>
          <cx:pt idx="1360">0</cx:pt>
          <cx:pt idx="1361">0</cx:pt>
          <cx:pt idx="1362">0</cx:pt>
          <cx:pt idx="1363">0</cx:pt>
          <cx:pt idx="1364">0</cx:pt>
          <cx:pt idx="1365">0</cx:pt>
          <cx:pt idx="1366">0</cx:pt>
          <cx:pt idx="1367">0</cx:pt>
          <cx:pt idx="1368">0</cx:pt>
          <cx:pt idx="1369">0</cx:pt>
          <cx:pt idx="1370">0</cx:pt>
          <cx:pt idx="1371">0</cx:pt>
          <cx:pt idx="1372">0</cx:pt>
          <cx:pt idx="1373">0</cx:pt>
          <cx:pt idx="1374">0</cx:pt>
          <cx:pt idx="1375">0</cx:pt>
          <cx:pt idx="1376">0</cx:pt>
          <cx:pt idx="1377">0</cx:pt>
          <cx:pt idx="1378">0</cx:pt>
          <cx:pt idx="1379">0</cx:pt>
          <cx:pt idx="1380">0</cx:pt>
          <cx:pt idx="1381">0</cx:pt>
          <cx:pt idx="1382">0</cx:pt>
          <cx:pt idx="1383">0</cx:pt>
          <cx:pt idx="1384">0</cx:pt>
          <cx:pt idx="1385">0</cx:pt>
          <cx:pt idx="1386">0</cx:pt>
          <cx:pt idx="1387">0</cx:pt>
          <cx:pt idx="1388">0</cx:pt>
          <cx:pt idx="1389">0</cx:pt>
          <cx:pt idx="1390">0</cx:pt>
          <cx:pt idx="1391">0</cx:pt>
          <cx:pt idx="1392">0</cx:pt>
          <cx:pt idx="1393">0</cx:pt>
          <cx:pt idx="1394">0</cx:pt>
          <cx:pt idx="1395">0</cx:pt>
          <cx:pt idx="1396">0</cx:pt>
          <cx:pt idx="1397">0</cx:pt>
          <cx:pt idx="1398">0</cx:pt>
          <cx:pt idx="1399">0</cx:pt>
          <cx:pt idx="1400">0</cx:pt>
          <cx:pt idx="1401">0</cx:pt>
          <cx:pt idx="1402">0</cx:pt>
          <cx:pt idx="1403">0</cx:pt>
          <cx:pt idx="1404">0</cx:pt>
          <cx:pt idx="1405">0</cx:pt>
          <cx:pt idx="1406">0</cx:pt>
          <cx:pt idx="1407">0</cx:pt>
          <cx:pt idx="1408">0</cx:pt>
          <cx:pt idx="1409">0</cx:pt>
          <cx:pt idx="1410">0</cx:pt>
          <cx:pt idx="1411">0</cx:pt>
          <cx:pt idx="1412">0</cx:pt>
          <cx:pt idx="1413">0</cx:pt>
          <cx:pt idx="1414">0</cx:pt>
          <cx:pt idx="1415">0</cx:pt>
          <cx:pt idx="1416">0</cx:pt>
          <cx:pt idx="1417">0</cx:pt>
          <cx:pt idx="1418">0</cx:pt>
          <cx:pt idx="1419">0</cx:pt>
          <cx:pt idx="1420">0</cx:pt>
          <cx:pt idx="1421">0</cx:pt>
          <cx:pt idx="1422">0</cx:pt>
          <cx:pt idx="1423">0</cx:pt>
          <cx:pt idx="1424">0</cx:pt>
          <cx:pt idx="1425">0</cx:pt>
          <cx:pt idx="1426">0</cx:pt>
          <cx:pt idx="1427">0</cx:pt>
          <cx:pt idx="1428">0</cx:pt>
          <cx:pt idx="1429">0</cx:pt>
          <cx:pt idx="1430">0</cx:pt>
          <cx:pt idx="1431">0</cx:pt>
          <cx:pt idx="1432">0</cx:pt>
          <cx:pt idx="1433">0</cx:pt>
          <cx:pt idx="1434">0</cx:pt>
          <cx:pt idx="1435">0</cx:pt>
          <cx:pt idx="1436">0</cx:pt>
          <cx:pt idx="1437">0</cx:pt>
          <cx:pt idx="1438">0</cx:pt>
          <cx:pt idx="1439">0</cx:pt>
          <cx:pt idx="1440">0</cx:pt>
          <cx:pt idx="1441">0</cx:pt>
          <cx:pt idx="1442">0</cx:pt>
          <cx:pt idx="1443">0</cx:pt>
          <cx:pt idx="1444">0</cx:pt>
          <cx:pt idx="1445">0</cx:pt>
          <cx:pt idx="1446">0</cx:pt>
          <cx:pt idx="1447">0</cx:pt>
          <cx:pt idx="1448">0</cx:pt>
          <cx:pt idx="1449">0</cx:pt>
          <cx:pt idx="1450">0</cx:pt>
          <cx:pt idx="1451">0</cx:pt>
          <cx:pt idx="1452">0</cx:pt>
          <cx:pt idx="1453">0</cx:pt>
          <cx:pt idx="1454">0</cx:pt>
          <cx:pt idx="1455">0</cx:pt>
          <cx:pt idx="1456">0</cx:pt>
          <cx:pt idx="1457">0</cx:pt>
          <cx:pt idx="1458">0</cx:pt>
          <cx:pt idx="1459">0</cx:pt>
          <cx:pt idx="1460">0</cx:pt>
          <cx:pt idx="1461">0</cx:pt>
          <cx:pt idx="1462">0</cx:pt>
          <cx:pt idx="1463">0</cx:pt>
          <cx:pt idx="1464">0</cx:pt>
          <cx:pt idx="1465">0</cx:pt>
          <cx:pt idx="1466">0</cx:pt>
          <cx:pt idx="1467">0</cx:pt>
          <cx:pt idx="1468">0</cx:pt>
          <cx:pt idx="1469">0</cx:pt>
          <cx:pt idx="1470">0</cx:pt>
          <cx:pt idx="1471">0</cx:pt>
          <cx:pt idx="1472">0</cx:pt>
          <cx:pt idx="1473">0</cx:pt>
          <cx:pt idx="1474">0</cx:pt>
          <cx:pt idx="1475">0</cx:pt>
          <cx:pt idx="1476">0</cx:pt>
          <cx:pt idx="1477">0</cx:pt>
          <cx:pt idx="1478">0</cx:pt>
          <cx:pt idx="1479">0</cx:pt>
          <cx:pt idx="1480">0</cx:pt>
          <cx:pt idx="1481">0</cx:pt>
          <cx:pt idx="1482">0</cx:pt>
          <cx:pt idx="1483">0</cx:pt>
          <cx:pt idx="1484">0</cx:pt>
          <cx:pt idx="1485">0</cx:pt>
          <cx:pt idx="1486">0</cx:pt>
          <cx:pt idx="1487">0</cx:pt>
          <cx:pt idx="1488">0</cx:pt>
          <cx:pt idx="1489">0</cx:pt>
          <cx:pt idx="1490">0</cx:pt>
          <cx:pt idx="1491">0</cx:pt>
          <cx:pt idx="1492">0</cx:pt>
          <cx:pt idx="1493">0</cx:pt>
          <cx:pt idx="1494">0</cx:pt>
          <cx:pt idx="1495">0</cx:pt>
          <cx:pt idx="1496">0</cx:pt>
          <cx:pt idx="1497">0</cx:pt>
          <cx:pt idx="1498">0</cx:pt>
          <cx:pt idx="1499">0</cx:pt>
          <cx:pt idx="1500">0</cx:pt>
          <cx:pt idx="1501">0</cx:pt>
          <cx:pt idx="1502">0</cx:pt>
          <cx:pt idx="1503">0</cx:pt>
          <cx:pt idx="1504">0</cx:pt>
          <cx:pt idx="1505">0</cx:pt>
          <cx:pt idx="1506">0</cx:pt>
          <cx:pt idx="1507">0</cx:pt>
          <cx:pt idx="1508">0</cx:pt>
          <cx:pt idx="1509">0</cx:pt>
          <cx:pt idx="1510">0</cx:pt>
          <cx:pt idx="1511">0</cx:pt>
          <cx:pt idx="1512">0</cx:pt>
          <cx:pt idx="1513">0</cx:pt>
          <cx:pt idx="1514">0</cx:pt>
          <cx:pt idx="1515">0</cx:pt>
          <cx:pt idx="1516">0</cx:pt>
          <cx:pt idx="1517">0</cx:pt>
          <cx:pt idx="1518">0</cx:pt>
          <cx:pt idx="1519">0</cx:pt>
          <cx:pt idx="1520">0</cx:pt>
          <cx:pt idx="1521">0</cx:pt>
          <cx:pt idx="1522">0</cx:pt>
          <cx:pt idx="1523">0</cx:pt>
          <cx:pt idx="1524">0</cx:pt>
          <cx:pt idx="1525">0</cx:pt>
          <cx:pt idx="1526">0</cx:pt>
          <cx:pt idx="1527">0</cx:pt>
          <cx:pt idx="1528">0</cx:pt>
          <cx:pt idx="1529">0</cx:pt>
          <cx:pt idx="1530">0</cx:pt>
          <cx:pt idx="1531">0</cx:pt>
          <cx:pt idx="1532">0</cx:pt>
          <cx:pt idx="1533">0</cx:pt>
          <cx:pt idx="1534">0</cx:pt>
          <cx:pt idx="1535">0</cx:pt>
          <cx:pt idx="1536">0</cx:pt>
          <cx:pt idx="1537">0</cx:pt>
          <cx:pt idx="1538">0</cx:pt>
          <cx:pt idx="1539">0</cx:pt>
          <cx:pt idx="1540">0</cx:pt>
          <cx:pt idx="1541">0</cx:pt>
          <cx:pt idx="1542">0</cx:pt>
          <cx:pt idx="1543">0</cx:pt>
          <cx:pt idx="1544">0</cx:pt>
          <cx:pt idx="1545">0</cx:pt>
          <cx:pt idx="1546">0</cx:pt>
          <cx:pt idx="1547">0</cx:pt>
          <cx:pt idx="1548">0</cx:pt>
          <cx:pt idx="1549">0</cx:pt>
          <cx:pt idx="1550">0</cx:pt>
          <cx:pt idx="1551">0</cx:pt>
          <cx:pt idx="1552">0</cx:pt>
          <cx:pt idx="1553">0</cx:pt>
          <cx:pt idx="1554">0</cx:pt>
          <cx:pt idx="1555">0</cx:pt>
          <cx:pt idx="1556">0</cx:pt>
          <cx:pt idx="1557">0</cx:pt>
          <cx:pt idx="1558">0</cx:pt>
          <cx:pt idx="1559">0</cx:pt>
          <cx:pt idx="1560">0</cx:pt>
          <cx:pt idx="1561">0</cx:pt>
          <cx:pt idx="1562">0</cx:pt>
          <cx:pt idx="1563">0</cx:pt>
          <cx:pt idx="1564">0</cx:pt>
          <cx:pt idx="1565">0</cx:pt>
          <cx:pt idx="1566">0</cx:pt>
          <cx:pt idx="1567">0</cx:pt>
          <cx:pt idx="1568">0</cx:pt>
          <cx:pt idx="1569">0</cx:pt>
          <cx:pt idx="1570">0</cx:pt>
          <cx:pt idx="1571">0</cx:pt>
          <cx:pt idx="1572">0</cx:pt>
          <cx:pt idx="1573">0</cx:pt>
          <cx:pt idx="1574">0</cx:pt>
          <cx:pt idx="1575">0</cx:pt>
          <cx:pt idx="1576">0</cx:pt>
          <cx:pt idx="1577">0</cx:pt>
          <cx:pt idx="1578">0</cx:pt>
          <cx:pt idx="1579">0</cx:pt>
          <cx:pt idx="1580">0</cx:pt>
          <cx:pt idx="1581">0</cx:pt>
          <cx:pt idx="1582">0</cx:pt>
          <cx:pt idx="1583">0</cx:pt>
          <cx:pt idx="1584">0</cx:pt>
          <cx:pt idx="1585">0</cx:pt>
          <cx:pt idx="1586">0</cx:pt>
          <cx:pt idx="1587">0</cx:pt>
          <cx:pt idx="1588">0</cx:pt>
          <cx:pt idx="1589">0</cx:pt>
          <cx:pt idx="1590">0</cx:pt>
          <cx:pt idx="1591">0</cx:pt>
          <cx:pt idx="1592">0</cx:pt>
          <cx:pt idx="1593">0</cx:pt>
          <cx:pt idx="1594">0</cx:pt>
          <cx:pt idx="1595">0</cx:pt>
          <cx:pt idx="1596">0</cx:pt>
          <cx:pt idx="1597">0</cx:pt>
          <cx:pt idx="1598">0</cx:pt>
          <cx:pt idx="1599">0</cx:pt>
          <cx:pt idx="1600">0</cx:pt>
          <cx:pt idx="1601">0</cx:pt>
          <cx:pt idx="1602">0</cx:pt>
          <cx:pt idx="1603">0</cx:pt>
          <cx:pt idx="1604">0</cx:pt>
          <cx:pt idx="1605">0</cx:pt>
          <cx:pt idx="1606">0</cx:pt>
          <cx:pt idx="1607">0</cx:pt>
          <cx:pt idx="1608">0</cx:pt>
          <cx:pt idx="1609">0</cx:pt>
          <cx:pt idx="1610">0</cx:pt>
          <cx:pt idx="1611">0</cx:pt>
          <cx:pt idx="1612">0</cx:pt>
          <cx:pt idx="1613">0</cx:pt>
          <cx:pt idx="1614">0</cx:pt>
          <cx:pt idx="1615">0</cx:pt>
          <cx:pt idx="1616">0</cx:pt>
          <cx:pt idx="1617">0</cx:pt>
          <cx:pt idx="1618">0</cx:pt>
          <cx:pt idx="1619">0</cx:pt>
          <cx:pt idx="1620">0</cx:pt>
          <cx:pt idx="1621">0</cx:pt>
          <cx:pt idx="1622">0</cx:pt>
          <cx:pt idx="1623">0</cx:pt>
          <cx:pt idx="1624">0</cx:pt>
          <cx:pt idx="1625">0</cx:pt>
          <cx:pt idx="1626">0</cx:pt>
          <cx:pt idx="1627">0</cx:pt>
          <cx:pt idx="1628">0</cx:pt>
          <cx:pt idx="1629">0</cx:pt>
          <cx:pt idx="1630">0</cx:pt>
          <cx:pt idx="1631">0</cx:pt>
          <cx:pt idx="1632">0</cx:pt>
          <cx:pt idx="1633">0</cx:pt>
          <cx:pt idx="1634">0</cx:pt>
          <cx:pt idx="1635">0</cx:pt>
          <cx:pt idx="1636">0</cx:pt>
          <cx:pt idx="1637">0</cx:pt>
          <cx:pt idx="1638">0</cx:pt>
          <cx:pt idx="1639">0</cx:pt>
          <cx:pt idx="1640">0</cx:pt>
          <cx:pt idx="1641">0</cx:pt>
          <cx:pt idx="1642">0</cx:pt>
          <cx:pt idx="1643">0</cx:pt>
          <cx:pt idx="1644">0</cx:pt>
          <cx:pt idx="1645">0</cx:pt>
          <cx:pt idx="1646">0</cx:pt>
          <cx:pt idx="1647">0</cx:pt>
          <cx:pt idx="1648">0</cx:pt>
          <cx:pt idx="1649">0</cx:pt>
          <cx:pt idx="1650">0</cx:pt>
          <cx:pt idx="1651">0</cx:pt>
          <cx:pt idx="1652">0</cx:pt>
          <cx:pt idx="1653">0</cx:pt>
          <cx:pt idx="1654">0</cx:pt>
          <cx:pt idx="1655">0</cx:pt>
          <cx:pt idx="1656">0</cx:pt>
          <cx:pt idx="1657">0</cx:pt>
          <cx:pt idx="1658">0</cx:pt>
          <cx:pt idx="1659">0</cx:pt>
          <cx:pt idx="1660">0</cx:pt>
          <cx:pt idx="1661">0</cx:pt>
          <cx:pt idx="1662">0</cx:pt>
          <cx:pt idx="1663">0</cx:pt>
          <cx:pt idx="1664">0</cx:pt>
          <cx:pt idx="1665">0</cx:pt>
          <cx:pt idx="1666">0</cx:pt>
          <cx:pt idx="1667">0</cx:pt>
          <cx:pt idx="1668">0</cx:pt>
          <cx:pt idx="1669">0</cx:pt>
          <cx:pt idx="1670">0</cx:pt>
          <cx:pt idx="1671">0</cx:pt>
          <cx:pt idx="1672">0</cx:pt>
          <cx:pt idx="1673">0</cx:pt>
          <cx:pt idx="1674">0</cx:pt>
          <cx:pt idx="1675">0</cx:pt>
          <cx:pt idx="1676">0</cx:pt>
          <cx:pt idx="1677">0</cx:pt>
          <cx:pt idx="1678">0</cx:pt>
          <cx:pt idx="1679">0</cx:pt>
          <cx:pt idx="1680">0</cx:pt>
          <cx:pt idx="1681">0</cx:pt>
          <cx:pt idx="1682">0</cx:pt>
          <cx:pt idx="1683">0</cx:pt>
          <cx:pt idx="1684">0</cx:pt>
          <cx:pt idx="1685">0</cx:pt>
          <cx:pt idx="1686">0</cx:pt>
          <cx:pt idx="1687">0</cx:pt>
          <cx:pt idx="1688">0</cx:pt>
          <cx:pt idx="1689">0</cx:pt>
          <cx:pt idx="1690">0</cx:pt>
          <cx:pt idx="1691">0</cx:pt>
          <cx:pt idx="1692">0</cx:pt>
          <cx:pt idx="1693">0</cx:pt>
          <cx:pt idx="1694">0</cx:pt>
          <cx:pt idx="1695">0</cx:pt>
          <cx:pt idx="1696">0</cx:pt>
          <cx:pt idx="1697">0</cx:pt>
          <cx:pt idx="1698">0</cx:pt>
          <cx:pt idx="1699">0</cx:pt>
          <cx:pt idx="1700">0</cx:pt>
          <cx:pt idx="1701">0</cx:pt>
          <cx:pt idx="1702">0</cx:pt>
          <cx:pt idx="1703">0</cx:pt>
          <cx:pt idx="1704">0</cx:pt>
          <cx:pt idx="1705">0</cx:pt>
          <cx:pt idx="1706">0</cx:pt>
          <cx:pt idx="1707">0</cx:pt>
          <cx:pt idx="1708">0</cx:pt>
          <cx:pt idx="1709">0</cx:pt>
          <cx:pt idx="1710">0</cx:pt>
          <cx:pt idx="1711">0</cx:pt>
          <cx:pt idx="1712">0</cx:pt>
          <cx:pt idx="1713">0</cx:pt>
          <cx:pt idx="1714">0</cx:pt>
          <cx:pt idx="1715">0</cx:pt>
          <cx:pt idx="1716">0</cx:pt>
          <cx:pt idx="1717">0</cx:pt>
          <cx:pt idx="1718">0</cx:pt>
          <cx:pt idx="1719">0</cx:pt>
          <cx:pt idx="1720">0</cx:pt>
          <cx:pt idx="1721">0</cx:pt>
          <cx:pt idx="1722">0</cx:pt>
          <cx:pt idx="1723">0</cx:pt>
          <cx:pt idx="1724">0</cx:pt>
          <cx:pt idx="1725">0</cx:pt>
          <cx:pt idx="1726">0</cx:pt>
          <cx:pt idx="1727">0</cx:pt>
          <cx:pt idx="1728">0</cx:pt>
          <cx:pt idx="1729">0</cx:pt>
          <cx:pt idx="1730">0</cx:pt>
          <cx:pt idx="1731">0</cx:pt>
          <cx:pt idx="1732">0</cx:pt>
          <cx:pt idx="1733">0</cx:pt>
          <cx:pt idx="1734">0</cx:pt>
          <cx:pt idx="1735">0</cx:pt>
          <cx:pt idx="1736">0</cx:pt>
          <cx:pt idx="1737">0</cx:pt>
          <cx:pt idx="1738">0</cx:pt>
          <cx:pt idx="1739">0</cx:pt>
          <cx:pt idx="1740">0</cx:pt>
          <cx:pt idx="1741">0</cx:pt>
          <cx:pt idx="1742">0</cx:pt>
          <cx:pt idx="1743">0</cx:pt>
          <cx:pt idx="1744">0</cx:pt>
          <cx:pt idx="1745">0</cx:pt>
          <cx:pt idx="1746">0</cx:pt>
          <cx:pt idx="1747">0</cx:pt>
          <cx:pt idx="1748">0</cx:pt>
          <cx:pt idx="1749">0</cx:pt>
          <cx:pt idx="1750">0</cx:pt>
          <cx:pt idx="1751">0</cx:pt>
          <cx:pt idx="1752">0</cx:pt>
          <cx:pt idx="1753">0</cx:pt>
          <cx:pt idx="1754">0</cx:pt>
          <cx:pt idx="1755">0</cx:pt>
          <cx:pt idx="1756">0</cx:pt>
          <cx:pt idx="1757">0</cx:pt>
          <cx:pt idx="1758">0</cx:pt>
          <cx:pt idx="1759">0</cx:pt>
          <cx:pt idx="1760">0</cx:pt>
          <cx:pt idx="1761">0</cx:pt>
          <cx:pt idx="1762">0</cx:pt>
          <cx:pt idx="1763">0</cx:pt>
          <cx:pt idx="1764">0</cx:pt>
          <cx:pt idx="1765">0</cx:pt>
          <cx:pt idx="1766">0</cx:pt>
          <cx:pt idx="1767">0</cx:pt>
          <cx:pt idx="1768">0</cx:pt>
          <cx:pt idx="1769">0</cx:pt>
          <cx:pt idx="1770">0</cx:pt>
          <cx:pt idx="1771">0</cx:pt>
          <cx:pt idx="1772">0</cx:pt>
          <cx:pt idx="1773">0</cx:pt>
          <cx:pt idx="1774">0</cx:pt>
          <cx:pt idx="1775">0</cx:pt>
          <cx:pt idx="1776">0</cx:pt>
          <cx:pt idx="1777">0</cx:pt>
          <cx:pt idx="1778">0</cx:pt>
          <cx:pt idx="1779">0</cx:pt>
          <cx:pt idx="1780">0</cx:pt>
          <cx:pt idx="1781">0</cx:pt>
          <cx:pt idx="1782">0</cx:pt>
          <cx:pt idx="1783">0</cx:pt>
          <cx:pt idx="1784">0</cx:pt>
          <cx:pt idx="1785">0</cx:pt>
          <cx:pt idx="1786">0</cx:pt>
          <cx:pt idx="1787">0</cx:pt>
          <cx:pt idx="1788">0</cx:pt>
          <cx:pt idx="1789">0</cx:pt>
          <cx:pt idx="1790">0</cx:pt>
          <cx:pt idx="1791">0</cx:pt>
          <cx:pt idx="1792">0</cx:pt>
          <cx:pt idx="1793">0</cx:pt>
          <cx:pt idx="1794">0</cx:pt>
          <cx:pt idx="1795">0</cx:pt>
          <cx:pt idx="1796">0</cx:pt>
          <cx:pt idx="1797">0</cx:pt>
          <cx:pt idx="1798">0</cx:pt>
          <cx:pt idx="1799">0</cx:pt>
          <cx:pt idx="1800">0</cx:pt>
          <cx:pt idx="1801">0</cx:pt>
          <cx:pt idx="1802">0</cx:pt>
          <cx:pt idx="1803">0</cx:pt>
          <cx:pt idx="1804">0</cx:pt>
          <cx:pt idx="1805">0</cx:pt>
          <cx:pt idx="1806">0</cx:pt>
          <cx:pt idx="1807">0</cx:pt>
          <cx:pt idx="1808">0</cx:pt>
          <cx:pt idx="1809">0</cx:pt>
          <cx:pt idx="1810">0</cx:pt>
          <cx:pt idx="1811">0</cx:pt>
          <cx:pt idx="1812">0</cx:pt>
          <cx:pt idx="1813">0</cx:pt>
          <cx:pt idx="1814">0</cx:pt>
          <cx:pt idx="1815">0</cx:pt>
          <cx:pt idx="1816">0</cx:pt>
          <cx:pt idx="1817">0</cx:pt>
          <cx:pt idx="1818">0</cx:pt>
          <cx:pt idx="1819">0</cx:pt>
          <cx:pt idx="1820">0</cx:pt>
          <cx:pt idx="1821">0</cx:pt>
          <cx:pt idx="1822">0</cx:pt>
          <cx:pt idx="1823">0</cx:pt>
          <cx:pt idx="1824">0</cx:pt>
          <cx:pt idx="1825">0</cx:pt>
          <cx:pt idx="1826">0</cx:pt>
          <cx:pt idx="1827">0</cx:pt>
          <cx:pt idx="1828">0</cx:pt>
          <cx:pt idx="1829">0</cx:pt>
          <cx:pt idx="1830">0</cx:pt>
          <cx:pt idx="1831">0</cx:pt>
          <cx:pt idx="1832">0</cx:pt>
          <cx:pt idx="1833">0</cx:pt>
          <cx:pt idx="1834">0</cx:pt>
          <cx:pt idx="1835">0</cx:pt>
          <cx:pt idx="1836">0</cx:pt>
          <cx:pt idx="1837">0</cx:pt>
          <cx:pt idx="1838">0</cx:pt>
          <cx:pt idx="1839">0</cx:pt>
          <cx:pt idx="1840">0</cx:pt>
          <cx:pt idx="1841">0</cx:pt>
          <cx:pt idx="1842">0</cx:pt>
          <cx:pt idx="1843">0</cx:pt>
          <cx:pt idx="1844">0</cx:pt>
          <cx:pt idx="1845">0</cx:pt>
          <cx:pt idx="1846">0</cx:pt>
          <cx:pt idx="1847">0</cx:pt>
          <cx:pt idx="1848">0</cx:pt>
          <cx:pt idx="1849">0</cx:pt>
          <cx:pt idx="1850">0</cx:pt>
          <cx:pt idx="1851">0</cx:pt>
          <cx:pt idx="1852">0</cx:pt>
          <cx:pt idx="1853">0</cx:pt>
          <cx:pt idx="1854">0</cx:pt>
          <cx:pt idx="1855">0</cx:pt>
          <cx:pt idx="1856">0</cx:pt>
          <cx:pt idx="1857">0</cx:pt>
          <cx:pt idx="1858">0</cx:pt>
          <cx:pt idx="1859">0</cx:pt>
          <cx:pt idx="1860">0</cx:pt>
          <cx:pt idx="1861">0</cx:pt>
          <cx:pt idx="1862">0</cx:pt>
          <cx:pt idx="1863">0</cx:pt>
          <cx:pt idx="1864">0</cx:pt>
          <cx:pt idx="1865">0</cx:pt>
          <cx:pt idx="1866">0</cx:pt>
          <cx:pt idx="1867">0</cx:pt>
          <cx:pt idx="1868">0</cx:pt>
          <cx:pt idx="1869">0</cx:pt>
          <cx:pt idx="1870">0</cx:pt>
          <cx:pt idx="1871">0</cx:pt>
          <cx:pt idx="1872">0</cx:pt>
          <cx:pt idx="1873">0</cx:pt>
          <cx:pt idx="1874">0</cx:pt>
          <cx:pt idx="1875">0</cx:pt>
          <cx:pt idx="1876">0</cx:pt>
          <cx:pt idx="1877">0</cx:pt>
          <cx:pt idx="1878">0</cx:pt>
          <cx:pt idx="1879">0</cx:pt>
          <cx:pt idx="1880">0</cx:pt>
          <cx:pt idx="1881">0</cx:pt>
          <cx:pt idx="1882">0</cx:pt>
          <cx:pt idx="1883">0</cx:pt>
          <cx:pt idx="1884">0</cx:pt>
          <cx:pt idx="1885">0</cx:pt>
          <cx:pt idx="1886">0</cx:pt>
          <cx:pt idx="1887">0</cx:pt>
          <cx:pt idx="1888">0</cx:pt>
          <cx:pt idx="1889">0</cx:pt>
          <cx:pt idx="1890">0</cx:pt>
          <cx:pt idx="1891">0</cx:pt>
          <cx:pt idx="1892">0</cx:pt>
          <cx:pt idx="1893">0</cx:pt>
          <cx:pt idx="1894">0</cx:pt>
          <cx:pt idx="1895">0</cx:pt>
          <cx:pt idx="1896">0</cx:pt>
          <cx:pt idx="1897">0</cx:pt>
          <cx:pt idx="1898">0</cx:pt>
          <cx:pt idx="1899">0</cx:pt>
          <cx:pt idx="1900">0</cx:pt>
          <cx:pt idx="1901">0</cx:pt>
          <cx:pt idx="1902">0</cx:pt>
          <cx:pt idx="1903">0</cx:pt>
          <cx:pt idx="1904">0</cx:pt>
          <cx:pt idx="1905">0</cx:pt>
          <cx:pt idx="1906">0</cx:pt>
          <cx:pt idx="1907">0</cx:pt>
          <cx:pt idx="1908">0</cx:pt>
          <cx:pt idx="1909">0</cx:pt>
          <cx:pt idx="1910">0</cx:pt>
          <cx:pt idx="1911">0</cx:pt>
          <cx:pt idx="1912">0</cx:pt>
          <cx:pt idx="1913">0</cx:pt>
          <cx:pt idx="1914">0</cx:pt>
          <cx:pt idx="1915">0</cx:pt>
          <cx:pt idx="1916">0</cx:pt>
          <cx:pt idx="1917">0</cx:pt>
          <cx:pt idx="1918">0</cx:pt>
          <cx:pt idx="1919">0</cx:pt>
          <cx:pt idx="1920">0</cx:pt>
          <cx:pt idx="1921">0</cx:pt>
          <cx:pt idx="1922">0</cx:pt>
          <cx:pt idx="1923">0</cx:pt>
          <cx:pt idx="1924">0</cx:pt>
          <cx:pt idx="1925">0</cx:pt>
          <cx:pt idx="1926">0</cx:pt>
          <cx:pt idx="1927">0</cx:pt>
          <cx:pt idx="1928">0</cx:pt>
          <cx:pt idx="1929">0</cx:pt>
          <cx:pt idx="1930">0</cx:pt>
          <cx:pt idx="1931">0</cx:pt>
          <cx:pt idx="1932">0</cx:pt>
          <cx:pt idx="1933">0</cx:pt>
          <cx:pt idx="1934">0</cx:pt>
          <cx:pt idx="1935">0</cx:pt>
          <cx:pt idx="1936">0</cx:pt>
          <cx:pt idx="1937">0</cx:pt>
          <cx:pt idx="1938">0</cx:pt>
          <cx:pt idx="1939">0</cx:pt>
          <cx:pt idx="1940">0</cx:pt>
          <cx:pt idx="1941">0</cx:pt>
          <cx:pt idx="1942">0</cx:pt>
          <cx:pt idx="1943">0</cx:pt>
          <cx:pt idx="1944">0</cx:pt>
          <cx:pt idx="1945">0</cx:pt>
          <cx:pt idx="1946">0</cx:pt>
          <cx:pt idx="1947">0</cx:pt>
          <cx:pt idx="1948">0</cx:pt>
          <cx:pt idx="1949">0</cx:pt>
          <cx:pt idx="1950">0</cx:pt>
          <cx:pt idx="1951">0</cx:pt>
          <cx:pt idx="1952">0</cx:pt>
          <cx:pt idx="1953">0</cx:pt>
          <cx:pt idx="1954">0</cx:pt>
          <cx:pt idx="1955">0</cx:pt>
          <cx:pt idx="1956">0</cx:pt>
          <cx:pt idx="1957">0</cx:pt>
          <cx:pt idx="1958">0</cx:pt>
          <cx:pt idx="1959">0</cx:pt>
          <cx:pt idx="1960">0</cx:pt>
          <cx:pt idx="1961">0</cx:pt>
          <cx:pt idx="1962">0</cx:pt>
          <cx:pt idx="1963">0</cx:pt>
          <cx:pt idx="1964">0</cx:pt>
          <cx:pt idx="1965">0</cx:pt>
          <cx:pt idx="1966">0</cx:pt>
          <cx:pt idx="1967">0</cx:pt>
          <cx:pt idx="1968">0</cx:pt>
          <cx:pt idx="1969">0</cx:pt>
          <cx:pt idx="1970">0</cx:pt>
          <cx:pt idx="1971">0</cx:pt>
          <cx:pt idx="1972">0</cx:pt>
          <cx:pt idx="1973">0</cx:pt>
          <cx:pt idx="1974">0</cx:pt>
          <cx:pt idx="1975">0</cx:pt>
          <cx:pt idx="1976">0</cx:pt>
          <cx:pt idx="1977">0</cx:pt>
          <cx:pt idx="1978">0</cx:pt>
          <cx:pt idx="1979">0</cx:pt>
          <cx:pt idx="1980">0</cx:pt>
          <cx:pt idx="1981">0</cx:pt>
          <cx:pt idx="1982">0</cx:pt>
          <cx:pt idx="1983">0</cx:pt>
          <cx:pt idx="1984">0</cx:pt>
          <cx:pt idx="1985">0</cx:pt>
          <cx:pt idx="1986">0</cx:pt>
          <cx:pt idx="1987">0</cx:pt>
          <cx:pt idx="1988">0</cx:pt>
          <cx:pt idx="1989">0</cx:pt>
          <cx:pt idx="1990">0</cx:pt>
          <cx:pt idx="1991">0</cx:pt>
          <cx:pt idx="1992">0</cx:pt>
          <cx:pt idx="1993">0</cx:pt>
          <cx:pt idx="1994">0</cx:pt>
          <cx:pt idx="1995">0</cx:pt>
          <cx:pt idx="1996">0</cx:pt>
          <cx:pt idx="1997">0</cx:pt>
          <cx:pt idx="1998">0</cx:pt>
          <cx:pt idx="1999">0</cx:pt>
          <cx:pt idx="2000">0</cx:pt>
          <cx:pt idx="2001">0</cx:pt>
          <cx:pt idx="2002">0</cx:pt>
          <cx:pt idx="2003">0</cx:pt>
          <cx:pt idx="2004">0</cx:pt>
          <cx:pt idx="2005">0</cx:pt>
          <cx:pt idx="2006">0</cx:pt>
          <cx:pt idx="2007">0</cx:pt>
          <cx:pt idx="2008">0</cx:pt>
          <cx:pt idx="2009">0</cx:pt>
          <cx:pt idx="2010">0</cx:pt>
          <cx:pt idx="2011">0</cx:pt>
          <cx:pt idx="2012">0</cx:pt>
          <cx:pt idx="2013">0</cx:pt>
          <cx:pt idx="2014">0</cx:pt>
          <cx:pt idx="2015">0</cx:pt>
          <cx:pt idx="2016">0</cx:pt>
          <cx:pt idx="2017">0</cx:pt>
          <cx:pt idx="2018">0</cx:pt>
          <cx:pt idx="2019">0</cx:pt>
          <cx:pt idx="2020">0</cx:pt>
          <cx:pt idx="2021">0</cx:pt>
          <cx:pt idx="2022">0</cx:pt>
          <cx:pt idx="2023">0</cx:pt>
          <cx:pt idx="2024">0</cx:pt>
          <cx:pt idx="2025">0</cx:pt>
          <cx:pt idx="2026">0</cx:pt>
          <cx:pt idx="2027">0</cx:pt>
          <cx:pt idx="2028">0</cx:pt>
          <cx:pt idx="2029">0</cx:pt>
          <cx:pt idx="2030">0</cx:pt>
          <cx:pt idx="2031">0</cx:pt>
          <cx:pt idx="2032">0</cx:pt>
          <cx:pt idx="2033">0</cx:pt>
          <cx:pt idx="2034">0</cx:pt>
          <cx:pt idx="2035">0</cx:pt>
          <cx:pt idx="2036">0</cx:pt>
          <cx:pt idx="2037">0</cx:pt>
          <cx:pt idx="2038">0</cx:pt>
          <cx:pt idx="2039">0</cx:pt>
          <cx:pt idx="2040">0</cx:pt>
          <cx:pt idx="2041">0</cx:pt>
          <cx:pt idx="2042">0</cx:pt>
          <cx:pt idx="2043">0</cx:pt>
          <cx:pt idx="2044">0</cx:pt>
          <cx:pt idx="2045">0</cx:pt>
          <cx:pt idx="2046">0</cx:pt>
          <cx:pt idx="2047">0</cx:pt>
          <cx:pt idx="2048">0</cx:pt>
          <cx:pt idx="2049">0</cx:pt>
          <cx:pt idx="2050">0</cx:pt>
          <cx:pt idx="2051">0</cx:pt>
          <cx:pt idx="2052">0</cx:pt>
          <cx:pt idx="2053">0</cx:pt>
          <cx:pt idx="2054">0</cx:pt>
          <cx:pt idx="2055">0</cx:pt>
          <cx:pt idx="2056">0</cx:pt>
          <cx:pt idx="2057">0</cx:pt>
          <cx:pt idx="2058">0</cx:pt>
          <cx:pt idx="2059">0</cx:pt>
          <cx:pt idx="2060">0</cx:pt>
          <cx:pt idx="2061">0</cx:pt>
          <cx:pt idx="2062">0</cx:pt>
          <cx:pt idx="2063">0</cx:pt>
          <cx:pt idx="2064">0</cx:pt>
          <cx:pt idx="2065">0</cx:pt>
          <cx:pt idx="2066">0</cx:pt>
          <cx:pt idx="2067">0</cx:pt>
          <cx:pt idx="2068">0</cx:pt>
          <cx:pt idx="2069">0</cx:pt>
          <cx:pt idx="2070">0</cx:pt>
          <cx:pt idx="2071">0</cx:pt>
          <cx:pt idx="2072">0</cx:pt>
          <cx:pt idx="2073">0</cx:pt>
          <cx:pt idx="2074">0</cx:pt>
          <cx:pt idx="2075">0</cx:pt>
          <cx:pt idx="2076">0</cx:pt>
          <cx:pt idx="2077">0</cx:pt>
          <cx:pt idx="2078">0</cx:pt>
          <cx:pt idx="2079">0</cx:pt>
          <cx:pt idx="2080">0</cx:pt>
          <cx:pt idx="2081">0</cx:pt>
          <cx:pt idx="2082">0</cx:pt>
          <cx:pt idx="2083">0</cx:pt>
          <cx:pt idx="2084">0</cx:pt>
          <cx:pt idx="2085">0</cx:pt>
          <cx:pt idx="2086">0</cx:pt>
          <cx:pt idx="2087">0</cx:pt>
          <cx:pt idx="2088">0</cx:pt>
          <cx:pt idx="2089">0</cx:pt>
          <cx:pt idx="2090">0</cx:pt>
          <cx:pt idx="2091">0</cx:pt>
          <cx:pt idx="2092">0</cx:pt>
          <cx:pt idx="2093">0</cx:pt>
          <cx:pt idx="2094">0</cx:pt>
          <cx:pt idx="2095">0</cx:pt>
          <cx:pt idx="2096">0</cx:pt>
          <cx:pt idx="2097">0</cx:pt>
          <cx:pt idx="2098">0</cx:pt>
          <cx:pt idx="2099">0</cx:pt>
          <cx:pt idx="2100">0</cx:pt>
          <cx:pt idx="2101">0</cx:pt>
          <cx:pt idx="2102">0</cx:pt>
          <cx:pt idx="2103">0</cx:pt>
          <cx:pt idx="2104">0</cx:pt>
          <cx:pt idx="2105">0</cx:pt>
          <cx:pt idx="2106">0</cx:pt>
          <cx:pt idx="2107">0</cx:pt>
          <cx:pt idx="2108">0</cx:pt>
          <cx:pt idx="2109">0</cx:pt>
          <cx:pt idx="2110">0</cx:pt>
          <cx:pt idx="2111">0</cx:pt>
          <cx:pt idx="2112">0</cx:pt>
          <cx:pt idx="2113">0</cx:pt>
          <cx:pt idx="2114">0</cx:pt>
          <cx:pt idx="2115">0</cx:pt>
          <cx:pt idx="2116">0</cx:pt>
          <cx:pt idx="2117">0</cx:pt>
          <cx:pt idx="2118">0</cx:pt>
          <cx:pt idx="2119">0</cx:pt>
          <cx:pt idx="2120">0</cx:pt>
          <cx:pt idx="2121">0</cx:pt>
          <cx:pt idx="2122">0</cx:pt>
          <cx:pt idx="2123">0</cx:pt>
          <cx:pt idx="2124">0</cx:pt>
          <cx:pt idx="2125">0</cx:pt>
          <cx:pt idx="2126">0</cx:pt>
          <cx:pt idx="2127">0</cx:pt>
          <cx:pt idx="2128">0</cx:pt>
          <cx:pt idx="2129">0</cx:pt>
          <cx:pt idx="2130">0</cx:pt>
          <cx:pt idx="2131">0</cx:pt>
          <cx:pt idx="2132">0</cx:pt>
          <cx:pt idx="2133">0</cx:pt>
          <cx:pt idx="2134">0</cx:pt>
          <cx:pt idx="2135">0</cx:pt>
          <cx:pt idx="2136">0</cx:pt>
          <cx:pt idx="2137">0</cx:pt>
          <cx:pt idx="2138">0</cx:pt>
          <cx:pt idx="2139">0</cx:pt>
          <cx:pt idx="2140">0</cx:pt>
          <cx:pt idx="2141">0</cx:pt>
          <cx:pt idx="2142">0</cx:pt>
          <cx:pt idx="2143">0</cx:pt>
          <cx:pt idx="2144">0</cx:pt>
          <cx:pt idx="2145">0</cx:pt>
          <cx:pt idx="2146">0</cx:pt>
          <cx:pt idx="2147">0</cx:pt>
          <cx:pt idx="2148">0</cx:pt>
          <cx:pt idx="2149">0</cx:pt>
          <cx:pt idx="2150">0</cx:pt>
          <cx:pt idx="2151">0</cx:pt>
          <cx:pt idx="2152">0</cx:pt>
          <cx:pt idx="2153">0</cx:pt>
          <cx:pt idx="2154">0</cx:pt>
          <cx:pt idx="2155">0</cx:pt>
          <cx:pt idx="2156">0</cx:pt>
          <cx:pt idx="2157">0</cx:pt>
          <cx:pt idx="2158">0</cx:pt>
          <cx:pt idx="2159">0</cx:pt>
          <cx:pt idx="2160">0</cx:pt>
          <cx:pt idx="2161">0</cx:pt>
          <cx:pt idx="2162">0</cx:pt>
          <cx:pt idx="2163">0</cx:pt>
          <cx:pt idx="2164">0</cx:pt>
          <cx:pt idx="2165">0</cx:pt>
          <cx:pt idx="2166">0</cx:pt>
          <cx:pt idx="2167">0</cx:pt>
          <cx:pt idx="2168">0</cx:pt>
          <cx:pt idx="2169">0</cx:pt>
          <cx:pt idx="2170">0</cx:pt>
          <cx:pt idx="2171">0</cx:pt>
          <cx:pt idx="2172">0</cx:pt>
          <cx:pt idx="2173">0</cx:pt>
          <cx:pt idx="2174">0</cx:pt>
          <cx:pt idx="2175">0</cx:pt>
          <cx:pt idx="2176">0</cx:pt>
          <cx:pt idx="2177">0</cx:pt>
          <cx:pt idx="2178">0</cx:pt>
          <cx:pt idx="2179">0</cx:pt>
          <cx:pt idx="2180">0</cx:pt>
          <cx:pt idx="2181">0</cx:pt>
          <cx:pt idx="2182">0</cx:pt>
          <cx:pt idx="2183">0</cx:pt>
          <cx:pt idx="2184">0</cx:pt>
          <cx:pt idx="2185">0</cx:pt>
          <cx:pt idx="2186">0</cx:pt>
          <cx:pt idx="2187">0</cx:pt>
          <cx:pt idx="2188">0</cx:pt>
          <cx:pt idx="2189">0</cx:pt>
          <cx:pt idx="2190">0</cx:pt>
          <cx:pt idx="2191">0</cx:pt>
          <cx:pt idx="2192">0</cx:pt>
          <cx:pt idx="2193">0</cx:pt>
          <cx:pt idx="2194">0</cx:pt>
          <cx:pt idx="2195">0</cx:pt>
          <cx:pt idx="2196">0</cx:pt>
          <cx:pt idx="2197">0</cx:pt>
          <cx:pt idx="2198">0</cx:pt>
          <cx:pt idx="2199">0</cx:pt>
          <cx:pt idx="2200">0</cx:pt>
          <cx:pt idx="2201">0</cx:pt>
          <cx:pt idx="2202">0</cx:pt>
          <cx:pt idx="2203">0</cx:pt>
          <cx:pt idx="2204">0</cx:pt>
          <cx:pt idx="2205">0</cx:pt>
          <cx:pt idx="2206">0</cx:pt>
          <cx:pt idx="2207">0</cx:pt>
          <cx:pt idx="2208">0</cx:pt>
          <cx:pt idx="2209">0</cx:pt>
          <cx:pt idx="2210">0</cx:pt>
          <cx:pt idx="2211">0</cx:pt>
          <cx:pt idx="2212">0</cx:pt>
          <cx:pt idx="2213">0</cx:pt>
          <cx:pt idx="2214">0</cx:pt>
          <cx:pt idx="2215">0</cx:pt>
          <cx:pt idx="2216">0</cx:pt>
          <cx:pt idx="2217">0</cx:pt>
          <cx:pt idx="2218">0</cx:pt>
          <cx:pt idx="2219">0</cx:pt>
          <cx:pt idx="2220">0</cx:pt>
          <cx:pt idx="2221">0</cx:pt>
          <cx:pt idx="2222">0</cx:pt>
          <cx:pt idx="2223">0</cx:pt>
          <cx:pt idx="2224">0</cx:pt>
          <cx:pt idx="2225">0</cx:pt>
          <cx:pt idx="2226">0</cx:pt>
          <cx:pt idx="2227">0</cx:pt>
          <cx:pt idx="2228">0</cx:pt>
          <cx:pt idx="2229">0</cx:pt>
          <cx:pt idx="2230">0</cx:pt>
          <cx:pt idx="2231">0</cx:pt>
          <cx:pt idx="2232">0</cx:pt>
          <cx:pt idx="2233">0</cx:pt>
          <cx:pt idx="2234">0</cx:pt>
          <cx:pt idx="2235">0</cx:pt>
          <cx:pt idx="2236">0</cx:pt>
          <cx:pt idx="2237">0</cx:pt>
          <cx:pt idx="2238">0</cx:pt>
          <cx:pt idx="2239">0</cx:pt>
          <cx:pt idx="2240">0</cx:pt>
          <cx:pt idx="2241">0</cx:pt>
          <cx:pt idx="2242">0</cx:pt>
          <cx:pt idx="2243">0</cx:pt>
          <cx:pt idx="2244">0</cx:pt>
          <cx:pt idx="2245">0</cx:pt>
          <cx:pt idx="2246">0</cx:pt>
          <cx:pt idx="2247">0</cx:pt>
          <cx:pt idx="2248">0</cx:pt>
          <cx:pt idx="2249">0</cx:pt>
          <cx:pt idx="2250">0</cx:pt>
          <cx:pt idx="2251">0</cx:pt>
          <cx:pt idx="2252">0</cx:pt>
          <cx:pt idx="2253">0</cx:pt>
          <cx:pt idx="2254">0</cx:pt>
          <cx:pt idx="2255">0</cx:pt>
          <cx:pt idx="2256">0</cx:pt>
          <cx:pt idx="2257">0</cx:pt>
          <cx:pt idx="2258">0</cx:pt>
          <cx:pt idx="2259">0</cx:pt>
          <cx:pt idx="2260">0</cx:pt>
          <cx:pt idx="2261">0</cx:pt>
          <cx:pt idx="2262">0</cx:pt>
          <cx:pt idx="2263">0</cx:pt>
          <cx:pt idx="2264">0</cx:pt>
          <cx:pt idx="2265">0</cx:pt>
          <cx:pt idx="2266">0</cx:pt>
          <cx:pt idx="2267">0</cx:pt>
          <cx:pt idx="2268">0</cx:pt>
          <cx:pt idx="2269">0</cx:pt>
          <cx:pt idx="2270">0</cx:pt>
          <cx:pt idx="2271">0</cx:pt>
          <cx:pt idx="2272">0</cx:pt>
          <cx:pt idx="2273">0</cx:pt>
          <cx:pt idx="2274">0</cx:pt>
          <cx:pt idx="2275">0</cx:pt>
          <cx:pt idx="2276">0</cx:pt>
          <cx:pt idx="2277">0</cx:pt>
          <cx:pt idx="2278">0</cx:pt>
          <cx:pt idx="2279">0</cx:pt>
          <cx:pt idx="2280">0</cx:pt>
          <cx:pt idx="2281">0</cx:pt>
          <cx:pt idx="2282">0</cx:pt>
          <cx:pt idx="2283">0</cx:pt>
          <cx:pt idx="2284">0</cx:pt>
          <cx:pt idx="2285">0</cx:pt>
          <cx:pt idx="2286">0</cx:pt>
          <cx:pt idx="2287">0</cx:pt>
          <cx:pt idx="2288">0</cx:pt>
          <cx:pt idx="2289">0</cx:pt>
          <cx:pt idx="2290">0</cx:pt>
          <cx:pt idx="2291">0</cx:pt>
          <cx:pt idx="2292">0</cx:pt>
          <cx:pt idx="2293">0</cx:pt>
          <cx:pt idx="2294">0</cx:pt>
          <cx:pt idx="2295">0</cx:pt>
          <cx:pt idx="2296">0</cx:pt>
          <cx:pt idx="2297">0</cx:pt>
          <cx:pt idx="2298">0</cx:pt>
          <cx:pt idx="2299">0</cx:pt>
          <cx:pt idx="2300">0</cx:pt>
          <cx:pt idx="2301">0</cx:pt>
          <cx:pt idx="2302">0</cx:pt>
          <cx:pt idx="2303">0</cx:pt>
          <cx:pt idx="2304">0</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0</cx:pt>
          <cx:pt idx="2322">0</cx:pt>
          <cx:pt idx="2323">0</cx:pt>
          <cx:pt idx="2324">0</cx:pt>
          <cx:pt idx="2325">0</cx:pt>
          <cx:pt idx="2326">0</cx:pt>
          <cx:pt idx="2327">0</cx:pt>
          <cx:pt idx="2328">0</cx:pt>
          <cx:pt idx="2329">0</cx:pt>
          <cx:pt idx="2330">0</cx:pt>
          <cx:pt idx="2331">0</cx:pt>
          <cx:pt idx="2332">0</cx:pt>
          <cx:pt idx="2333">0</cx:pt>
          <cx:pt idx="2334">0</cx:pt>
          <cx:pt idx="2335">0</cx:pt>
          <cx:pt idx="2336">0</cx:pt>
          <cx:pt idx="2337">0</cx:pt>
          <cx:pt idx="2338">0</cx:pt>
          <cx:pt idx="2339">0</cx:pt>
          <cx:pt idx="2340">0</cx:pt>
          <cx:pt idx="2341">0</cx:pt>
          <cx:pt idx="2342">0</cx:pt>
          <cx:pt idx="2343">0</cx:pt>
          <cx:pt idx="2344">0</cx:pt>
          <cx:pt idx="2345">0</cx:pt>
          <cx:pt idx="2346">0</cx:pt>
          <cx:pt idx="2347">0</cx:pt>
          <cx:pt idx="2348">0</cx:pt>
          <cx:pt idx="2349">0</cx:pt>
          <cx:pt idx="2350">0</cx:pt>
          <cx:pt idx="2351">0</cx:pt>
          <cx:pt idx="2352">0</cx:pt>
          <cx:pt idx="2353">0</cx:pt>
          <cx:pt idx="2354">0</cx:pt>
          <cx:pt idx="2355">0</cx:pt>
          <cx:pt idx="2356">0</cx:pt>
          <cx:pt idx="2357">0</cx:pt>
          <cx:pt idx="2358">0</cx:pt>
          <cx:pt idx="2359">0</cx:pt>
          <cx:pt idx="2360">0</cx:pt>
          <cx:pt idx="2361">0</cx:pt>
          <cx:pt idx="2362">0</cx:pt>
          <cx:pt idx="2363">0</cx:pt>
          <cx:pt idx="2364">0</cx:pt>
          <cx:pt idx="2365">0</cx:pt>
          <cx:pt idx="2366">0</cx:pt>
          <cx:pt idx="2367">0</cx:pt>
          <cx:pt idx="2368">0</cx:pt>
          <cx:pt idx="2369">0</cx:pt>
          <cx:pt idx="2370">0</cx:pt>
          <cx:pt idx="2371">0</cx:pt>
          <cx:pt idx="2372">0</cx:pt>
          <cx:pt idx="2373">0</cx:pt>
          <cx:pt idx="2374">0</cx:pt>
          <cx:pt idx="2375">0</cx:pt>
          <cx:pt idx="2376">0</cx:pt>
          <cx:pt idx="2377">0</cx:pt>
          <cx:pt idx="2378">0</cx:pt>
          <cx:pt idx="2379">0</cx:pt>
          <cx:pt idx="2380">0</cx:pt>
          <cx:pt idx="2381">0</cx:pt>
          <cx:pt idx="2382">0</cx:pt>
          <cx:pt idx="2383">0</cx:pt>
          <cx:pt idx="2384">0</cx:pt>
          <cx:pt idx="2385">0</cx:pt>
          <cx:pt idx="2386">0</cx:pt>
          <cx:pt idx="2387">0</cx:pt>
          <cx:pt idx="2388">0</cx:pt>
          <cx:pt idx="2389">0</cx:pt>
          <cx:pt idx="2390">0</cx:pt>
          <cx:pt idx="2391">0</cx:pt>
          <cx:pt idx="2392">0</cx:pt>
          <cx:pt idx="2393">0</cx:pt>
          <cx:pt idx="2394">0</cx:pt>
          <cx:pt idx="2395">0</cx:pt>
          <cx:pt idx="2396">0</cx:pt>
          <cx:pt idx="2397">0</cx:pt>
          <cx:pt idx="2398">0</cx:pt>
          <cx:pt idx="2399">0</cx:pt>
          <cx:pt idx="2400">0</cx:pt>
          <cx:pt idx="2401">0</cx:pt>
          <cx:pt idx="2402">0</cx:pt>
          <cx:pt idx="2403">0</cx:pt>
          <cx:pt idx="2404">0</cx:pt>
          <cx:pt idx="2405">0</cx:pt>
          <cx:pt idx="2406">0</cx:pt>
          <cx:pt idx="2407">0</cx:pt>
          <cx:pt idx="2408">0</cx:pt>
          <cx:pt idx="2409">0</cx:pt>
          <cx:pt idx="2410">0</cx:pt>
          <cx:pt idx="2411">0</cx:pt>
          <cx:pt idx="2412">0</cx:pt>
          <cx:pt idx="2413">0</cx:pt>
          <cx:pt idx="2414">0</cx:pt>
          <cx:pt idx="2415">0</cx:pt>
          <cx:pt idx="2416">0</cx:pt>
          <cx:pt idx="2417">0</cx:pt>
          <cx:pt idx="2418">0</cx:pt>
          <cx:pt idx="2419">0</cx:pt>
          <cx:pt idx="2420">0</cx:pt>
          <cx:pt idx="2421">0</cx:pt>
          <cx:pt idx="2422">0</cx:pt>
          <cx:pt idx="2423">0</cx:pt>
          <cx:pt idx="2424">0</cx:pt>
          <cx:pt idx="2425">0</cx:pt>
          <cx:pt idx="2426">0</cx:pt>
          <cx:pt idx="2427">0</cx:pt>
          <cx:pt idx="2428">0</cx:pt>
          <cx:pt idx="2429">0</cx:pt>
          <cx:pt idx="2430">0</cx:pt>
          <cx:pt idx="2431">0</cx:pt>
          <cx:pt idx="2432">0</cx:pt>
          <cx:pt idx="2433">0</cx:pt>
          <cx:pt idx="2434">0</cx:pt>
          <cx:pt idx="2435">0</cx:pt>
          <cx:pt idx="2436">0</cx:pt>
          <cx:pt idx="2437">0</cx:pt>
          <cx:pt idx="2438">0</cx:pt>
          <cx:pt idx="2439">0</cx:pt>
          <cx:pt idx="2440">0</cx:pt>
          <cx:pt idx="2441">0</cx:pt>
          <cx:pt idx="2442">0</cx:pt>
          <cx:pt idx="2443">0</cx:pt>
          <cx:pt idx="2444">0</cx:pt>
          <cx:pt idx="2445">0</cx:pt>
          <cx:pt idx="2446">0</cx:pt>
          <cx:pt idx="2447">0</cx:pt>
          <cx:pt idx="2448">0</cx:pt>
          <cx:pt idx="2449">0</cx:pt>
          <cx:pt idx="2450">0</cx:pt>
          <cx:pt idx="2451">0</cx:pt>
          <cx:pt idx="2452">0</cx:pt>
          <cx:pt idx="2453">0</cx:pt>
          <cx:pt idx="2454">0</cx:pt>
          <cx:pt idx="2455">0</cx:pt>
          <cx:pt idx="2456">0</cx:pt>
          <cx:pt idx="2457">0</cx:pt>
          <cx:pt idx="2458">0</cx:pt>
          <cx:pt idx="2459">0</cx:pt>
          <cx:pt idx="2460">0</cx:pt>
          <cx:pt idx="2461">0</cx:pt>
          <cx:pt idx="2462">0</cx:pt>
          <cx:pt idx="2463">0</cx:pt>
          <cx:pt idx="2464">0</cx:pt>
          <cx:pt idx="2465">0</cx:pt>
          <cx:pt idx="2466">0</cx:pt>
          <cx:pt idx="2467">0</cx:pt>
          <cx:pt idx="2468">0</cx:pt>
          <cx:pt idx="2469">0</cx:pt>
          <cx:pt idx="2470">0</cx:pt>
          <cx:pt idx="2471">0</cx:pt>
          <cx:pt idx="2472">0</cx:pt>
          <cx:pt idx="2473">0</cx:pt>
          <cx:pt idx="2474">0</cx:pt>
          <cx:pt idx="2475">0</cx:pt>
          <cx:pt idx="2476">0</cx:pt>
          <cx:pt idx="2477">0</cx:pt>
          <cx:pt idx="2478">0</cx:pt>
          <cx:pt idx="2479">0</cx:pt>
          <cx:pt idx="2480">0</cx:pt>
          <cx:pt idx="2481">0</cx:pt>
          <cx:pt idx="2482">0</cx:pt>
          <cx:pt idx="2483">0</cx:pt>
          <cx:pt idx="2484">0</cx:pt>
          <cx:pt idx="2485">0</cx:pt>
          <cx:pt idx="2486">0</cx:pt>
          <cx:pt idx="2487">0</cx:pt>
          <cx:pt idx="2488">0</cx:pt>
          <cx:pt idx="2489">0</cx:pt>
          <cx:pt idx="2490">0</cx:pt>
          <cx:pt idx="2491">0</cx:pt>
          <cx:pt idx="2492">0</cx:pt>
          <cx:pt idx="2493">0</cx:pt>
          <cx:pt idx="2494">0</cx:pt>
          <cx:pt idx="2495">0</cx:pt>
          <cx:pt idx="2496">0</cx:pt>
          <cx:pt idx="2497">0</cx:pt>
          <cx:pt idx="2498">0</cx:pt>
          <cx:pt idx="2499">0</cx:pt>
          <cx:pt idx="2500">0</cx:pt>
          <cx:pt idx="2501">0</cx:pt>
          <cx:pt idx="2502">0</cx:pt>
          <cx:pt idx="2503">0</cx:pt>
          <cx:pt idx="2504">0</cx:pt>
          <cx:pt idx="2505">0</cx:pt>
          <cx:pt idx="2506">0</cx:pt>
          <cx:pt idx="2507">0</cx:pt>
          <cx:pt idx="2508">0</cx:pt>
          <cx:pt idx="2509">0</cx:pt>
          <cx:pt idx="2510">0</cx:pt>
          <cx:pt idx="2511">0</cx:pt>
          <cx:pt idx="2512">0</cx:pt>
          <cx:pt idx="2513">0</cx:pt>
          <cx:pt idx="2514">0</cx:pt>
          <cx:pt idx="2515">0</cx:pt>
          <cx:pt idx="2516">0</cx:pt>
          <cx:pt idx="2517">0</cx:pt>
          <cx:pt idx="2518">0</cx:pt>
          <cx:pt idx="2519">0</cx:pt>
          <cx:pt idx="2520">0</cx:pt>
          <cx:pt idx="2521">0</cx:pt>
          <cx:pt idx="2522">0</cx:pt>
          <cx:pt idx="2523">0</cx:pt>
          <cx:pt idx="2524">0</cx:pt>
          <cx:pt idx="2525">0</cx:pt>
          <cx:pt idx="2526">0</cx:pt>
          <cx:pt idx="2527">0</cx:pt>
          <cx:pt idx="2528">0</cx:pt>
          <cx:pt idx="2529">0</cx:pt>
          <cx:pt idx="2530">0</cx:pt>
          <cx:pt idx="2531">0</cx:pt>
          <cx:pt idx="2532">0</cx:pt>
          <cx:pt idx="2533">0</cx:pt>
          <cx:pt idx="2534">0</cx:pt>
          <cx:pt idx="2535">0</cx:pt>
          <cx:pt idx="2536">0</cx:pt>
          <cx:pt idx="2537">0</cx:pt>
          <cx:pt idx="2538">0</cx:pt>
          <cx:pt idx="2539">0</cx:pt>
          <cx:pt idx="2540">0</cx:pt>
          <cx:pt idx="2541">0</cx:pt>
          <cx:pt idx="2542">0</cx:pt>
          <cx:pt idx="2543">0</cx:pt>
          <cx:pt idx="2544">0</cx:pt>
          <cx:pt idx="2545">0</cx:pt>
          <cx:pt idx="2546">0</cx:pt>
          <cx:pt idx="2547">0</cx:pt>
          <cx:pt idx="2548">0</cx:pt>
          <cx:pt idx="2549">0</cx:pt>
          <cx:pt idx="2550">0</cx:pt>
          <cx:pt idx="2551">0</cx:pt>
          <cx:pt idx="2552">0</cx:pt>
          <cx:pt idx="2553">0</cx:pt>
          <cx:pt idx="2554">0</cx:pt>
          <cx:pt idx="2555">0</cx:pt>
          <cx:pt idx="2556">0</cx:pt>
          <cx:pt idx="2557">0</cx:pt>
          <cx:pt idx="2558">0</cx:pt>
          <cx:pt idx="2559">0</cx:pt>
          <cx:pt idx="2560">0</cx:pt>
          <cx:pt idx="2561">0</cx:pt>
          <cx:pt idx="2562">0</cx:pt>
          <cx:pt idx="2563">0</cx:pt>
          <cx:pt idx="2564">0</cx:pt>
          <cx:pt idx="2565">0</cx:pt>
          <cx:pt idx="2566">0</cx:pt>
          <cx:pt idx="2567">0</cx:pt>
          <cx:pt idx="2568">0</cx:pt>
          <cx:pt idx="2569">0</cx:pt>
          <cx:pt idx="2570">0</cx:pt>
          <cx:pt idx="2571">0</cx:pt>
          <cx:pt idx="2572">0</cx:pt>
          <cx:pt idx="2573">0</cx:pt>
          <cx:pt idx="2574">0</cx:pt>
          <cx:pt idx="2575">0</cx:pt>
          <cx:pt idx="2576">0</cx:pt>
          <cx:pt idx="2577">0</cx:pt>
          <cx:pt idx="2578">0</cx:pt>
          <cx:pt idx="2579">0</cx:pt>
          <cx:pt idx="2580">0</cx:pt>
          <cx:pt idx="2581">0</cx:pt>
          <cx:pt idx="2582">0</cx:pt>
          <cx:pt idx="2583">0</cx:pt>
          <cx:pt idx="2584">0</cx:pt>
          <cx:pt idx="2585">0</cx:pt>
          <cx:pt idx="2586">0</cx:pt>
          <cx:pt idx="2587">0</cx:pt>
          <cx:pt idx="2588">0</cx:pt>
          <cx:pt idx="2589">0</cx:pt>
          <cx:pt idx="2590">0</cx:pt>
          <cx:pt idx="2591">0</cx:pt>
          <cx:pt idx="2592">0</cx:pt>
          <cx:pt idx="2593">0</cx:pt>
          <cx:pt idx="2594">0</cx:pt>
          <cx:pt idx="2595">0</cx:pt>
          <cx:pt idx="2596">0</cx:pt>
          <cx:pt idx="2597">0</cx:pt>
          <cx:pt idx="2598">0</cx:pt>
          <cx:pt idx="2599">0</cx:pt>
          <cx:pt idx="2600">0</cx:pt>
          <cx:pt idx="2601">0</cx:pt>
          <cx:pt idx="2602">0</cx:pt>
          <cx:pt idx="2603">0</cx:pt>
          <cx:pt idx="2604">0</cx:pt>
          <cx:pt idx="2605">0</cx:pt>
          <cx:pt idx="2606">0</cx:pt>
          <cx:pt idx="2607">0</cx:pt>
          <cx:pt idx="2608">0</cx:pt>
          <cx:pt idx="2609">0</cx:pt>
          <cx:pt idx="2610">0</cx:pt>
          <cx:pt idx="2611">0</cx:pt>
          <cx:pt idx="2612">0</cx:pt>
          <cx:pt idx="2613">0</cx:pt>
          <cx:pt idx="2614">0</cx:pt>
          <cx:pt idx="2615">0</cx:pt>
          <cx:pt idx="2616">0</cx:pt>
          <cx:pt idx="2617">0</cx:pt>
          <cx:pt idx="2618">0</cx:pt>
          <cx:pt idx="2619">0</cx:pt>
          <cx:pt idx="2620">0</cx:pt>
          <cx:pt idx="2621">0</cx:pt>
          <cx:pt idx="2622">0</cx:pt>
          <cx:pt idx="2623">0</cx:pt>
          <cx:pt idx="2624">0</cx:pt>
          <cx:pt idx="2625">0</cx:pt>
          <cx:pt idx="2626">0</cx:pt>
          <cx:pt idx="2627">0</cx:pt>
          <cx:pt idx="2628">0</cx:pt>
          <cx:pt idx="2629">0</cx:pt>
          <cx:pt idx="2630">0</cx:pt>
          <cx:pt idx="2631">0</cx:pt>
          <cx:pt idx="2632">0</cx:pt>
          <cx:pt idx="2633">0</cx:pt>
          <cx:pt idx="2634">0</cx:pt>
          <cx:pt idx="2635">0</cx:pt>
          <cx:pt idx="2636">0</cx:pt>
          <cx:pt idx="2637">0</cx:pt>
          <cx:pt idx="2638">0</cx:pt>
          <cx:pt idx="2639">0</cx:pt>
          <cx:pt idx="2640">0</cx:pt>
          <cx:pt idx="2641">0</cx:pt>
          <cx:pt idx="2642">0</cx:pt>
          <cx:pt idx="2643">0</cx:pt>
          <cx:pt idx="2644">0</cx:pt>
          <cx:pt idx="2645">0</cx:pt>
          <cx:pt idx="2646">0</cx:pt>
          <cx:pt idx="2647">0</cx:pt>
          <cx:pt idx="2648">0</cx:pt>
          <cx:pt idx="2649">0</cx:pt>
          <cx:pt idx="2650">0</cx:pt>
          <cx:pt idx="2651">0</cx:pt>
          <cx:pt idx="2652">0</cx:pt>
          <cx:pt idx="2653">0</cx:pt>
          <cx:pt idx="2654">0</cx:pt>
          <cx:pt idx="2655">0</cx:pt>
          <cx:pt idx="2656">0</cx:pt>
          <cx:pt idx="2657">0</cx:pt>
          <cx:pt idx="2658">0</cx:pt>
          <cx:pt idx="2659">0</cx:pt>
          <cx:pt idx="2660">0</cx:pt>
          <cx:pt idx="2661">0</cx:pt>
          <cx:pt idx="2662">0</cx:pt>
          <cx:pt idx="2663">0</cx:pt>
          <cx:pt idx="2664">0</cx:pt>
          <cx:pt idx="2665">0</cx:pt>
          <cx:pt idx="2666">0</cx:pt>
          <cx:pt idx="2667">0</cx:pt>
          <cx:pt idx="2668">0</cx:pt>
          <cx:pt idx="2669">0</cx:pt>
          <cx:pt idx="2670">0</cx:pt>
          <cx:pt idx="2671">0</cx:pt>
          <cx:pt idx="2672">0</cx:pt>
          <cx:pt idx="2673">0</cx:pt>
          <cx:pt idx="2674">0</cx:pt>
          <cx:pt idx="2675">0</cx:pt>
          <cx:pt idx="2676">0</cx:pt>
          <cx:pt idx="2677">0</cx:pt>
          <cx:pt idx="2678">0</cx:pt>
          <cx:pt idx="2679">0</cx:pt>
          <cx:pt idx="2680">0</cx:pt>
          <cx:pt idx="2681">0</cx:pt>
          <cx:pt idx="2682">0</cx:pt>
          <cx:pt idx="2683">0</cx:pt>
          <cx:pt idx="2684">0</cx:pt>
          <cx:pt idx="2685">0</cx:pt>
          <cx:pt idx="2686">0</cx:pt>
          <cx:pt idx="2687">0</cx:pt>
          <cx:pt idx="2688">0</cx:pt>
          <cx:pt idx="2689">0</cx:pt>
          <cx:pt idx="2690">0</cx:pt>
          <cx:pt idx="2691">0</cx:pt>
          <cx:pt idx="2692">0</cx:pt>
          <cx:pt idx="2693">0</cx:pt>
          <cx:pt idx="2694">0</cx:pt>
          <cx:pt idx="2695">0</cx:pt>
          <cx:pt idx="2696">0</cx:pt>
          <cx:pt idx="2697">0</cx:pt>
          <cx:pt idx="2698">0</cx:pt>
          <cx:pt idx="2699">0</cx:pt>
          <cx:pt idx="2700">0</cx:pt>
          <cx:pt idx="2701">0</cx:pt>
          <cx:pt idx="2702">0</cx:pt>
          <cx:pt idx="2703">0</cx:pt>
          <cx:pt idx="2704">0</cx:pt>
          <cx:pt idx="2705">0</cx:pt>
          <cx:pt idx="2706">0</cx:pt>
          <cx:pt idx="2707">0</cx:pt>
          <cx:pt idx="2708">0</cx:pt>
          <cx:pt idx="2709">0</cx:pt>
          <cx:pt idx="2710">0</cx:pt>
          <cx:pt idx="2711">0</cx:pt>
          <cx:pt idx="2712">0</cx:pt>
          <cx:pt idx="2713">0</cx:pt>
          <cx:pt idx="2714">0</cx:pt>
          <cx:pt idx="2715">0</cx:pt>
          <cx:pt idx="2716">0</cx:pt>
          <cx:pt idx="2717">0</cx:pt>
          <cx:pt idx="2718">0</cx:pt>
          <cx:pt idx="2719">0</cx:pt>
          <cx:pt idx="2720">0</cx:pt>
          <cx:pt idx="2721">0</cx:pt>
          <cx:pt idx="2722">0</cx:pt>
          <cx:pt idx="2723">0</cx:pt>
          <cx:pt idx="2724">0</cx:pt>
          <cx:pt idx="2725">0</cx:pt>
          <cx:pt idx="2726">0</cx:pt>
          <cx:pt idx="2727">0</cx:pt>
          <cx:pt idx="2728">0</cx:pt>
          <cx:pt idx="2729">0</cx:pt>
          <cx:pt idx="2730">0</cx:pt>
          <cx:pt idx="2731">0</cx:pt>
          <cx:pt idx="2732">0</cx:pt>
          <cx:pt idx="2733">0</cx:pt>
          <cx:pt idx="2734">0</cx:pt>
          <cx:pt idx="2735">0</cx:pt>
          <cx:pt idx="2736">0</cx:pt>
          <cx:pt idx="2737">0</cx:pt>
          <cx:pt idx="2738">0</cx:pt>
          <cx:pt idx="2739">0</cx:pt>
          <cx:pt idx="2740">0</cx:pt>
          <cx:pt idx="2741">0</cx:pt>
          <cx:pt idx="2742">0</cx:pt>
          <cx:pt idx="2743">0</cx:pt>
          <cx:pt idx="2744">0</cx:pt>
          <cx:pt idx="2745">0</cx:pt>
          <cx:pt idx="2746">0</cx:pt>
          <cx:pt idx="2747">0</cx:pt>
          <cx:pt idx="2748">0</cx:pt>
          <cx:pt idx="2749">0</cx:pt>
          <cx:pt idx="2750">0</cx:pt>
          <cx:pt idx="2751">0</cx:pt>
          <cx:pt idx="2752">0</cx:pt>
          <cx:pt idx="2753">0</cx:pt>
          <cx:pt idx="2754">0</cx:pt>
          <cx:pt idx="2755">0</cx:pt>
          <cx:pt idx="2756">0</cx:pt>
          <cx:pt idx="2757">0</cx:pt>
          <cx:pt idx="2758">0</cx:pt>
          <cx:pt idx="2759">0</cx:pt>
          <cx:pt idx="2760">0</cx:pt>
          <cx:pt idx="2761">0</cx:pt>
          <cx:pt idx="2762">0</cx:pt>
          <cx:pt idx="2763">0</cx:pt>
          <cx:pt idx="2764">0</cx:pt>
          <cx:pt idx="2765">0</cx:pt>
          <cx:pt idx="2766">0</cx:pt>
          <cx:pt idx="2767">0</cx:pt>
          <cx:pt idx="2768">0</cx:pt>
          <cx:pt idx="2769">0</cx:pt>
          <cx:pt idx="2770">0</cx:pt>
          <cx:pt idx="2771">0</cx:pt>
          <cx:pt idx="2772">0</cx:pt>
          <cx:pt idx="2773">0</cx:pt>
          <cx:pt idx="2774">0</cx:pt>
          <cx:pt idx="2775">0</cx:pt>
          <cx:pt idx="2776">0</cx:pt>
          <cx:pt idx="2777">0</cx:pt>
          <cx:pt idx="2778">0</cx:pt>
          <cx:pt idx="2779">0</cx:pt>
          <cx:pt idx="2780">0</cx:pt>
          <cx:pt idx="2781">0</cx:pt>
          <cx:pt idx="2782">0</cx:pt>
          <cx:pt idx="2783">0</cx:pt>
          <cx:pt idx="2784">0</cx:pt>
          <cx:pt idx="2785">0</cx:pt>
          <cx:pt idx="2786">0</cx:pt>
          <cx:pt idx="2787">0</cx:pt>
          <cx:pt idx="2788">0</cx:pt>
          <cx:pt idx="2789">0</cx:pt>
          <cx:pt idx="2790">0</cx:pt>
          <cx:pt idx="2791">0</cx:pt>
          <cx:pt idx="2792">0</cx:pt>
          <cx:pt idx="2793">0</cx:pt>
          <cx:pt idx="2794">0</cx:pt>
          <cx:pt idx="2795">0</cx:pt>
          <cx:pt idx="2796">0</cx:pt>
          <cx:pt idx="2797">0</cx:pt>
          <cx:pt idx="2798">0</cx:pt>
          <cx:pt idx="2799">0</cx:pt>
          <cx:pt idx="2800">0</cx:pt>
          <cx:pt idx="2801">0</cx:pt>
          <cx:pt idx="2802">0</cx:pt>
          <cx:pt idx="2803">0</cx:pt>
          <cx:pt idx="2804">0</cx:pt>
          <cx:pt idx="2805">0</cx:pt>
          <cx:pt idx="2806">0</cx:pt>
          <cx:pt idx="2807">0</cx:pt>
          <cx:pt idx="2808">0</cx:pt>
          <cx:pt idx="2809">0</cx:pt>
          <cx:pt idx="2810">0</cx:pt>
          <cx:pt idx="2811">0</cx:pt>
          <cx:pt idx="2812">0</cx:pt>
          <cx:pt idx="2813">0</cx:pt>
          <cx:pt idx="2814">0</cx:pt>
          <cx:pt idx="2815">0</cx:pt>
          <cx:pt idx="2816">0</cx:pt>
          <cx:pt idx="2817">0</cx:pt>
          <cx:pt idx="2818">0</cx:pt>
          <cx:pt idx="2819">0</cx:pt>
          <cx:pt idx="2820">0</cx:pt>
          <cx:pt idx="2821">0</cx:pt>
          <cx:pt idx="2822">0</cx:pt>
          <cx:pt idx="2823">0</cx:pt>
          <cx:pt idx="2824">0</cx:pt>
          <cx:pt idx="2825">0</cx:pt>
          <cx:pt idx="2826">0</cx:pt>
          <cx:pt idx="2827">0</cx:pt>
          <cx:pt idx="2828">0</cx:pt>
          <cx:pt idx="2829">0</cx:pt>
          <cx:pt idx="2830">0</cx:pt>
          <cx:pt idx="2831">0</cx:pt>
          <cx:pt idx="2832">0</cx:pt>
          <cx:pt idx="2833">0</cx:pt>
          <cx:pt idx="2834">0</cx:pt>
          <cx:pt idx="2835">0</cx:pt>
          <cx:pt idx="2836">0</cx:pt>
          <cx:pt idx="2837">0</cx:pt>
          <cx:pt idx="2838">0</cx:pt>
          <cx:pt idx="2839">0</cx:pt>
          <cx:pt idx="2840">0</cx:pt>
          <cx:pt idx="2841">0</cx:pt>
          <cx:pt idx="2842">0</cx:pt>
          <cx:pt idx="2843">0</cx:pt>
          <cx:pt idx="2844">0</cx:pt>
          <cx:pt idx="2845">0</cx:pt>
          <cx:pt idx="2846">0</cx:pt>
          <cx:pt idx="2847">0</cx:pt>
          <cx:pt idx="2848">0</cx:pt>
          <cx:pt idx="2849">0</cx:pt>
          <cx:pt idx="2850">0</cx:pt>
          <cx:pt idx="2851">0</cx:pt>
          <cx:pt idx="2852">0</cx:pt>
          <cx:pt idx="2853">0</cx:pt>
          <cx:pt idx="2854">0</cx:pt>
          <cx:pt idx="2855">0</cx:pt>
          <cx:pt idx="2856">0</cx:pt>
          <cx:pt idx="2857">0</cx:pt>
          <cx:pt idx="2858">0</cx:pt>
          <cx:pt idx="2859">0</cx:pt>
          <cx:pt idx="2860">0</cx:pt>
          <cx:pt idx="2861">0</cx:pt>
          <cx:pt idx="2862">0</cx:pt>
          <cx:pt idx="2863">0</cx:pt>
          <cx:pt idx="2864">0</cx:pt>
          <cx:pt idx="2865">0</cx:pt>
          <cx:pt idx="2866">0</cx:pt>
          <cx:pt idx="2867">0</cx:pt>
          <cx:pt idx="2868">0</cx:pt>
          <cx:pt idx="2869">0</cx:pt>
          <cx:pt idx="2870">0</cx:pt>
          <cx:pt idx="2871">0</cx:pt>
          <cx:pt idx="2872">0</cx:pt>
          <cx:pt idx="2873">0</cx:pt>
          <cx:pt idx="2874">0</cx:pt>
          <cx:pt idx="2875">0</cx:pt>
          <cx:pt idx="2876">0</cx:pt>
          <cx:pt idx="2877">0</cx:pt>
          <cx:pt idx="2878">0</cx:pt>
          <cx:pt idx="2879">0</cx:pt>
          <cx:pt idx="2880">0</cx:pt>
          <cx:pt idx="2881">0</cx:pt>
          <cx:pt idx="2882">0</cx:pt>
          <cx:pt idx="2883">0</cx:pt>
          <cx:pt idx="2884">0</cx:pt>
          <cx:pt idx="2885">0</cx:pt>
          <cx:pt idx="2886">0</cx:pt>
          <cx:pt idx="2887">0</cx:pt>
          <cx:pt idx="2888">0</cx:pt>
          <cx:pt idx="2889">0</cx:pt>
          <cx:pt idx="2890">0</cx:pt>
          <cx:pt idx="2891">0</cx:pt>
          <cx:pt idx="2892">0</cx:pt>
          <cx:pt idx="2893">0</cx:pt>
          <cx:pt idx="2894">0</cx:pt>
          <cx:pt idx="2895">0</cx:pt>
          <cx:pt idx="2896">0</cx:pt>
          <cx:pt idx="2897">0</cx:pt>
          <cx:pt idx="2898">0</cx:pt>
          <cx:pt idx="2899">0</cx:pt>
          <cx:pt idx="2900">0</cx:pt>
          <cx:pt idx="2901">0</cx:pt>
          <cx:pt idx="2902">0</cx:pt>
          <cx:pt idx="2903">0</cx:pt>
          <cx:pt idx="2904">0</cx:pt>
          <cx:pt idx="2905">0</cx:pt>
          <cx:pt idx="2906">0</cx:pt>
          <cx:pt idx="2907">0</cx:pt>
          <cx:pt idx="2908">0</cx:pt>
          <cx:pt idx="2909">0</cx:pt>
          <cx:pt idx="2910">0</cx:pt>
          <cx:pt idx="2911">0</cx:pt>
          <cx:pt idx="2912">0</cx:pt>
          <cx:pt idx="2913">0</cx:pt>
          <cx:pt idx="2914">0</cx:pt>
          <cx:pt idx="2915">0</cx:pt>
          <cx:pt idx="2916">0</cx:pt>
          <cx:pt idx="2917">0</cx:pt>
          <cx:pt idx="2918">0</cx:pt>
          <cx:pt idx="2919">0</cx:pt>
          <cx:pt idx="2920">0</cx:pt>
          <cx:pt idx="2921">0</cx:pt>
          <cx:pt idx="2922">0</cx:pt>
          <cx:pt idx="2923">0</cx:pt>
          <cx:pt idx="2924">0</cx:pt>
          <cx:pt idx="2925">0</cx:pt>
          <cx:pt idx="2926">0</cx:pt>
          <cx:pt idx="2927">0</cx:pt>
          <cx:pt idx="2928">0</cx:pt>
          <cx:pt idx="2929">0</cx:pt>
          <cx:pt idx="2930">0</cx:pt>
          <cx:pt idx="2931">0</cx:pt>
          <cx:pt idx="2932">0</cx:pt>
          <cx:pt idx="2933">0</cx:pt>
          <cx:pt idx="2934">0</cx:pt>
          <cx:pt idx="2935">0</cx:pt>
          <cx:pt idx="2936">0</cx:pt>
          <cx:pt idx="2937">0</cx:pt>
          <cx:pt idx="2938">0</cx:pt>
          <cx:pt idx="2939">0</cx:pt>
          <cx:pt idx="2940">0</cx:pt>
          <cx:pt idx="2941">0</cx:pt>
          <cx:pt idx="2942">0</cx:pt>
          <cx:pt idx="2943">0</cx:pt>
          <cx:pt idx="2944">0</cx:pt>
          <cx:pt idx="2945">0</cx:pt>
          <cx:pt idx="2946">0</cx:pt>
          <cx:pt idx="2947">0</cx:pt>
          <cx:pt idx="2948">0</cx:pt>
          <cx:pt idx="2949">0</cx:pt>
          <cx:pt idx="2950">0</cx:pt>
          <cx:pt idx="2951">0</cx:pt>
          <cx:pt idx="2952">0</cx:pt>
          <cx:pt idx="2953">0</cx:pt>
          <cx:pt idx="2954">0</cx:pt>
          <cx:pt idx="2955">0</cx:pt>
          <cx:pt idx="2956">0</cx:pt>
          <cx:pt idx="2957">0</cx:pt>
          <cx:pt idx="2958">0</cx:pt>
          <cx:pt idx="2959">0</cx:pt>
          <cx:pt idx="2960">0</cx:pt>
          <cx:pt idx="2961">0</cx:pt>
          <cx:pt idx="2962">0</cx:pt>
          <cx:pt idx="2963">0</cx:pt>
          <cx:pt idx="2964">0</cx:pt>
          <cx:pt idx="2965">0</cx:pt>
          <cx:pt idx="2966">0</cx:pt>
          <cx:pt idx="2967">0</cx:pt>
          <cx:pt idx="2968">0</cx:pt>
          <cx:pt idx="2969">0</cx:pt>
          <cx:pt idx="2970">0</cx:pt>
          <cx:pt idx="2971">0</cx:pt>
          <cx:pt idx="2972">0</cx:pt>
          <cx:pt idx="2973">0</cx:pt>
          <cx:pt idx="2974">0</cx:pt>
          <cx:pt idx="2975">0</cx:pt>
          <cx:pt idx="2976">0</cx:pt>
          <cx:pt idx="2977">0</cx:pt>
          <cx:pt idx="2978">0</cx:pt>
          <cx:pt idx="2979">0</cx:pt>
          <cx:pt idx="2980">0</cx:pt>
          <cx:pt idx="2981">0</cx:pt>
          <cx:pt idx="2982">0</cx:pt>
          <cx:pt idx="2983">0</cx:pt>
          <cx:pt idx="2984">0</cx:pt>
          <cx:pt idx="2985">0</cx:pt>
          <cx:pt idx="2986">0</cx:pt>
          <cx:pt idx="2987">0</cx:pt>
          <cx:pt idx="2988">0</cx:pt>
          <cx:pt idx="2989">0</cx:pt>
          <cx:pt idx="2990">0</cx:pt>
          <cx:pt idx="2991">0</cx:pt>
          <cx:pt idx="2992">0</cx:pt>
          <cx:pt idx="2993">0</cx:pt>
          <cx:pt idx="2994">0</cx:pt>
          <cx:pt idx="2995">0</cx:pt>
          <cx:pt idx="2996">0</cx:pt>
          <cx:pt idx="2997">0</cx:pt>
          <cx:pt idx="2998">0</cx:pt>
          <cx:pt idx="2999">0</cx:pt>
          <cx:pt idx="3000">0</cx:pt>
          <cx:pt idx="3001">0</cx:pt>
          <cx:pt idx="3002">0</cx:pt>
          <cx:pt idx="3003">0</cx:pt>
          <cx:pt idx="3004">0</cx:pt>
          <cx:pt idx="3005">0</cx:pt>
          <cx:pt idx="3006">0</cx:pt>
          <cx:pt idx="3007">0</cx:pt>
          <cx:pt idx="3008">0</cx:pt>
          <cx:pt idx="3009">0</cx:pt>
          <cx:pt idx="3010">0</cx:pt>
          <cx:pt idx="3011">0</cx:pt>
          <cx:pt idx="3012">0</cx:pt>
          <cx:pt idx="3013">0</cx:pt>
          <cx:pt idx="3014">0</cx:pt>
          <cx:pt idx="3015">0</cx:pt>
          <cx:pt idx="3016">0</cx:pt>
          <cx:pt idx="3017">0</cx:pt>
          <cx:pt idx="3018">0</cx:pt>
          <cx:pt idx="3019">0</cx:pt>
          <cx:pt idx="3020">0</cx:pt>
          <cx:pt idx="3021">0</cx:pt>
          <cx:pt idx="3022">0</cx:pt>
          <cx:pt idx="3023">0</cx:pt>
          <cx:pt idx="3024">0</cx:pt>
          <cx:pt idx="3025">0</cx:pt>
          <cx:pt idx="3026">0</cx:pt>
          <cx:pt idx="3027">0</cx:pt>
          <cx:pt idx="3028">0</cx:pt>
          <cx:pt idx="3029">0</cx:pt>
          <cx:pt idx="3030">0</cx:pt>
          <cx:pt idx="3031">0</cx:pt>
          <cx:pt idx="3032">0</cx:pt>
          <cx:pt idx="3033">0</cx:pt>
          <cx:pt idx="3034">0</cx:pt>
          <cx:pt idx="3035">0</cx:pt>
          <cx:pt idx="3036">0</cx:pt>
          <cx:pt idx="3037">0</cx:pt>
          <cx:pt idx="3038">0</cx:pt>
          <cx:pt idx="3039">0</cx:pt>
          <cx:pt idx="3040">0</cx:pt>
          <cx:pt idx="3041">0</cx:pt>
          <cx:pt idx="3042">0</cx:pt>
          <cx:pt idx="3043">0</cx:pt>
          <cx:pt idx="3044">0</cx:pt>
          <cx:pt idx="3045">0</cx:pt>
          <cx:pt idx="3046">0</cx:pt>
          <cx:pt idx="3047">0</cx:pt>
          <cx:pt idx="3048">0</cx:pt>
          <cx:pt idx="3049">0</cx:pt>
          <cx:pt idx="3050">0</cx:pt>
          <cx:pt idx="3051">0</cx:pt>
          <cx:pt idx="3052">0</cx:pt>
          <cx:pt idx="3053">0</cx:pt>
          <cx:pt idx="3054">0</cx:pt>
          <cx:pt idx="3055">0</cx:pt>
          <cx:pt idx="3056">0</cx:pt>
          <cx:pt idx="3057">0</cx:pt>
          <cx:pt idx="3058">0</cx:pt>
          <cx:pt idx="3059">0</cx:pt>
          <cx:pt idx="3060">0</cx:pt>
          <cx:pt idx="3061">0</cx:pt>
          <cx:pt idx="3062">0</cx:pt>
          <cx:pt idx="3063">0</cx:pt>
          <cx:pt idx="3064">0</cx:pt>
          <cx:pt idx="3065">0</cx:pt>
          <cx:pt idx="3066">0</cx:pt>
          <cx:pt idx="3067">0</cx:pt>
          <cx:pt idx="3068">0</cx:pt>
          <cx:pt idx="3069">0</cx:pt>
          <cx:pt idx="3070">0</cx:pt>
          <cx:pt idx="3071">0</cx:pt>
          <cx:pt idx="3072">0</cx:pt>
          <cx:pt idx="3073">0</cx:pt>
          <cx:pt idx="3074">0</cx:pt>
          <cx:pt idx="3075">0</cx:pt>
          <cx:pt idx="3076">0</cx:pt>
          <cx:pt idx="3077">0</cx:pt>
          <cx:pt idx="3078">0</cx:pt>
          <cx:pt idx="3079">0</cx:pt>
          <cx:pt idx="3080">0</cx:pt>
          <cx:pt idx="3081">0</cx:pt>
          <cx:pt idx="3082">0</cx:pt>
          <cx:pt idx="3083">0</cx:pt>
          <cx:pt idx="3084">0</cx:pt>
          <cx:pt idx="3085">0</cx:pt>
          <cx:pt idx="3086">0</cx:pt>
          <cx:pt idx="3087">0</cx:pt>
          <cx:pt idx="3088">0</cx:pt>
          <cx:pt idx="3089">0</cx:pt>
          <cx:pt idx="3090">0</cx:pt>
          <cx:pt idx="3091">0</cx:pt>
          <cx:pt idx="3092">0</cx:pt>
          <cx:pt idx="3093">0</cx:pt>
          <cx:pt idx="3094">0</cx:pt>
          <cx:pt idx="3095">0</cx:pt>
          <cx:pt idx="3096">0</cx:pt>
          <cx:pt idx="3097">0</cx:pt>
          <cx:pt idx="3098">0</cx:pt>
          <cx:pt idx="3099">0</cx:pt>
          <cx:pt idx="3100">0</cx:pt>
          <cx:pt idx="3101">0</cx:pt>
          <cx:pt idx="3102">0</cx:pt>
          <cx:pt idx="3103">0</cx:pt>
          <cx:pt idx="3104">0</cx:pt>
          <cx:pt idx="3105">0</cx:pt>
          <cx:pt idx="3106">0</cx:pt>
          <cx:pt idx="3107">0</cx:pt>
          <cx:pt idx="3108">0</cx:pt>
          <cx:pt idx="3109">0</cx:pt>
          <cx:pt idx="3110">0</cx:pt>
          <cx:pt idx="3111">0</cx:pt>
          <cx:pt idx="3112">0</cx:pt>
          <cx:pt idx="3113">0</cx:pt>
          <cx:pt idx="3114">0</cx:pt>
          <cx:pt idx="3115">0</cx:pt>
          <cx:pt idx="3116">0</cx:pt>
          <cx:pt idx="3117">0</cx:pt>
          <cx:pt idx="3118">0</cx:pt>
          <cx:pt idx="3119">0</cx:pt>
          <cx:pt idx="3120">0</cx:pt>
          <cx:pt idx="3121">0</cx:pt>
          <cx:pt idx="3122">0</cx:pt>
          <cx:pt idx="3123">0</cx:pt>
          <cx:pt idx="3124">0</cx:pt>
          <cx:pt idx="3125">0</cx:pt>
          <cx:pt idx="3126">0</cx:pt>
          <cx:pt idx="3127">0</cx:pt>
          <cx:pt idx="3128">0</cx:pt>
          <cx:pt idx="3129">0</cx:pt>
          <cx:pt idx="3130">0</cx:pt>
          <cx:pt idx="3131">0</cx:pt>
          <cx:pt idx="3132">0</cx:pt>
          <cx:pt idx="3133">0</cx:pt>
          <cx:pt idx="3134">0</cx:pt>
          <cx:pt idx="3135">0</cx:pt>
          <cx:pt idx="3136">0</cx:pt>
          <cx:pt idx="3137">0</cx:pt>
          <cx:pt idx="3138">0</cx:pt>
          <cx:pt idx="3139">0</cx:pt>
          <cx:pt idx="3140">0</cx:pt>
          <cx:pt idx="3141">0</cx:pt>
          <cx:pt idx="3142">0</cx:pt>
          <cx:pt idx="3143">0</cx:pt>
          <cx:pt idx="3144">0</cx:pt>
          <cx:pt idx="3145">0</cx:pt>
          <cx:pt idx="3146">0</cx:pt>
          <cx:pt idx="3147">0</cx:pt>
          <cx:pt idx="3148">0</cx:pt>
          <cx:pt idx="3149">0</cx:pt>
          <cx:pt idx="3150">0</cx:pt>
          <cx:pt idx="3151">0</cx:pt>
          <cx:pt idx="3152">0</cx:pt>
          <cx:pt idx="3153">0</cx:pt>
          <cx:pt idx="3154">0</cx:pt>
          <cx:pt idx="3155">0</cx:pt>
          <cx:pt idx="3156">0</cx:pt>
          <cx:pt idx="3157">0</cx:pt>
          <cx:pt idx="3158">0</cx:pt>
          <cx:pt idx="3159">0</cx:pt>
          <cx:pt idx="3160">0</cx:pt>
          <cx:pt idx="3161">0</cx:pt>
          <cx:pt idx="3162">0</cx:pt>
          <cx:pt idx="3163">0</cx:pt>
          <cx:pt idx="3164">0</cx:pt>
          <cx:pt idx="3165">0</cx:pt>
          <cx:pt idx="3166">0</cx:pt>
          <cx:pt idx="3167">0</cx:pt>
          <cx:pt idx="3168">0</cx:pt>
          <cx:pt idx="3169">0</cx:pt>
          <cx:pt idx="3170">0</cx:pt>
          <cx:pt idx="3171">0</cx:pt>
          <cx:pt idx="3172">0</cx:pt>
          <cx:pt idx="3173">0</cx:pt>
          <cx:pt idx="3174">0</cx:pt>
          <cx:pt idx="3175">0</cx:pt>
          <cx:pt idx="3176">0</cx:pt>
          <cx:pt idx="3177">0</cx:pt>
          <cx:pt idx="3178">0</cx:pt>
          <cx:pt idx="3179">0</cx:pt>
          <cx:pt idx="3180">0</cx:pt>
          <cx:pt idx="3181">0</cx:pt>
          <cx:pt idx="3182">0</cx:pt>
          <cx:pt idx="3183">0</cx:pt>
          <cx:pt idx="3184">0</cx:pt>
          <cx:pt idx="3185">0</cx:pt>
          <cx:pt idx="3186">0</cx:pt>
          <cx:pt idx="3187">0</cx:pt>
          <cx:pt idx="3188">0</cx:pt>
          <cx:pt idx="3189">0</cx:pt>
          <cx:pt idx="3190">0</cx:pt>
          <cx:pt idx="3191">0</cx:pt>
          <cx:pt idx="3192">0</cx:pt>
          <cx:pt idx="3193">0</cx:pt>
          <cx:pt idx="3194">0</cx:pt>
          <cx:pt idx="3195">0</cx:pt>
          <cx:pt idx="3196">0</cx:pt>
          <cx:pt idx="3197">0</cx:pt>
          <cx:pt idx="3198">0</cx:pt>
          <cx:pt idx="3199">0</cx:pt>
          <cx:pt idx="3200">0</cx:pt>
          <cx:pt idx="3201">0</cx:pt>
          <cx:pt idx="3202">0</cx:pt>
          <cx:pt idx="3203">0</cx:pt>
          <cx:pt idx="3204">0</cx:pt>
          <cx:pt idx="3205">0</cx:pt>
          <cx:pt idx="3206">0</cx:pt>
          <cx:pt idx="3207">0</cx:pt>
          <cx:pt idx="3208">0</cx:pt>
          <cx:pt idx="3209">0</cx:pt>
          <cx:pt idx="3210">0</cx:pt>
          <cx:pt idx="3211">0</cx:pt>
          <cx:pt idx="3212">0</cx:pt>
          <cx:pt idx="3213">0</cx:pt>
          <cx:pt idx="3214">0</cx:pt>
          <cx:pt idx="3215">0</cx:pt>
          <cx:pt idx="3216">0</cx:pt>
          <cx:pt idx="3217">0</cx:pt>
          <cx:pt idx="3218">0</cx:pt>
          <cx:pt idx="3219">0</cx:pt>
          <cx:pt idx="3220">0</cx:pt>
          <cx:pt idx="3221">0</cx:pt>
          <cx:pt idx="3222">0</cx:pt>
          <cx:pt idx="3223">0</cx:pt>
          <cx:pt idx="3224">0</cx:pt>
          <cx:pt idx="3225">0</cx:pt>
          <cx:pt idx="3226">0</cx:pt>
          <cx:pt idx="3227">0</cx:pt>
          <cx:pt idx="3228">0</cx:pt>
          <cx:pt idx="3229">0</cx:pt>
          <cx:pt idx="3230">0</cx:pt>
          <cx:pt idx="3231">0</cx:pt>
          <cx:pt idx="3232">0</cx:pt>
          <cx:pt idx="3233">0</cx:pt>
          <cx:pt idx="3234">0</cx:pt>
          <cx:pt idx="3235">0</cx:pt>
          <cx:pt idx="3236">0</cx:pt>
          <cx:pt idx="3237">0</cx:pt>
          <cx:pt idx="3238">0</cx:pt>
          <cx:pt idx="3239">0</cx:pt>
          <cx:pt idx="3240">0</cx:pt>
          <cx:pt idx="3241">0</cx:pt>
          <cx:pt idx="3242">0</cx:pt>
          <cx:pt idx="3243">0</cx:pt>
          <cx:pt idx="3244">0</cx:pt>
          <cx:pt idx="3245">0</cx:pt>
          <cx:pt idx="3246">0</cx:pt>
          <cx:pt idx="3247">0</cx:pt>
          <cx:pt idx="3248">0</cx:pt>
          <cx:pt idx="3249">0</cx:pt>
          <cx:pt idx="3250">0</cx:pt>
          <cx:pt idx="3251">0</cx:pt>
          <cx:pt idx="3252">0</cx:pt>
          <cx:pt idx="3253">0</cx:pt>
          <cx:pt idx="3254">0</cx:pt>
          <cx:pt idx="3255">0</cx:pt>
          <cx:pt idx="3256">0</cx:pt>
          <cx:pt idx="3257">0</cx:pt>
          <cx:pt idx="3258">0</cx:pt>
          <cx:pt idx="3259">0</cx:pt>
          <cx:pt idx="3260">0</cx:pt>
          <cx:pt idx="3261">0</cx:pt>
          <cx:pt idx="3262">0</cx:pt>
          <cx:pt idx="3263">0</cx:pt>
          <cx:pt idx="3264">0</cx:pt>
          <cx:pt idx="3265">0</cx:pt>
          <cx:pt idx="3266">0</cx:pt>
          <cx:pt idx="3267">0</cx:pt>
          <cx:pt idx="3268">0</cx:pt>
          <cx:pt idx="3269">0</cx:pt>
          <cx:pt idx="3270">0</cx:pt>
          <cx:pt idx="3271">0</cx:pt>
          <cx:pt idx="3272">0</cx:pt>
          <cx:pt idx="3273">0</cx:pt>
          <cx:pt idx="3274">0</cx:pt>
          <cx:pt idx="3275">0</cx:pt>
          <cx:pt idx="3276">0</cx:pt>
          <cx:pt idx="3277">0</cx:pt>
          <cx:pt idx="3278">0</cx:pt>
          <cx:pt idx="3279">0</cx:pt>
          <cx:pt idx="3280">0</cx:pt>
          <cx:pt idx="3281">0</cx:pt>
          <cx:pt idx="3282">0</cx:pt>
          <cx:pt idx="3283">0</cx:pt>
          <cx:pt idx="3284">0</cx:pt>
          <cx:pt idx="3285">0</cx:pt>
          <cx:pt idx="3286">0</cx:pt>
          <cx:pt idx="3287">0</cx:pt>
          <cx:pt idx="3288">0</cx:pt>
          <cx:pt idx="3289">0</cx:pt>
          <cx:pt idx="3290">0</cx:pt>
          <cx:pt idx="3291">0</cx:pt>
          <cx:pt idx="3292">0</cx:pt>
          <cx:pt idx="3293">0</cx:pt>
          <cx:pt idx="3294">0</cx:pt>
          <cx:pt idx="3295">0</cx:pt>
          <cx:pt idx="3296">0</cx:pt>
          <cx:pt idx="3297">0</cx:pt>
          <cx:pt idx="3298">0</cx:pt>
          <cx:pt idx="3299">0</cx:pt>
          <cx:pt idx="3300">0</cx:pt>
          <cx:pt idx="3301">0</cx:pt>
          <cx:pt idx="3302">0</cx:pt>
          <cx:pt idx="3303">0</cx:pt>
          <cx:pt idx="3304">0</cx:pt>
          <cx:pt idx="3305">0</cx:pt>
          <cx:pt idx="3306">0</cx:pt>
          <cx:pt idx="3307">0</cx:pt>
          <cx:pt idx="3308">0</cx:pt>
          <cx:pt idx="3309">0</cx:pt>
          <cx:pt idx="3310">0</cx:pt>
          <cx:pt idx="3311">0</cx:pt>
          <cx:pt idx="3312">0</cx:pt>
          <cx:pt idx="3313">0</cx:pt>
          <cx:pt idx="3314">0</cx:pt>
          <cx:pt idx="3315">0</cx:pt>
          <cx:pt idx="3316">0</cx:pt>
          <cx:pt idx="3317">0</cx:pt>
          <cx:pt idx="3318">0</cx:pt>
          <cx:pt idx="3319">0</cx:pt>
          <cx:pt idx="3320">0</cx:pt>
          <cx:pt idx="3321">0</cx:pt>
          <cx:pt idx="3322">0</cx:pt>
          <cx:pt idx="3323">0</cx:pt>
          <cx:pt idx="3324">0</cx:pt>
          <cx:pt idx="3325">0</cx:pt>
          <cx:pt idx="3326">0</cx:pt>
          <cx:pt idx="3327">0</cx:pt>
          <cx:pt idx="3328">0</cx:pt>
          <cx:pt idx="3329">0</cx:pt>
          <cx:pt idx="3330">0</cx:pt>
          <cx:pt idx="3331">0</cx:pt>
          <cx:pt idx="3332">0</cx:pt>
          <cx:pt idx="3333">0</cx:pt>
          <cx:pt idx="3334">0</cx:pt>
          <cx:pt idx="3335">0</cx:pt>
          <cx:pt idx="3336">0</cx:pt>
          <cx:pt idx="3337">0</cx:pt>
          <cx:pt idx="3338">0</cx:pt>
          <cx:pt idx="3339">0</cx:pt>
          <cx:pt idx="3340">0</cx:pt>
          <cx:pt idx="3341">0</cx:pt>
          <cx:pt idx="3342">0</cx:pt>
          <cx:pt idx="3343">0</cx:pt>
          <cx:pt idx="3344">0</cx:pt>
          <cx:pt idx="3345">0</cx:pt>
          <cx:pt idx="3346">0</cx:pt>
          <cx:pt idx="3347">0</cx:pt>
          <cx:pt idx="3348">0</cx:pt>
          <cx:pt idx="3349">0</cx:pt>
          <cx:pt idx="3350">0</cx:pt>
          <cx:pt idx="3351">0</cx:pt>
          <cx:pt idx="3352">0</cx:pt>
          <cx:pt idx="3353">0</cx:pt>
          <cx:pt idx="3354">0</cx:pt>
          <cx:pt idx="3355">0</cx:pt>
          <cx:pt idx="3356">0</cx:pt>
          <cx:pt idx="3357">0</cx:pt>
          <cx:pt idx="3358">0</cx:pt>
          <cx:pt idx="3359">0</cx:pt>
          <cx:pt idx="3360">0</cx:pt>
          <cx:pt idx="3361">0</cx:pt>
          <cx:pt idx="3362">0</cx:pt>
          <cx:pt idx="3363">0</cx:pt>
          <cx:pt idx="3364">0</cx:pt>
          <cx:pt idx="3365">0</cx:pt>
          <cx:pt idx="3366">0</cx:pt>
          <cx:pt idx="3367">0</cx:pt>
          <cx:pt idx="3368">0</cx:pt>
          <cx:pt idx="3369">0</cx:pt>
          <cx:pt idx="3370">0</cx:pt>
          <cx:pt idx="3371">0</cx:pt>
          <cx:pt idx="3372">0</cx:pt>
          <cx:pt idx="3373">0</cx:pt>
          <cx:pt idx="3374">0</cx:pt>
          <cx:pt idx="3375">0</cx:pt>
          <cx:pt idx="3376">0</cx:pt>
          <cx:pt idx="3377">0</cx:pt>
          <cx:pt idx="3378">0</cx:pt>
          <cx:pt idx="3379">0</cx:pt>
          <cx:pt idx="3380">0</cx:pt>
          <cx:pt idx="3381">0</cx:pt>
          <cx:pt idx="3382">0</cx:pt>
          <cx:pt idx="3383">0</cx:pt>
          <cx:pt idx="3384">0</cx:pt>
          <cx:pt idx="3385">0</cx:pt>
          <cx:pt idx="3386">0</cx:pt>
          <cx:pt idx="3387">0</cx:pt>
          <cx:pt idx="3388">0</cx:pt>
          <cx:pt idx="3389">0</cx:pt>
          <cx:pt idx="3390">0</cx:pt>
          <cx:pt idx="3391">0</cx:pt>
          <cx:pt idx="3392">0</cx:pt>
          <cx:pt idx="3393">0</cx:pt>
          <cx:pt idx="3394">0</cx:pt>
          <cx:pt idx="3395">0</cx:pt>
          <cx:pt idx="3396">0</cx:pt>
          <cx:pt idx="3397">0</cx:pt>
          <cx:pt idx="3398">0</cx:pt>
          <cx:pt idx="3399">0</cx:pt>
          <cx:pt idx="3400">0</cx:pt>
          <cx:pt idx="3401">0</cx:pt>
          <cx:pt idx="3402">0</cx:pt>
          <cx:pt idx="3403">0</cx:pt>
          <cx:pt idx="3404">0</cx:pt>
          <cx:pt idx="3405">0</cx:pt>
          <cx:pt idx="3406">0</cx:pt>
          <cx:pt idx="3407">0</cx:pt>
          <cx:pt idx="3408">0</cx:pt>
          <cx:pt idx="3409">0</cx:pt>
          <cx:pt idx="3410">0</cx:pt>
          <cx:pt idx="3411">0</cx:pt>
          <cx:pt idx="3412">0</cx:pt>
          <cx:pt idx="3413">0</cx:pt>
          <cx:pt idx="3414">0</cx:pt>
          <cx:pt idx="3415">0</cx:pt>
          <cx:pt idx="3416">0</cx:pt>
          <cx:pt idx="3417">0</cx:pt>
          <cx:pt idx="3418">0</cx:pt>
          <cx:pt idx="3419">0</cx:pt>
          <cx:pt idx="3420">0</cx:pt>
          <cx:pt idx="3421">0</cx:pt>
          <cx:pt idx="3422">0</cx:pt>
          <cx:pt idx="3423">0</cx:pt>
          <cx:pt idx="3424">0</cx:pt>
          <cx:pt idx="3425">0</cx:pt>
          <cx:pt idx="3426">0</cx:pt>
          <cx:pt idx="3427">0</cx:pt>
          <cx:pt idx="3428">0</cx:pt>
          <cx:pt idx="3429">0</cx:pt>
          <cx:pt idx="3430">0</cx:pt>
          <cx:pt idx="3431">0</cx:pt>
          <cx:pt idx="3432">0</cx:pt>
          <cx:pt idx="3433">0</cx:pt>
          <cx:pt idx="3434">0</cx:pt>
          <cx:pt idx="3435">0</cx:pt>
          <cx:pt idx="3436">0</cx:pt>
          <cx:pt idx="3437">0</cx:pt>
          <cx:pt idx="3438">0</cx:pt>
          <cx:pt idx="3439">0</cx:pt>
          <cx:pt idx="3440">0</cx:pt>
          <cx:pt idx="3441">0</cx:pt>
          <cx:pt idx="3442">0</cx:pt>
          <cx:pt idx="3443">0</cx:pt>
          <cx:pt idx="3444">0</cx:pt>
          <cx:pt idx="3445">0</cx:pt>
          <cx:pt idx="3446">0</cx:pt>
          <cx:pt idx="3447">0</cx:pt>
          <cx:pt idx="3448">0</cx:pt>
          <cx:pt idx="3449">0</cx:pt>
          <cx:pt idx="3450">0</cx:pt>
          <cx:pt idx="3451">0</cx:pt>
          <cx:pt idx="3452">0</cx:pt>
          <cx:pt idx="3453">0</cx:pt>
          <cx:pt idx="3454">0</cx:pt>
          <cx:pt idx="3455">0</cx:pt>
          <cx:pt idx="3456">0</cx:pt>
          <cx:pt idx="3457">0</cx:pt>
          <cx:pt idx="3458">0</cx:pt>
          <cx:pt idx="3459">0</cx:pt>
          <cx:pt idx="3460">0</cx:pt>
          <cx:pt idx="3461">0</cx:pt>
          <cx:pt idx="3462">0</cx:pt>
          <cx:pt idx="3463">0</cx:pt>
          <cx:pt idx="3464">0</cx:pt>
          <cx:pt idx="3465">0</cx:pt>
          <cx:pt idx="3466">0</cx:pt>
          <cx:pt idx="3467">0</cx:pt>
          <cx:pt idx="3468">0</cx:pt>
          <cx:pt idx="3469">0</cx:pt>
          <cx:pt idx="3470">0</cx:pt>
          <cx:pt idx="3471">0</cx:pt>
          <cx:pt idx="3472">0</cx:pt>
          <cx:pt idx="3473">0</cx:pt>
          <cx:pt idx="3474">0</cx:pt>
          <cx:pt idx="3475">0</cx:pt>
          <cx:pt idx="3476">0</cx:pt>
          <cx:pt idx="3477">0</cx:pt>
          <cx:pt idx="3478">0</cx:pt>
          <cx:pt idx="3479">0</cx:pt>
          <cx:pt idx="3480">0</cx:pt>
          <cx:pt idx="3481">0</cx:pt>
          <cx:pt idx="3482">0</cx:pt>
          <cx:pt idx="3483">0</cx:pt>
          <cx:pt idx="3484">0</cx:pt>
          <cx:pt idx="3485">0</cx:pt>
          <cx:pt idx="3486">0</cx:pt>
          <cx:pt idx="3487">0</cx:pt>
          <cx:pt idx="3488">0</cx:pt>
          <cx:pt idx="3489">0</cx:pt>
          <cx:pt idx="3490">0</cx:pt>
          <cx:pt idx="3491">0</cx:pt>
          <cx:pt idx="3492">0</cx:pt>
          <cx:pt idx="3493">0</cx:pt>
          <cx:pt idx="3494">0</cx:pt>
          <cx:pt idx="3495">0</cx:pt>
          <cx:pt idx="3496">0</cx:pt>
          <cx:pt idx="3497">0</cx:pt>
          <cx:pt idx="3498">0</cx:pt>
          <cx:pt idx="3499">0</cx:pt>
          <cx:pt idx="3500">0</cx:pt>
          <cx:pt idx="3501">0</cx:pt>
          <cx:pt idx="3502">0</cx:pt>
          <cx:pt idx="3503">0</cx:pt>
          <cx:pt idx="3504">0</cx:pt>
          <cx:pt idx="3505">0</cx:pt>
          <cx:pt idx="3506">0</cx:pt>
          <cx:pt idx="3507">0</cx:pt>
          <cx:pt idx="3508">0</cx:pt>
          <cx:pt idx="3509">0</cx:pt>
          <cx:pt idx="3510">0</cx:pt>
          <cx:pt idx="3511">0</cx:pt>
          <cx:pt idx="3512">0</cx:pt>
          <cx:pt idx="3513">0</cx:pt>
          <cx:pt idx="3514">0</cx:pt>
          <cx:pt idx="3515">0</cx:pt>
          <cx:pt idx="3516">0</cx:pt>
          <cx:pt idx="3517">0</cx:pt>
          <cx:pt idx="3518">0</cx:pt>
          <cx:pt idx="3519">0</cx:pt>
          <cx:pt idx="3520">0</cx:pt>
          <cx:pt idx="3521">0</cx:pt>
          <cx:pt idx="3522">0</cx:pt>
          <cx:pt idx="3523">0</cx:pt>
          <cx:pt idx="3524">0</cx:pt>
          <cx:pt idx="3525">0</cx:pt>
          <cx:pt idx="3526">0</cx:pt>
          <cx:pt idx="3527">0</cx:pt>
          <cx:pt idx="3528">0</cx:pt>
          <cx:pt idx="3529">0</cx:pt>
          <cx:pt idx="3530">0</cx:pt>
          <cx:pt idx="3531">0</cx:pt>
          <cx:pt idx="3532">0</cx:pt>
          <cx:pt idx="3533">0</cx:pt>
          <cx:pt idx="3534">0</cx:pt>
          <cx:pt idx="3535">0</cx:pt>
          <cx:pt idx="3536">0</cx:pt>
          <cx:pt idx="3537">0</cx:pt>
          <cx:pt idx="3538">0</cx:pt>
          <cx:pt idx="3539">0</cx:pt>
          <cx:pt idx="3540">0</cx:pt>
          <cx:pt idx="3541">0</cx:pt>
          <cx:pt idx="3542">0</cx:pt>
          <cx:pt idx="3543">0</cx:pt>
          <cx:pt idx="3544">0</cx:pt>
          <cx:pt idx="3545">0</cx:pt>
          <cx:pt idx="3546">0</cx:pt>
          <cx:pt idx="3547">0</cx:pt>
          <cx:pt idx="3548">0</cx:pt>
          <cx:pt idx="3549">0</cx:pt>
          <cx:pt idx="3550">0</cx:pt>
          <cx:pt idx="3551">0</cx:pt>
          <cx:pt idx="3552">0</cx:pt>
          <cx:pt idx="3553">0</cx:pt>
          <cx:pt idx="3554">0</cx:pt>
          <cx:pt idx="3555">0</cx:pt>
          <cx:pt idx="3556">0</cx:pt>
          <cx:pt idx="3557">0</cx:pt>
          <cx:pt idx="3558">0</cx:pt>
          <cx:pt idx="3559">0</cx:pt>
          <cx:pt idx="3560">0</cx:pt>
          <cx:pt idx="3561">0</cx:pt>
          <cx:pt idx="3562">0</cx:pt>
          <cx:pt idx="3563">0</cx:pt>
          <cx:pt idx="3564">0</cx:pt>
          <cx:pt idx="3565">0</cx:pt>
          <cx:pt idx="3566">0</cx:pt>
          <cx:pt idx="3567">0</cx:pt>
          <cx:pt idx="3568">0</cx:pt>
          <cx:pt idx="3569">0</cx:pt>
          <cx:pt idx="3570">0</cx:pt>
          <cx:pt idx="3571">0</cx:pt>
          <cx:pt idx="3572">0</cx:pt>
          <cx:pt idx="3573">0</cx:pt>
          <cx:pt idx="3574">0</cx:pt>
          <cx:pt idx="3575">0</cx:pt>
          <cx:pt idx="3576">0</cx:pt>
          <cx:pt idx="3577">0</cx:pt>
          <cx:pt idx="3578">0</cx:pt>
          <cx:pt idx="3579">0</cx:pt>
          <cx:pt idx="3580">0</cx:pt>
          <cx:pt idx="3581">0</cx:pt>
          <cx:pt idx="3582">0</cx:pt>
          <cx:pt idx="3583">0</cx:pt>
          <cx:pt idx="3584">0</cx:pt>
          <cx:pt idx="3585">0</cx:pt>
          <cx:pt idx="3586">0</cx:pt>
          <cx:pt idx="3587">0</cx:pt>
          <cx:pt idx="3588">0</cx:pt>
          <cx:pt idx="3589">0</cx:pt>
          <cx:pt idx="3590">0</cx:pt>
          <cx:pt idx="3591">0</cx:pt>
          <cx:pt idx="3592">0</cx:pt>
          <cx:pt idx="3593">0</cx:pt>
          <cx:pt idx="3594">0</cx:pt>
          <cx:pt idx="3595">0</cx:pt>
          <cx:pt idx="3596">0</cx:pt>
          <cx:pt idx="3597">0</cx:pt>
          <cx:pt idx="3598">0</cx:pt>
          <cx:pt idx="3599">0</cx:pt>
          <cx:pt idx="3600">0</cx:pt>
          <cx:pt idx="3601">0</cx:pt>
          <cx:pt idx="3602">0</cx:pt>
          <cx:pt idx="3603">0</cx:pt>
          <cx:pt idx="3604">0</cx:pt>
          <cx:pt idx="3605">0</cx:pt>
          <cx:pt idx="3606">0</cx:pt>
          <cx:pt idx="3607">0</cx:pt>
          <cx:pt idx="3608">0</cx:pt>
          <cx:pt idx="3609">0</cx:pt>
          <cx:pt idx="3610">0</cx:pt>
          <cx:pt idx="3611">0</cx:pt>
          <cx:pt idx="3612">0</cx:pt>
          <cx:pt idx="3613">0</cx:pt>
          <cx:pt idx="3614">0</cx:pt>
          <cx:pt idx="3615">0</cx:pt>
          <cx:pt idx="3616">0</cx:pt>
          <cx:pt idx="3617">0</cx:pt>
          <cx:pt idx="3618">0</cx:pt>
          <cx:pt idx="3619">0</cx:pt>
          <cx:pt idx="3620">0</cx:pt>
          <cx:pt idx="3621">0</cx:pt>
          <cx:pt idx="3622">0</cx:pt>
          <cx:pt idx="3623">0</cx:pt>
          <cx:pt idx="3624">0</cx:pt>
          <cx:pt idx="3625">0</cx:pt>
          <cx:pt idx="3626">0</cx:pt>
          <cx:pt idx="3627">0</cx:pt>
          <cx:pt idx="3628">0</cx:pt>
          <cx:pt idx="3629">0</cx:pt>
          <cx:pt idx="3630">0</cx:pt>
          <cx:pt idx="3631">0</cx:pt>
          <cx:pt idx="3632">0</cx:pt>
          <cx:pt idx="3633">0</cx:pt>
          <cx:pt idx="3634">0</cx:pt>
          <cx:pt idx="3635">0</cx:pt>
          <cx:pt idx="3636">0</cx:pt>
          <cx:pt idx="3637">0</cx:pt>
          <cx:pt idx="3638">0</cx:pt>
          <cx:pt idx="3639">0</cx:pt>
          <cx:pt idx="3640">0</cx:pt>
          <cx:pt idx="3641">0</cx:pt>
          <cx:pt idx="3642">0</cx:pt>
          <cx:pt idx="3643">0</cx:pt>
          <cx:pt idx="3644">0</cx:pt>
          <cx:pt idx="3645">0</cx:pt>
          <cx:pt idx="3646">0</cx:pt>
          <cx:pt idx="3647">0</cx:pt>
          <cx:pt idx="3648">0</cx:pt>
          <cx:pt idx="3649">0</cx:pt>
          <cx:pt idx="3650">0</cx:pt>
          <cx:pt idx="3651">0</cx:pt>
          <cx:pt idx="3652">0</cx:pt>
          <cx:pt idx="3653">0</cx:pt>
          <cx:pt idx="3654">0</cx:pt>
          <cx:pt idx="3655">0</cx:pt>
          <cx:pt idx="3656">0</cx:pt>
          <cx:pt idx="3657">0</cx:pt>
          <cx:pt idx="3658">0</cx:pt>
          <cx:pt idx="3659">0</cx:pt>
          <cx:pt idx="3660">0</cx:pt>
          <cx:pt idx="3661">0</cx:pt>
          <cx:pt idx="3662">0</cx:pt>
          <cx:pt idx="3663">0</cx:pt>
          <cx:pt idx="3664">0</cx:pt>
          <cx:pt idx="3665">0</cx:pt>
          <cx:pt idx="3666">0</cx:pt>
          <cx:pt idx="3667">0</cx:pt>
          <cx:pt idx="3668">0</cx:pt>
          <cx:pt idx="3669">0</cx:pt>
          <cx:pt idx="3670">0</cx:pt>
          <cx:pt idx="3671">0</cx:pt>
          <cx:pt idx="3672">0</cx:pt>
          <cx:pt idx="3673">0</cx:pt>
          <cx:pt idx="3674">0</cx:pt>
          <cx:pt idx="3675">0</cx:pt>
          <cx:pt idx="3676">0</cx:pt>
          <cx:pt idx="3677">0</cx:pt>
          <cx:pt idx="3678">0</cx:pt>
          <cx:pt idx="3679">0</cx:pt>
          <cx:pt idx="3680">0</cx:pt>
          <cx:pt idx="3681">0</cx:pt>
          <cx:pt idx="3682">0</cx:pt>
          <cx:pt idx="3683">0</cx:pt>
          <cx:pt idx="3684">0</cx:pt>
          <cx:pt idx="3685">0</cx:pt>
          <cx:pt idx="3686">0</cx:pt>
          <cx:pt idx="3687">0</cx:pt>
          <cx:pt idx="3688">0</cx:pt>
          <cx:pt idx="3689">0</cx:pt>
          <cx:pt idx="3690">0</cx:pt>
          <cx:pt idx="3691">0</cx:pt>
          <cx:pt idx="3692">0</cx:pt>
          <cx:pt idx="3693">0</cx:pt>
          <cx:pt idx="3694">0</cx:pt>
          <cx:pt idx="3695">0</cx:pt>
          <cx:pt idx="3696">0</cx:pt>
          <cx:pt idx="3697">0</cx:pt>
          <cx:pt idx="3698">0</cx:pt>
          <cx:pt idx="3699">0</cx:pt>
          <cx:pt idx="3700">0</cx:pt>
          <cx:pt idx="3701">0</cx:pt>
          <cx:pt idx="3702">0</cx:pt>
          <cx:pt idx="3703">0</cx:pt>
          <cx:pt idx="3704">0</cx:pt>
          <cx:pt idx="3705">0</cx:pt>
          <cx:pt idx="3706">0</cx:pt>
          <cx:pt idx="3707">0</cx:pt>
          <cx:pt idx="3708">0</cx:pt>
          <cx:pt idx="3709">0</cx:pt>
          <cx:pt idx="3710">0</cx:pt>
          <cx:pt idx="3711">0</cx:pt>
          <cx:pt idx="3712">0</cx:pt>
          <cx:pt idx="3713">0</cx:pt>
          <cx:pt idx="3714">0</cx:pt>
          <cx:pt idx="3715">0</cx:pt>
          <cx:pt idx="3716">0</cx:pt>
          <cx:pt idx="3717">0</cx:pt>
          <cx:pt idx="3718">0</cx:pt>
          <cx:pt idx="3719">0</cx:pt>
          <cx:pt idx="3720">0</cx:pt>
          <cx:pt idx="3721">0</cx:pt>
          <cx:pt idx="3722">0</cx:pt>
          <cx:pt idx="3723">0</cx:pt>
          <cx:pt idx="3724">0</cx:pt>
          <cx:pt idx="3725">0</cx:pt>
          <cx:pt idx="3726">0</cx:pt>
          <cx:pt idx="3727">0</cx:pt>
          <cx:pt idx="3728">0</cx:pt>
          <cx:pt idx="3729">0</cx:pt>
          <cx:pt idx="3730">0</cx:pt>
          <cx:pt idx="3731">0</cx:pt>
          <cx:pt idx="3732">0</cx:pt>
          <cx:pt idx="3733">0</cx:pt>
          <cx:pt idx="3734">0</cx:pt>
          <cx:pt idx="3735">0</cx:pt>
          <cx:pt idx="3736">0</cx:pt>
          <cx:pt idx="3737">0</cx:pt>
          <cx:pt idx="3738">0</cx:pt>
          <cx:pt idx="3739">0</cx:pt>
          <cx:pt idx="3740">0</cx:pt>
          <cx:pt idx="3741">0</cx:pt>
          <cx:pt idx="3742">0</cx:pt>
          <cx:pt idx="3743">0</cx:pt>
          <cx:pt idx="3744">0</cx:pt>
          <cx:pt idx="3745">0</cx:pt>
          <cx:pt idx="3746">0</cx:pt>
          <cx:pt idx="3747">0</cx:pt>
          <cx:pt idx="3748">0</cx:pt>
          <cx:pt idx="3749">0</cx:pt>
          <cx:pt idx="3750">0</cx:pt>
          <cx:pt idx="3751">0</cx:pt>
          <cx:pt idx="3752">0</cx:pt>
          <cx:pt idx="3753">0</cx:pt>
          <cx:pt idx="3754">0</cx:pt>
          <cx:pt idx="3755">0</cx:pt>
          <cx:pt idx="3756">0</cx:pt>
          <cx:pt idx="3757">0</cx:pt>
          <cx:pt idx="3758">0</cx:pt>
          <cx:pt idx="3759">0</cx:pt>
          <cx:pt idx="3760">0</cx:pt>
          <cx:pt idx="3761">0</cx:pt>
          <cx:pt idx="3762">0</cx:pt>
          <cx:pt idx="3763">0</cx:pt>
          <cx:pt idx="3764">0</cx:pt>
          <cx:pt idx="3765">0</cx:pt>
          <cx:pt idx="3766">0</cx:pt>
          <cx:pt idx="3767">0</cx:pt>
          <cx:pt idx="3768">0</cx:pt>
          <cx:pt idx="3769">0</cx:pt>
          <cx:pt idx="3770">0</cx:pt>
          <cx:pt idx="3771">0</cx:pt>
          <cx:pt idx="3772">0</cx:pt>
          <cx:pt idx="3773">0</cx:pt>
          <cx:pt idx="3774">0</cx:pt>
          <cx:pt idx="3775">0</cx:pt>
          <cx:pt idx="3776">0</cx:pt>
          <cx:pt idx="3777">0</cx:pt>
          <cx:pt idx="3778">0</cx:pt>
          <cx:pt idx="3779">0</cx:pt>
          <cx:pt idx="3780">0</cx:pt>
          <cx:pt idx="3781">0</cx:pt>
          <cx:pt idx="3782">0</cx:pt>
          <cx:pt idx="3783">0</cx:pt>
          <cx:pt idx="3784">0</cx:pt>
          <cx:pt idx="3785">0</cx:pt>
          <cx:pt idx="3786">0</cx:pt>
          <cx:pt idx="3787">0</cx:pt>
          <cx:pt idx="3788">0</cx:pt>
          <cx:pt idx="3789">0</cx:pt>
          <cx:pt idx="3790">0</cx:pt>
          <cx:pt idx="3791">0</cx:pt>
          <cx:pt idx="3792">0</cx:pt>
          <cx:pt idx="3793">0</cx:pt>
          <cx:pt idx="3794">0</cx:pt>
          <cx:pt idx="3795">0</cx:pt>
          <cx:pt idx="3796">0</cx:pt>
          <cx:pt idx="3797">0</cx:pt>
          <cx:pt idx="3798">0</cx:pt>
          <cx:pt idx="3799">0</cx:pt>
          <cx:pt idx="3800">0</cx:pt>
          <cx:pt idx="3801">0</cx:pt>
          <cx:pt idx="3802">0</cx:pt>
          <cx:pt idx="3803">0</cx:pt>
          <cx:pt idx="3804">0</cx:pt>
          <cx:pt idx="3805">0</cx:pt>
          <cx:pt idx="3806">0</cx:pt>
          <cx:pt idx="3807">0</cx:pt>
          <cx:pt idx="3808">0</cx:pt>
          <cx:pt idx="3809">0</cx:pt>
          <cx:pt idx="3810">0</cx:pt>
          <cx:pt idx="3811">0</cx:pt>
          <cx:pt idx="3812">0</cx:pt>
          <cx:pt idx="3813">0</cx:pt>
          <cx:pt idx="3814">0</cx:pt>
          <cx:pt idx="3815">0</cx:pt>
          <cx:pt idx="3816">0</cx:pt>
          <cx:pt idx="3817">0</cx:pt>
          <cx:pt idx="3818">0</cx:pt>
          <cx:pt idx="3819">0</cx:pt>
          <cx:pt idx="3820">0</cx:pt>
          <cx:pt idx="3821">0</cx:pt>
          <cx:pt idx="3822">0</cx:pt>
          <cx:pt idx="3823">0</cx:pt>
          <cx:pt idx="3824">0</cx:pt>
          <cx:pt idx="3825">0</cx:pt>
          <cx:pt idx="3826">0</cx:pt>
          <cx:pt idx="3827">0</cx:pt>
          <cx:pt idx="3828">0</cx:pt>
          <cx:pt idx="3829">0</cx:pt>
          <cx:pt idx="3830">0</cx:pt>
          <cx:pt idx="3831">0</cx:pt>
          <cx:pt idx="3832">0</cx:pt>
          <cx:pt idx="3833">0</cx:pt>
          <cx:pt idx="3834">0</cx:pt>
          <cx:pt idx="3835">0</cx:pt>
          <cx:pt idx="3836">0</cx:pt>
          <cx:pt idx="3837">0</cx:pt>
          <cx:pt idx="3838">0</cx:pt>
          <cx:pt idx="3839">0</cx:pt>
          <cx:pt idx="3840">0</cx:pt>
          <cx:pt idx="3841">0</cx:pt>
          <cx:pt idx="3842">0</cx:pt>
          <cx:pt idx="3843">0</cx:pt>
          <cx:pt idx="3844">0</cx:pt>
          <cx:pt idx="3845">0</cx:pt>
          <cx:pt idx="3846">0</cx:pt>
          <cx:pt idx="3847">0</cx:pt>
          <cx:pt idx="3848">0</cx:pt>
          <cx:pt idx="3849">0</cx:pt>
          <cx:pt idx="3850">0</cx:pt>
          <cx:pt idx="3851">0</cx:pt>
          <cx:pt idx="3852">0</cx:pt>
          <cx:pt idx="3853">0</cx:pt>
          <cx:pt idx="3854">0</cx:pt>
          <cx:pt idx="3855">0</cx:pt>
          <cx:pt idx="3856">0</cx:pt>
          <cx:pt idx="3857">0</cx:pt>
          <cx:pt idx="3858">0</cx:pt>
          <cx:pt idx="3859">0</cx:pt>
          <cx:pt idx="3860">0</cx:pt>
          <cx:pt idx="3861">0</cx:pt>
          <cx:pt idx="3862">0</cx:pt>
          <cx:pt idx="3863">0</cx:pt>
          <cx:pt idx="3864">0</cx:pt>
          <cx:pt idx="3865">0</cx:pt>
          <cx:pt idx="3866">0</cx:pt>
          <cx:pt idx="3867">0</cx:pt>
          <cx:pt idx="3868">0</cx:pt>
          <cx:pt idx="3869">0</cx:pt>
          <cx:pt idx="3870">0</cx:pt>
          <cx:pt idx="3871">0</cx:pt>
          <cx:pt idx="3872">0</cx:pt>
          <cx:pt idx="3873">0</cx:pt>
          <cx:pt idx="3874">0</cx:pt>
          <cx:pt idx="3875">0</cx:pt>
          <cx:pt idx="3876">0</cx:pt>
          <cx:pt idx="3877">0</cx:pt>
          <cx:pt idx="3878">0</cx:pt>
          <cx:pt idx="3879">0</cx:pt>
          <cx:pt idx="3880">0</cx:pt>
          <cx:pt idx="3881">0</cx:pt>
          <cx:pt idx="3882">0</cx:pt>
          <cx:pt idx="3883">0</cx:pt>
          <cx:pt idx="3884">0</cx:pt>
          <cx:pt idx="3885">0</cx:pt>
          <cx:pt idx="3886">0</cx:pt>
          <cx:pt idx="3887">0</cx:pt>
          <cx:pt idx="3888">0</cx:pt>
          <cx:pt idx="3889">0</cx:pt>
          <cx:pt idx="3890">0</cx:pt>
          <cx:pt idx="3891">0</cx:pt>
          <cx:pt idx="3892">0</cx:pt>
          <cx:pt idx="3893">0</cx:pt>
          <cx:pt idx="3894">0</cx:pt>
          <cx:pt idx="3895">0</cx:pt>
          <cx:pt idx="3896">0</cx:pt>
          <cx:pt idx="3897">0</cx:pt>
          <cx:pt idx="3898">0</cx:pt>
          <cx:pt idx="3899">0</cx:pt>
          <cx:pt idx="3900">0</cx:pt>
          <cx:pt idx="3901">0</cx:pt>
          <cx:pt idx="3902">0</cx:pt>
          <cx:pt idx="3903">0</cx:pt>
          <cx:pt idx="3904">0</cx:pt>
          <cx:pt idx="3905">0</cx:pt>
          <cx:pt idx="3906">0</cx:pt>
          <cx:pt idx="3907">0</cx:pt>
          <cx:pt idx="3908">0</cx:pt>
          <cx:pt idx="3909">0</cx:pt>
          <cx:pt idx="3910">0</cx:pt>
          <cx:pt idx="3911">0</cx:pt>
          <cx:pt idx="3912">0</cx:pt>
          <cx:pt idx="3913">0</cx:pt>
          <cx:pt idx="3914">0</cx:pt>
          <cx:pt idx="3915">0</cx:pt>
          <cx:pt idx="3916">0</cx:pt>
          <cx:pt idx="3917">0</cx:pt>
          <cx:pt idx="3918">0</cx:pt>
          <cx:pt idx="3919">0</cx:pt>
          <cx:pt idx="3920">0</cx:pt>
          <cx:pt idx="3921">0</cx:pt>
          <cx:pt idx="3922">0</cx:pt>
          <cx:pt idx="3923">0</cx:pt>
          <cx:pt idx="3924">0</cx:pt>
          <cx:pt idx="3925">0</cx:pt>
          <cx:pt idx="3926">0</cx:pt>
          <cx:pt idx="3927">0</cx:pt>
          <cx:pt idx="3928">0</cx:pt>
          <cx:pt idx="3929">0</cx:pt>
          <cx:pt idx="3930">0</cx:pt>
          <cx:pt idx="3931">0</cx:pt>
          <cx:pt idx="3932">0</cx:pt>
          <cx:pt idx="3933">0</cx:pt>
          <cx:pt idx="3934">0</cx:pt>
          <cx:pt idx="3935">0</cx:pt>
          <cx:pt idx="3936">0</cx:pt>
          <cx:pt idx="3937">0</cx:pt>
          <cx:pt idx="3938">0</cx:pt>
          <cx:pt idx="3939">0</cx:pt>
          <cx:pt idx="3940">0</cx:pt>
          <cx:pt idx="3941">0</cx:pt>
          <cx:pt idx="3942">0</cx:pt>
          <cx:pt idx="3943">0</cx:pt>
          <cx:pt idx="3944">0</cx:pt>
          <cx:pt idx="3945">0</cx:pt>
          <cx:pt idx="3946">0</cx:pt>
          <cx:pt idx="3947">0</cx:pt>
          <cx:pt idx="3948">0</cx:pt>
          <cx:pt idx="3949">0</cx:pt>
          <cx:pt idx="3950">0</cx:pt>
          <cx:pt idx="3951">0</cx:pt>
          <cx:pt idx="3952">0</cx:pt>
          <cx:pt idx="3953">0</cx:pt>
          <cx:pt idx="3954">0</cx:pt>
          <cx:pt idx="3955">0</cx:pt>
          <cx:pt idx="3956">0</cx:pt>
          <cx:pt idx="3957">0</cx:pt>
          <cx:pt idx="3958">0</cx:pt>
          <cx:pt idx="3959">0</cx:pt>
          <cx:pt idx="3960">0</cx:pt>
          <cx:pt idx="3961">0</cx:pt>
          <cx:pt idx="3962">0</cx:pt>
          <cx:pt idx="3963">0</cx:pt>
          <cx:pt idx="3964">0</cx:pt>
          <cx:pt idx="3965">0</cx:pt>
          <cx:pt idx="3966">0</cx:pt>
          <cx:pt idx="3967">0</cx:pt>
          <cx:pt idx="3968">0</cx:pt>
          <cx:pt idx="3969">0</cx:pt>
          <cx:pt idx="3970">0</cx:pt>
          <cx:pt idx="3971">0</cx:pt>
          <cx:pt idx="3972">0</cx:pt>
          <cx:pt idx="3973">0</cx:pt>
          <cx:pt idx="3974">0</cx:pt>
          <cx:pt idx="3975">0</cx:pt>
          <cx:pt idx="3976">0</cx:pt>
          <cx:pt idx="3977">0</cx:pt>
          <cx:pt idx="3978">0</cx:pt>
          <cx:pt idx="3979">0</cx:pt>
          <cx:pt idx="3980">0</cx:pt>
          <cx:pt idx="3981">0</cx:pt>
          <cx:pt idx="3982">0</cx:pt>
          <cx:pt idx="3983">0</cx:pt>
          <cx:pt idx="3984">0</cx:pt>
          <cx:pt idx="3985">0</cx:pt>
          <cx:pt idx="3986">0</cx:pt>
          <cx:pt idx="3987">0</cx:pt>
          <cx:pt idx="3988">0</cx:pt>
          <cx:pt idx="3989">0</cx:pt>
          <cx:pt idx="3990">0</cx:pt>
          <cx:pt idx="3991">0</cx:pt>
          <cx:pt idx="3992">0</cx:pt>
          <cx:pt idx="3993">0</cx:pt>
          <cx:pt idx="3994">0</cx:pt>
          <cx:pt idx="3995">0</cx:pt>
          <cx:pt idx="3996">0</cx:pt>
          <cx:pt idx="3997">0</cx:pt>
          <cx:pt idx="3998">0</cx:pt>
          <cx:pt idx="3999">0</cx:pt>
          <cx:pt idx="4000">0</cx:pt>
          <cx:pt idx="4001">0</cx:pt>
          <cx:pt idx="4002">0</cx:pt>
          <cx:pt idx="4003">0</cx:pt>
          <cx:pt idx="4004">0</cx:pt>
          <cx:pt idx="4005">0</cx:pt>
          <cx:pt idx="4006">0</cx:pt>
          <cx:pt idx="4007">0</cx:pt>
          <cx:pt idx="4008">0</cx:pt>
          <cx:pt idx="4009">0</cx:pt>
          <cx:pt idx="4010">0</cx:pt>
          <cx:pt idx="4011">0</cx:pt>
          <cx:pt idx="4012">0</cx:pt>
          <cx:pt idx="4013">0</cx:pt>
          <cx:pt idx="4014">0</cx:pt>
          <cx:pt idx="4015">0</cx:pt>
          <cx:pt idx="4016">0</cx:pt>
          <cx:pt idx="4017">0</cx:pt>
          <cx:pt idx="4018">0</cx:pt>
          <cx:pt idx="4019">0</cx:pt>
          <cx:pt idx="4020">0</cx:pt>
          <cx:pt idx="4021">0</cx:pt>
          <cx:pt idx="4022">0</cx:pt>
          <cx:pt idx="4023">0</cx:pt>
          <cx:pt idx="4024">0</cx:pt>
          <cx:pt idx="4025">0</cx:pt>
          <cx:pt idx="4026">0</cx:pt>
          <cx:pt idx="4027">0</cx:pt>
          <cx:pt idx="4028">0</cx:pt>
          <cx:pt idx="4029">0</cx:pt>
          <cx:pt idx="4030">0</cx:pt>
          <cx:pt idx="4031">0</cx:pt>
          <cx:pt idx="4032">0</cx:pt>
          <cx:pt idx="4033">0</cx:pt>
          <cx:pt idx="4034">0</cx:pt>
          <cx:pt idx="4035">0</cx:pt>
          <cx:pt idx="4036">0</cx:pt>
          <cx:pt idx="4037">0</cx:pt>
          <cx:pt idx="4038">0</cx:pt>
          <cx:pt idx="4039">0</cx:pt>
          <cx:pt idx="4040">0</cx:pt>
          <cx:pt idx="4041">0</cx:pt>
          <cx:pt idx="4042">0</cx:pt>
          <cx:pt idx="4043">0</cx:pt>
          <cx:pt idx="4044">0</cx:pt>
          <cx:pt idx="4045">0</cx:pt>
          <cx:pt idx="4046">0</cx:pt>
          <cx:pt idx="4047">0</cx:pt>
          <cx:pt idx="4048">0</cx:pt>
          <cx:pt idx="4049">0</cx:pt>
          <cx:pt idx="4050">0</cx:pt>
          <cx:pt idx="4051">0</cx:pt>
          <cx:pt idx="4052">0</cx:pt>
          <cx:pt idx="4053">0</cx:pt>
          <cx:pt idx="4054">0</cx:pt>
          <cx:pt idx="4055">0</cx:pt>
          <cx:pt idx="4056">0</cx:pt>
          <cx:pt idx="4057">0</cx:pt>
          <cx:pt idx="4058">0</cx:pt>
          <cx:pt idx="4059">0</cx:pt>
          <cx:pt idx="4060">0</cx:pt>
          <cx:pt idx="4061">0</cx:pt>
          <cx:pt idx="4062">0</cx:pt>
          <cx:pt idx="4063">0</cx:pt>
          <cx:pt idx="4064">0</cx:pt>
          <cx:pt idx="4065">0</cx:pt>
          <cx:pt idx="4066">0</cx:pt>
          <cx:pt idx="4067">0</cx:pt>
          <cx:pt idx="4068">0</cx:pt>
          <cx:pt idx="4069">0</cx:pt>
          <cx:pt idx="4070">0</cx:pt>
          <cx:pt idx="4071">0</cx:pt>
          <cx:pt idx="4072">0</cx:pt>
          <cx:pt idx="4073">0</cx:pt>
          <cx:pt idx="4074">0</cx:pt>
          <cx:pt idx="4075">0</cx:pt>
          <cx:pt idx="4076">0</cx:pt>
          <cx:pt idx="4077">0</cx:pt>
          <cx:pt idx="4078">0</cx:pt>
          <cx:pt idx="4079">0</cx:pt>
          <cx:pt idx="4080">0</cx:pt>
          <cx:pt idx="4081">0</cx:pt>
          <cx:pt idx="4082">0</cx:pt>
          <cx:pt idx="4083">0</cx:pt>
          <cx:pt idx="4084">0</cx:pt>
          <cx:pt idx="4085">0</cx:pt>
          <cx:pt idx="4086">0</cx:pt>
          <cx:pt idx="4087">0</cx:pt>
          <cx:pt idx="4088">0</cx:pt>
          <cx:pt idx="4089">0</cx:pt>
          <cx:pt idx="4090">0</cx:pt>
          <cx:pt idx="4091">0</cx:pt>
          <cx:pt idx="4092">0</cx:pt>
          <cx:pt idx="4093">0</cx:pt>
          <cx:pt idx="4094">0</cx:pt>
          <cx:pt idx="4095">0</cx:pt>
          <cx:pt idx="4096">0</cx:pt>
          <cx:pt idx="4097">0</cx:pt>
          <cx:pt idx="4098">0</cx:pt>
          <cx:pt idx="4099">0</cx:pt>
          <cx:pt idx="4100">0</cx:pt>
          <cx:pt idx="4101">0</cx:pt>
          <cx:pt idx="4102">0</cx:pt>
          <cx:pt idx="4103">0</cx:pt>
          <cx:pt idx="4104">0</cx:pt>
          <cx:pt idx="4105">0</cx:pt>
          <cx:pt idx="4106">0</cx:pt>
          <cx:pt idx="4107">0</cx:pt>
          <cx:pt idx="4108">0</cx:pt>
          <cx:pt idx="4109">0</cx:pt>
          <cx:pt idx="4110">0</cx:pt>
          <cx:pt idx="4111">0</cx:pt>
          <cx:pt idx="4112">0</cx:pt>
          <cx:pt idx="4113">0</cx:pt>
          <cx:pt idx="4114">0</cx:pt>
          <cx:pt idx="4115">0</cx:pt>
          <cx:pt idx="4116">0</cx:pt>
          <cx:pt idx="4117">0</cx:pt>
          <cx:pt idx="4118">0</cx:pt>
          <cx:pt idx="4119">0</cx:pt>
          <cx:pt idx="4120">0</cx:pt>
          <cx:pt idx="4121">0</cx:pt>
          <cx:pt idx="4122">0</cx:pt>
          <cx:pt idx="4123">0</cx:pt>
          <cx:pt idx="4124">0</cx:pt>
          <cx:pt idx="4125">0</cx:pt>
          <cx:pt idx="4126">0</cx:pt>
          <cx:pt idx="4127">0</cx:pt>
          <cx:pt idx="4128">0</cx:pt>
          <cx:pt idx="4129">0</cx:pt>
          <cx:pt idx="4130">0</cx:pt>
          <cx:pt idx="4131">0</cx:pt>
          <cx:pt idx="4132">0</cx:pt>
          <cx:pt idx="4133">0</cx:pt>
          <cx:pt idx="4134">0</cx:pt>
          <cx:pt idx="4135">0</cx:pt>
          <cx:pt idx="4136">0</cx:pt>
          <cx:pt idx="4137">0</cx:pt>
          <cx:pt idx="4138">0</cx:pt>
          <cx:pt idx="4139">0</cx:pt>
          <cx:pt idx="4140">0</cx:pt>
          <cx:pt idx="4141">0</cx:pt>
          <cx:pt idx="4142">0</cx:pt>
          <cx:pt idx="4143">0</cx:pt>
          <cx:pt idx="4144">0</cx:pt>
          <cx:pt idx="4145">0</cx:pt>
          <cx:pt idx="4146">0</cx:pt>
          <cx:pt idx="4147">0</cx:pt>
          <cx:pt idx="4148">0</cx:pt>
          <cx:pt idx="4149">0</cx:pt>
          <cx:pt idx="4150">0</cx:pt>
          <cx:pt idx="4151">0</cx:pt>
          <cx:pt idx="4152">0</cx:pt>
          <cx:pt idx="4153">0</cx:pt>
          <cx:pt idx="4154">0</cx:pt>
          <cx:pt idx="4155">0</cx:pt>
          <cx:pt idx="4156">0</cx:pt>
          <cx:pt idx="4157">0</cx:pt>
          <cx:pt idx="4158">0</cx:pt>
          <cx:pt idx="4159">0</cx:pt>
          <cx:pt idx="4160">0</cx:pt>
          <cx:pt idx="4161">0</cx:pt>
          <cx:pt idx="4162">0</cx:pt>
          <cx:pt idx="4163">0</cx:pt>
          <cx:pt idx="4164">0</cx:pt>
          <cx:pt idx="4165">0</cx:pt>
          <cx:pt idx="4166">0</cx:pt>
          <cx:pt idx="4167">0</cx:pt>
          <cx:pt idx="4168">0</cx:pt>
          <cx:pt idx="4169">0</cx:pt>
          <cx:pt idx="4170">0</cx:pt>
          <cx:pt idx="4171">0</cx:pt>
          <cx:pt idx="4172">0</cx:pt>
          <cx:pt idx="4173">0</cx:pt>
          <cx:pt idx="4174">0</cx:pt>
          <cx:pt idx="4175">0</cx:pt>
          <cx:pt idx="4176">0</cx:pt>
          <cx:pt idx="4177">0</cx:pt>
          <cx:pt idx="4178">0</cx:pt>
          <cx:pt idx="4179">0</cx:pt>
          <cx:pt idx="4180">0</cx:pt>
          <cx:pt idx="4181">0</cx:pt>
          <cx:pt idx="4182">0</cx:pt>
          <cx:pt idx="4183">0</cx:pt>
          <cx:pt idx="4184">0</cx:pt>
          <cx:pt idx="4185">0</cx:pt>
          <cx:pt idx="4186">0</cx:pt>
          <cx:pt idx="4187">0</cx:pt>
          <cx:pt idx="4188">0</cx:pt>
          <cx:pt idx="4189">0</cx:pt>
          <cx:pt idx="4190">0</cx:pt>
          <cx:pt idx="4191">0</cx:pt>
          <cx:pt idx="4192">0</cx:pt>
          <cx:pt idx="4193">0</cx:pt>
          <cx:pt idx="4194">0</cx:pt>
          <cx:pt idx="4195">0</cx:pt>
          <cx:pt idx="4196">0</cx:pt>
          <cx:pt idx="4197">0</cx:pt>
          <cx:pt idx="4198">0</cx:pt>
          <cx:pt idx="4199">0</cx:pt>
          <cx:pt idx="4200">0</cx:pt>
          <cx:pt idx="4201">0</cx:pt>
          <cx:pt idx="4202">0</cx:pt>
          <cx:pt idx="4203">0</cx:pt>
          <cx:pt idx="4204">0</cx:pt>
          <cx:pt idx="4205">0</cx:pt>
          <cx:pt idx="4206">0</cx:pt>
          <cx:pt idx="4207">0</cx:pt>
          <cx:pt idx="4208">0</cx:pt>
          <cx:pt idx="4209">0</cx:pt>
          <cx:pt idx="4210">0</cx:pt>
          <cx:pt idx="4211">0</cx:pt>
          <cx:pt idx="4212">0</cx:pt>
          <cx:pt idx="4213">0</cx:pt>
          <cx:pt idx="4214">0</cx:pt>
          <cx:pt idx="4215">0</cx:pt>
          <cx:pt idx="4216">0</cx:pt>
          <cx:pt idx="4217">0</cx:pt>
          <cx:pt idx="4218">0</cx:pt>
          <cx:pt idx="4219">0</cx:pt>
          <cx:pt idx="4220">0</cx:pt>
          <cx:pt idx="4221">0</cx:pt>
          <cx:pt idx="4222">0</cx:pt>
          <cx:pt idx="4223">0</cx:pt>
          <cx:pt idx="4224">0</cx:pt>
          <cx:pt idx="4225">0</cx:pt>
          <cx:pt idx="4226">0</cx:pt>
          <cx:pt idx="4227">0</cx:pt>
          <cx:pt idx="4228">0</cx:pt>
          <cx:pt idx="4229">0</cx:pt>
          <cx:pt idx="4230">0</cx:pt>
          <cx:pt idx="4231">0</cx:pt>
          <cx:pt idx="4232">0</cx:pt>
          <cx:pt idx="4233">0</cx:pt>
          <cx:pt idx="4234">0</cx:pt>
          <cx:pt idx="4235">0</cx:pt>
          <cx:pt idx="4236">0</cx:pt>
          <cx:pt idx="4237">0</cx:pt>
          <cx:pt idx="4238">0</cx:pt>
          <cx:pt idx="4239">0</cx:pt>
          <cx:pt idx="4240">0</cx:pt>
          <cx:pt idx="4241">0</cx:pt>
          <cx:pt idx="4242">0</cx:pt>
          <cx:pt idx="4243">0</cx:pt>
          <cx:pt idx="4244">0</cx:pt>
          <cx:pt idx="4245">0</cx:pt>
          <cx:pt idx="4246">0</cx:pt>
          <cx:pt idx="4247">0</cx:pt>
          <cx:pt idx="4248">0</cx:pt>
          <cx:pt idx="4249">0</cx:pt>
          <cx:pt idx="4250">0</cx:pt>
          <cx:pt idx="4251">0</cx:pt>
          <cx:pt idx="4252">0</cx:pt>
          <cx:pt idx="4253">0</cx:pt>
          <cx:pt idx="4254">0</cx:pt>
          <cx:pt idx="4255">0</cx:pt>
          <cx:pt idx="4256">0</cx:pt>
          <cx:pt idx="4257">0</cx:pt>
          <cx:pt idx="4258">0</cx:pt>
          <cx:pt idx="4259">0</cx:pt>
          <cx:pt idx="4260">0</cx:pt>
          <cx:pt idx="4261">0</cx:pt>
          <cx:pt idx="4262">0</cx:pt>
          <cx:pt idx="4263">0</cx:pt>
          <cx:pt idx="4264">0</cx:pt>
          <cx:pt idx="4265">0</cx:pt>
          <cx:pt idx="4266">0</cx:pt>
          <cx:pt idx="4267">0</cx:pt>
          <cx:pt idx="4268">0</cx:pt>
          <cx:pt idx="4269">0</cx:pt>
          <cx:pt idx="4270">0</cx:pt>
          <cx:pt idx="4271">0</cx:pt>
          <cx:pt idx="4272">0</cx:pt>
          <cx:pt idx="4273">0</cx:pt>
          <cx:pt idx="4274">0</cx:pt>
          <cx:pt idx="4275">0</cx:pt>
          <cx:pt idx="4276">0</cx:pt>
          <cx:pt idx="4277">0</cx:pt>
          <cx:pt idx="4278">0</cx:pt>
          <cx:pt idx="4279">0</cx:pt>
          <cx:pt idx="4280">0</cx:pt>
          <cx:pt idx="4281">0</cx:pt>
          <cx:pt idx="4282">0</cx:pt>
          <cx:pt idx="4283">0</cx:pt>
          <cx:pt idx="4284">0</cx:pt>
          <cx:pt idx="4285">0</cx:pt>
          <cx:pt idx="4286">0</cx:pt>
          <cx:pt idx="4287">0</cx:pt>
          <cx:pt idx="4288">0</cx:pt>
          <cx:pt idx="4289">0</cx:pt>
          <cx:pt idx="4290">0</cx:pt>
          <cx:pt idx="4291">0</cx:pt>
          <cx:pt idx="4292">0</cx:pt>
          <cx:pt idx="4293">0</cx:pt>
          <cx:pt idx="4294">0</cx:pt>
          <cx:pt idx="4295">0</cx:pt>
          <cx:pt idx="4296">0</cx:pt>
          <cx:pt idx="4297">0</cx:pt>
          <cx:pt idx="4298">0</cx:pt>
          <cx:pt idx="4299">0</cx:pt>
          <cx:pt idx="4300">0</cx:pt>
          <cx:pt idx="4301">0</cx:pt>
          <cx:pt idx="4302">0</cx:pt>
          <cx:pt idx="4303">0</cx:pt>
          <cx:pt idx="4304">0</cx:pt>
          <cx:pt idx="4305">0</cx:pt>
          <cx:pt idx="4306">0</cx:pt>
          <cx:pt idx="4307">0</cx:pt>
          <cx:pt idx="4308">0</cx:pt>
          <cx:pt idx="4309">0</cx:pt>
          <cx:pt idx="4310">0</cx:pt>
          <cx:pt idx="4311">0</cx:pt>
          <cx:pt idx="4312">0</cx:pt>
          <cx:pt idx="4313">0</cx:pt>
          <cx:pt idx="4314">0</cx:pt>
          <cx:pt idx="4315">0</cx:pt>
          <cx:pt idx="4316">0</cx:pt>
          <cx:pt idx="4317">0</cx:pt>
          <cx:pt idx="4318">0</cx:pt>
          <cx:pt idx="4319">0</cx:pt>
          <cx:pt idx="4320">0</cx:pt>
          <cx:pt idx="4321">0</cx:pt>
          <cx:pt idx="4322">0</cx:pt>
          <cx:pt idx="4323">0</cx:pt>
          <cx:pt idx="4324">0</cx:pt>
          <cx:pt idx="4325">0</cx:pt>
          <cx:pt idx="4326">0</cx:pt>
          <cx:pt idx="4327">0</cx:pt>
          <cx:pt idx="4328">0</cx:pt>
          <cx:pt idx="4329">0</cx:pt>
          <cx:pt idx="4330">0</cx:pt>
          <cx:pt idx="4331">0</cx:pt>
          <cx:pt idx="4332">0</cx:pt>
          <cx:pt idx="4333">0</cx:pt>
          <cx:pt idx="4334">0</cx:pt>
          <cx:pt idx="4335">0</cx:pt>
          <cx:pt idx="4336">0</cx:pt>
          <cx:pt idx="4337">0</cx:pt>
          <cx:pt idx="4338">0</cx:pt>
          <cx:pt idx="4339">0</cx:pt>
          <cx:pt idx="4340">0</cx:pt>
          <cx:pt idx="4341">0</cx:pt>
          <cx:pt idx="4342">0</cx:pt>
          <cx:pt idx="4343">0</cx:pt>
          <cx:pt idx="4344">0</cx:pt>
          <cx:pt idx="4345">0</cx:pt>
          <cx:pt idx="4346">0</cx:pt>
          <cx:pt idx="4347">0</cx:pt>
          <cx:pt idx="4348">0</cx:pt>
          <cx:pt idx="4349">0</cx:pt>
          <cx:pt idx="4350">0</cx:pt>
          <cx:pt idx="4351">0</cx:pt>
          <cx:pt idx="4352">0</cx:pt>
          <cx:pt idx="4353">0</cx:pt>
          <cx:pt idx="4354">0</cx:pt>
          <cx:pt idx="4355">0</cx:pt>
          <cx:pt idx="4356">0</cx:pt>
          <cx:pt idx="4357">0</cx:pt>
          <cx:pt idx="4358">0</cx:pt>
          <cx:pt idx="4359">0</cx:pt>
          <cx:pt idx="4360">0</cx:pt>
          <cx:pt idx="4361">0</cx:pt>
          <cx:pt idx="4362">0</cx:pt>
          <cx:pt idx="4363">0</cx:pt>
          <cx:pt idx="4364">0</cx:pt>
          <cx:pt idx="4365">0</cx:pt>
          <cx:pt idx="4366">0</cx:pt>
          <cx:pt idx="4367">0</cx:pt>
          <cx:pt idx="4368">0</cx:pt>
          <cx:pt idx="4369">0</cx:pt>
          <cx:pt idx="4370">0</cx:pt>
          <cx:pt idx="4371">0</cx:pt>
          <cx:pt idx="4372">0</cx:pt>
          <cx:pt idx="4373">0</cx:pt>
          <cx:pt idx="4374">0</cx:pt>
          <cx:pt idx="4375">0</cx:pt>
          <cx:pt idx="4376">0</cx:pt>
          <cx:pt idx="4377">0</cx:pt>
          <cx:pt idx="4378">0</cx:pt>
          <cx:pt idx="4379">0</cx:pt>
          <cx:pt idx="4380">0</cx:pt>
          <cx:pt idx="4381">0</cx:pt>
          <cx:pt idx="4382">0</cx:pt>
          <cx:pt idx="4383">0</cx:pt>
          <cx:pt idx="4384">0</cx:pt>
          <cx:pt idx="4385">0</cx:pt>
          <cx:pt idx="4386">0</cx:pt>
          <cx:pt idx="4387">0</cx:pt>
          <cx:pt idx="4388">0</cx:pt>
          <cx:pt idx="4389">0</cx:pt>
          <cx:pt idx="4390">0</cx:pt>
          <cx:pt idx="4391">0</cx:pt>
          <cx:pt idx="4392">0</cx:pt>
          <cx:pt idx="4393">0</cx:pt>
          <cx:pt idx="4394">0</cx:pt>
          <cx:pt idx="4395">0</cx:pt>
          <cx:pt idx="4396">0</cx:pt>
          <cx:pt idx="4397">0</cx:pt>
          <cx:pt idx="4398">0</cx:pt>
          <cx:pt idx="4399">0</cx:pt>
          <cx:pt idx="4400">0</cx:pt>
          <cx:pt idx="4401">0</cx:pt>
          <cx:pt idx="4402">0</cx:pt>
          <cx:pt idx="4403">0</cx:pt>
          <cx:pt idx="4404">0</cx:pt>
          <cx:pt idx="4405">0</cx:pt>
          <cx:pt idx="4406">0</cx:pt>
          <cx:pt idx="4407">0</cx:pt>
          <cx:pt idx="4408">0</cx:pt>
          <cx:pt idx="4409">0</cx:pt>
          <cx:pt idx="4410">0</cx:pt>
          <cx:pt idx="4411">0</cx:pt>
          <cx:pt idx="4412">0</cx:pt>
          <cx:pt idx="4413">0</cx:pt>
          <cx:pt idx="4414">0</cx:pt>
          <cx:pt idx="4415">0</cx:pt>
          <cx:pt idx="4416">0</cx:pt>
          <cx:pt idx="4417">0</cx:pt>
          <cx:pt idx="4418">0</cx:pt>
          <cx:pt idx="4419">0</cx:pt>
          <cx:pt idx="4420">0</cx:pt>
          <cx:pt idx="4421">0</cx:pt>
          <cx:pt idx="4422">0</cx:pt>
          <cx:pt idx="4423">0</cx:pt>
          <cx:pt idx="4424">0</cx:pt>
          <cx:pt idx="4425">0</cx:pt>
          <cx:pt idx="4426">0</cx:pt>
          <cx:pt idx="4427">0</cx:pt>
          <cx:pt idx="4428">0</cx:pt>
          <cx:pt idx="4429">0</cx:pt>
          <cx:pt idx="4430">0</cx:pt>
          <cx:pt idx="4431">0</cx:pt>
          <cx:pt idx="4432">0</cx:pt>
          <cx:pt idx="4433">0</cx:pt>
          <cx:pt idx="4434">0</cx:pt>
          <cx:pt idx="4435">0</cx:pt>
          <cx:pt idx="4436">0</cx:pt>
          <cx:pt idx="4437">0</cx:pt>
          <cx:pt idx="4438">0</cx:pt>
          <cx:pt idx="4439">0</cx:pt>
          <cx:pt idx="4440">0</cx:pt>
          <cx:pt idx="4441">0</cx:pt>
          <cx:pt idx="4442">0</cx:pt>
          <cx:pt idx="4443">0</cx:pt>
          <cx:pt idx="4444">0</cx:pt>
          <cx:pt idx="4445">0</cx:pt>
          <cx:pt idx="4446">0</cx:pt>
          <cx:pt idx="4447">0</cx:pt>
          <cx:pt idx="4448">0</cx:pt>
          <cx:pt idx="4449">0</cx:pt>
          <cx:pt idx="4450">0</cx:pt>
          <cx:pt idx="4451">0</cx:pt>
          <cx:pt idx="4452">0</cx:pt>
          <cx:pt idx="4453">0</cx:pt>
          <cx:pt idx="4454">0</cx:pt>
          <cx:pt idx="4455">0</cx:pt>
          <cx:pt idx="4456">0</cx:pt>
          <cx:pt idx="4457">0</cx:pt>
          <cx:pt idx="4458">0</cx:pt>
          <cx:pt idx="4459">0</cx:pt>
          <cx:pt idx="4460">0</cx:pt>
          <cx:pt idx="4461">0</cx:pt>
          <cx:pt idx="4462">0</cx:pt>
          <cx:pt idx="4463">0</cx:pt>
          <cx:pt idx="4464">0</cx:pt>
          <cx:pt idx="4465">0</cx:pt>
          <cx:pt idx="4466">0</cx:pt>
          <cx:pt idx="4467">0</cx:pt>
          <cx:pt idx="4468">0</cx:pt>
          <cx:pt idx="4469">0</cx:pt>
          <cx:pt idx="4470">0</cx:pt>
          <cx:pt idx="4471">0</cx:pt>
          <cx:pt idx="4472">0</cx:pt>
          <cx:pt idx="4473">0</cx:pt>
          <cx:pt idx="4474">0</cx:pt>
          <cx:pt idx="4475">0</cx:pt>
          <cx:pt idx="4476">0</cx:pt>
          <cx:pt idx="4477">0</cx:pt>
          <cx:pt idx="4478">0</cx:pt>
          <cx:pt idx="4479">0</cx:pt>
          <cx:pt idx="4480">0</cx:pt>
          <cx:pt idx="4481">0</cx:pt>
          <cx:pt idx="4482">0</cx:pt>
          <cx:pt idx="4483">0</cx:pt>
          <cx:pt idx="4484">0</cx:pt>
          <cx:pt idx="4485">0</cx:pt>
          <cx:pt idx="4486">0</cx:pt>
          <cx:pt idx="4487">0</cx:pt>
          <cx:pt idx="4488">0</cx:pt>
          <cx:pt idx="4489">0</cx:pt>
          <cx:pt idx="4490">0</cx:pt>
          <cx:pt idx="4491">0</cx:pt>
          <cx:pt idx="4492">0</cx:pt>
          <cx:pt idx="4493">0</cx:pt>
          <cx:pt idx="4494">0</cx:pt>
          <cx:pt idx="4495">0</cx:pt>
          <cx:pt idx="4496">0</cx:pt>
          <cx:pt idx="4497">0</cx:pt>
          <cx:pt idx="4498">0</cx:pt>
          <cx:pt idx="4499">0</cx:pt>
          <cx:pt idx="4500">0</cx:pt>
          <cx:pt idx="4501">0</cx:pt>
          <cx:pt idx="4502">0</cx:pt>
          <cx:pt idx="4503">0</cx:pt>
          <cx:pt idx="4504">0</cx:pt>
          <cx:pt idx="4505">0</cx:pt>
          <cx:pt idx="4506">0</cx:pt>
          <cx:pt idx="4507">0</cx:pt>
          <cx:pt idx="4508">0</cx:pt>
          <cx:pt idx="4509">0</cx:pt>
          <cx:pt idx="4510">0</cx:pt>
          <cx:pt idx="4511">0</cx:pt>
          <cx:pt idx="4512">0</cx:pt>
          <cx:pt idx="4513">0</cx:pt>
          <cx:pt idx="4514">0</cx:pt>
          <cx:pt idx="4515">0</cx:pt>
          <cx:pt idx="4516">0</cx:pt>
          <cx:pt idx="4517">0</cx:pt>
          <cx:pt idx="4518">0</cx:pt>
          <cx:pt idx="4519">0</cx:pt>
          <cx:pt idx="4520">0</cx:pt>
          <cx:pt idx="4521">0</cx:pt>
          <cx:pt idx="4522">0</cx:pt>
          <cx:pt idx="4523">0</cx:pt>
          <cx:pt idx="4524">0</cx:pt>
          <cx:pt idx="4525">0</cx:pt>
          <cx:pt idx="4526">0</cx:pt>
          <cx:pt idx="4527">0</cx:pt>
          <cx:pt idx="4528">0</cx:pt>
          <cx:pt idx="4529">0</cx:pt>
          <cx:pt idx="4530">0</cx:pt>
          <cx:pt idx="4531">0</cx:pt>
          <cx:pt idx="4532">0</cx:pt>
          <cx:pt idx="4533">0</cx:pt>
          <cx:pt idx="4534">0</cx:pt>
          <cx:pt idx="4535">0</cx:pt>
          <cx:pt idx="4536">0</cx:pt>
          <cx:pt idx="4537">0</cx:pt>
          <cx:pt idx="4538">0</cx:pt>
          <cx:pt idx="4539">0</cx:pt>
          <cx:pt idx="4540">0</cx:pt>
          <cx:pt idx="4541">0</cx:pt>
          <cx:pt idx="4542">0</cx:pt>
          <cx:pt idx="4543">0</cx:pt>
          <cx:pt idx="4544">0</cx:pt>
          <cx:pt idx="4545">0</cx:pt>
          <cx:pt idx="4546">0</cx:pt>
          <cx:pt idx="4547">0</cx:pt>
          <cx:pt idx="4548">0</cx:pt>
          <cx:pt idx="4549">0</cx:pt>
          <cx:pt idx="4550">0</cx:pt>
          <cx:pt idx="4551">0</cx:pt>
          <cx:pt idx="4552">0</cx:pt>
          <cx:pt idx="4553">0</cx:pt>
          <cx:pt idx="4554">0</cx:pt>
          <cx:pt idx="4555">0</cx:pt>
          <cx:pt idx="4556">0</cx:pt>
          <cx:pt idx="4557">0</cx:pt>
          <cx:pt idx="4558">0</cx:pt>
          <cx:pt idx="4559">0</cx:pt>
          <cx:pt idx="4560">0</cx:pt>
          <cx:pt idx="4561">0</cx:pt>
          <cx:pt idx="4562">0</cx:pt>
          <cx:pt idx="4563">0</cx:pt>
          <cx:pt idx="4564">0</cx:pt>
          <cx:pt idx="4565">0</cx:pt>
          <cx:pt idx="4566">0</cx:pt>
          <cx:pt idx="4567">0</cx:pt>
          <cx:pt idx="4568">0</cx:pt>
          <cx:pt idx="4569">0</cx:pt>
          <cx:pt idx="4570">0</cx:pt>
          <cx:pt idx="4571">0</cx:pt>
          <cx:pt idx="4572">0</cx:pt>
          <cx:pt idx="4573">0</cx:pt>
          <cx:pt idx="4574">0</cx:pt>
          <cx:pt idx="4575">0</cx:pt>
          <cx:pt idx="4576">0</cx:pt>
          <cx:pt idx="4577">0</cx:pt>
          <cx:pt idx="4578">0</cx:pt>
          <cx:pt idx="4579">0</cx:pt>
          <cx:pt idx="4580">0</cx:pt>
          <cx:pt idx="4581">0</cx:pt>
          <cx:pt idx="4582">0</cx:pt>
          <cx:pt idx="4583">0</cx:pt>
          <cx:pt idx="4584">0</cx:pt>
          <cx:pt idx="4585">0</cx:pt>
          <cx:pt idx="4586">0</cx:pt>
          <cx:pt idx="4587">0</cx:pt>
          <cx:pt idx="4588">0</cx:pt>
          <cx:pt idx="4589">0</cx:pt>
          <cx:pt idx="4590">0</cx:pt>
          <cx:pt idx="4591">0</cx:pt>
          <cx:pt idx="4592">0</cx:pt>
          <cx:pt idx="4593">0</cx:pt>
          <cx:pt idx="4594">0</cx:pt>
          <cx:pt idx="4595">0</cx:pt>
          <cx:pt idx="4596">0</cx:pt>
          <cx:pt idx="4597">0</cx:pt>
          <cx:pt idx="4598">0</cx:pt>
          <cx:pt idx="4599">0</cx:pt>
          <cx:pt idx="4600">0</cx:pt>
          <cx:pt idx="4601">0</cx:pt>
          <cx:pt idx="4602">0</cx:pt>
          <cx:pt idx="4603">0</cx:pt>
          <cx:pt idx="4604">0</cx:pt>
          <cx:pt idx="4605">0</cx:pt>
          <cx:pt idx="4606">0</cx:pt>
          <cx:pt idx="4607">0</cx:pt>
          <cx:pt idx="4608">0</cx:pt>
          <cx:pt idx="4609">0</cx:pt>
          <cx:pt idx="4610">0</cx:pt>
          <cx:pt idx="4611">0</cx:pt>
          <cx:pt idx="4612">0</cx:pt>
          <cx:pt idx="4613">0</cx:pt>
          <cx:pt idx="4614">0</cx:pt>
          <cx:pt idx="4615">0</cx:pt>
          <cx:pt idx="4616">0</cx:pt>
          <cx:pt idx="4617">0</cx:pt>
          <cx:pt idx="4618">0</cx:pt>
          <cx:pt idx="4619">0</cx:pt>
          <cx:pt idx="4620">0</cx:pt>
          <cx:pt idx="4621">0</cx:pt>
          <cx:pt idx="4622">0</cx:pt>
          <cx:pt idx="4623">0</cx:pt>
          <cx:pt idx="4624">0</cx:pt>
          <cx:pt idx="4625">0</cx:pt>
          <cx:pt idx="4626">0</cx:pt>
          <cx:pt idx="4627">0</cx:pt>
          <cx:pt idx="4628">0</cx:pt>
          <cx:pt idx="4629">0</cx:pt>
          <cx:pt idx="4630">0</cx:pt>
          <cx:pt idx="4631">0</cx:pt>
          <cx:pt idx="4632">0</cx:pt>
          <cx:pt idx="4633">0</cx:pt>
          <cx:pt idx="4634">0</cx:pt>
          <cx:pt idx="4635">0</cx:pt>
          <cx:pt idx="4636">0</cx:pt>
          <cx:pt idx="4637">0</cx:pt>
          <cx:pt idx="4638">0</cx:pt>
          <cx:pt idx="4639">0</cx:pt>
          <cx:pt idx="4640">0</cx:pt>
          <cx:pt idx="4641">0</cx:pt>
          <cx:pt idx="4642">0</cx:pt>
          <cx:pt idx="4643">0</cx:pt>
          <cx:pt idx="4644">0</cx:pt>
          <cx:pt idx="4645">0</cx:pt>
          <cx:pt idx="4646">0</cx:pt>
          <cx:pt idx="4647">0</cx:pt>
          <cx:pt idx="4648">0</cx:pt>
          <cx:pt idx="4649">0</cx:pt>
          <cx:pt idx="4650">0</cx:pt>
          <cx:pt idx="4651">0</cx:pt>
          <cx:pt idx="4652">0</cx:pt>
          <cx:pt idx="4653">0</cx:pt>
          <cx:pt idx="4654">0</cx:pt>
          <cx:pt idx="4655">0</cx:pt>
          <cx:pt idx="4656">0</cx:pt>
          <cx:pt idx="4657">0</cx:pt>
          <cx:pt idx="4658">0</cx:pt>
          <cx:pt idx="4659">0</cx:pt>
          <cx:pt idx="4660">0</cx:pt>
          <cx:pt idx="4661">0</cx:pt>
          <cx:pt idx="4662">0</cx:pt>
          <cx:pt idx="4663">0</cx:pt>
          <cx:pt idx="4664">0</cx:pt>
          <cx:pt idx="4665">0</cx:pt>
          <cx:pt idx="4666">0</cx:pt>
          <cx:pt idx="4667">0</cx:pt>
          <cx:pt idx="4668">0</cx:pt>
          <cx:pt idx="4669">0</cx:pt>
          <cx:pt idx="4670">0</cx:pt>
          <cx:pt idx="4671">0</cx:pt>
          <cx:pt idx="4672">0</cx:pt>
          <cx:pt idx="4673">0</cx:pt>
          <cx:pt idx="4674">0</cx:pt>
          <cx:pt idx="4675">0</cx:pt>
          <cx:pt idx="4676">0</cx:pt>
          <cx:pt idx="4677">0</cx:pt>
          <cx:pt idx="4678">0</cx:pt>
          <cx:pt idx="4679">0</cx:pt>
          <cx:pt idx="4680">0</cx:pt>
          <cx:pt idx="4681">0</cx:pt>
          <cx:pt idx="4682">0</cx:pt>
          <cx:pt idx="4683">0</cx:pt>
          <cx:pt idx="4684">0</cx:pt>
          <cx:pt idx="4685">0</cx:pt>
          <cx:pt idx="4686">0</cx:pt>
          <cx:pt idx="4687">0</cx:pt>
          <cx:pt idx="4688">0</cx:pt>
          <cx:pt idx="4689">0</cx:pt>
          <cx:pt idx="4690">0</cx:pt>
          <cx:pt idx="4691">0</cx:pt>
          <cx:pt idx="4692">0</cx:pt>
          <cx:pt idx="4693">0</cx:pt>
          <cx:pt idx="4694">0</cx:pt>
          <cx:pt idx="4695">0</cx:pt>
          <cx:pt idx="4696">0</cx:pt>
          <cx:pt idx="4697">0</cx:pt>
          <cx:pt idx="4698">0</cx:pt>
          <cx:pt idx="4699">0</cx:pt>
          <cx:pt idx="4700">0</cx:pt>
          <cx:pt idx="4701">0</cx:pt>
          <cx:pt idx="4702">0</cx:pt>
          <cx:pt idx="4703">0</cx:pt>
          <cx:pt idx="4704">0</cx:pt>
          <cx:pt idx="4705">0</cx:pt>
          <cx:pt idx="4706">0</cx:pt>
          <cx:pt idx="4707">0</cx:pt>
          <cx:pt idx="4708">0</cx:pt>
          <cx:pt idx="4709">0</cx:pt>
          <cx:pt idx="4710">0</cx:pt>
          <cx:pt idx="4711">0</cx:pt>
          <cx:pt idx="4712">0</cx:pt>
          <cx:pt idx="4713">0</cx:pt>
          <cx:pt idx="4714">0</cx:pt>
          <cx:pt idx="4715">0</cx:pt>
          <cx:pt idx="4716">0</cx:pt>
          <cx:pt idx="4717">0</cx:pt>
          <cx:pt idx="4718">0</cx:pt>
          <cx:pt idx="4719">0</cx:pt>
          <cx:pt idx="4720">0</cx:pt>
          <cx:pt idx="4721">0</cx:pt>
          <cx:pt idx="4722">0</cx:pt>
          <cx:pt idx="4723">0</cx:pt>
          <cx:pt idx="4724">0</cx:pt>
          <cx:pt idx="4725">0</cx:pt>
          <cx:pt idx="4726">0</cx:pt>
          <cx:pt idx="4727">0</cx:pt>
          <cx:pt idx="4728">0</cx:pt>
          <cx:pt idx="4729">0</cx:pt>
          <cx:pt idx="4730">0</cx:pt>
          <cx:pt idx="4731">0</cx:pt>
          <cx:pt idx="4732">0</cx:pt>
          <cx:pt idx="4733">0</cx:pt>
          <cx:pt idx="4734">0</cx:pt>
          <cx:pt idx="4735">0</cx:pt>
          <cx:pt idx="4736">0</cx:pt>
          <cx:pt idx="4737">0</cx:pt>
          <cx:pt idx="4738">0</cx:pt>
          <cx:pt idx="4739">0</cx:pt>
          <cx:pt idx="4740">0</cx:pt>
          <cx:pt idx="4741">0</cx:pt>
          <cx:pt idx="4742">0</cx:pt>
          <cx:pt idx="4743">0</cx:pt>
          <cx:pt idx="4744">0</cx:pt>
          <cx:pt idx="4745">0</cx:pt>
          <cx:pt idx="4746">0</cx:pt>
          <cx:pt idx="4747">0</cx:pt>
          <cx:pt idx="4748">0</cx:pt>
          <cx:pt idx="4749">0</cx:pt>
          <cx:pt idx="4750">0</cx:pt>
          <cx:pt idx="4751">0</cx:pt>
          <cx:pt idx="4752">0</cx:pt>
          <cx:pt idx="4753">0</cx:pt>
          <cx:pt idx="4754">0</cx:pt>
          <cx:pt idx="4755">0</cx:pt>
          <cx:pt idx="4756">0</cx:pt>
          <cx:pt idx="4757">0</cx:pt>
          <cx:pt idx="4758">0</cx:pt>
          <cx:pt idx="4759">0</cx:pt>
          <cx:pt idx="4760">0</cx:pt>
          <cx:pt idx="4761">0</cx:pt>
          <cx:pt idx="4762">0</cx:pt>
          <cx:pt idx="4763">0</cx:pt>
          <cx:pt idx="4764">0</cx:pt>
          <cx:pt idx="4765">0</cx:pt>
          <cx:pt idx="4766">0</cx:pt>
          <cx:pt idx="4767">0</cx:pt>
          <cx:pt idx="4768">0</cx:pt>
          <cx:pt idx="4769">0</cx:pt>
          <cx:pt idx="4770">0</cx:pt>
          <cx:pt idx="4771">0</cx:pt>
          <cx:pt idx="4772">0</cx:pt>
          <cx:pt idx="4773">0</cx:pt>
          <cx:pt idx="4774">0</cx:pt>
          <cx:pt idx="4775">0</cx:pt>
          <cx:pt idx="4776">0</cx:pt>
          <cx:pt idx="4777">0</cx:pt>
          <cx:pt idx="4778">0</cx:pt>
          <cx:pt idx="4779">0</cx:pt>
          <cx:pt idx="4780">0</cx:pt>
          <cx:pt idx="4781">0</cx:pt>
          <cx:pt idx="4782">0</cx:pt>
          <cx:pt idx="4783">0</cx:pt>
          <cx:pt idx="4784">0</cx:pt>
          <cx:pt idx="4785">0</cx:pt>
          <cx:pt idx="4786">0</cx:pt>
          <cx:pt idx="4787">0</cx:pt>
          <cx:pt idx="4788">0</cx:pt>
          <cx:pt idx="4789">0</cx:pt>
          <cx:pt idx="4790">0</cx:pt>
          <cx:pt idx="4791">0</cx:pt>
          <cx:pt idx="4792">0</cx:pt>
          <cx:pt idx="4793">0</cx:pt>
          <cx:pt idx="4794">0</cx:pt>
          <cx:pt idx="4795">0</cx:pt>
          <cx:pt idx="4796">0</cx:pt>
          <cx:pt idx="4797">0</cx:pt>
          <cx:pt idx="4798">0</cx:pt>
          <cx:pt idx="4799">0</cx:pt>
          <cx:pt idx="4800">0</cx:pt>
          <cx:pt idx="4801">0</cx:pt>
          <cx:pt idx="4802">0</cx:pt>
          <cx:pt idx="4803">0</cx:pt>
          <cx:pt idx="4804">0</cx:pt>
          <cx:pt idx="4805">0</cx:pt>
          <cx:pt idx="4806">0</cx:pt>
          <cx:pt idx="4807">0</cx:pt>
          <cx:pt idx="4808">0</cx:pt>
          <cx:pt idx="4809">0</cx:pt>
          <cx:pt idx="4810">0</cx:pt>
          <cx:pt idx="4811">0</cx:pt>
          <cx:pt idx="4812">0</cx:pt>
          <cx:pt idx="4813">0</cx:pt>
          <cx:pt idx="4814">0</cx:pt>
          <cx:pt idx="4815">0</cx:pt>
          <cx:pt idx="4816">0</cx:pt>
          <cx:pt idx="4817">0</cx:pt>
          <cx:pt idx="4818">0</cx:pt>
          <cx:pt idx="4819">0</cx:pt>
          <cx:pt idx="4820">0</cx:pt>
          <cx:pt idx="4821">0</cx:pt>
          <cx:pt idx="4822">0</cx:pt>
          <cx:pt idx="4823">0</cx:pt>
          <cx:pt idx="4824">0</cx:pt>
          <cx:pt idx="4825">0</cx:pt>
          <cx:pt idx="4826">0</cx:pt>
          <cx:pt idx="4827">0</cx:pt>
          <cx:pt idx="4828">0</cx:pt>
          <cx:pt idx="4829">0</cx:pt>
          <cx:pt idx="4830">0</cx:pt>
          <cx:pt idx="4831">0</cx:pt>
          <cx:pt idx="4832">0</cx:pt>
          <cx:pt idx="4833">0</cx:pt>
          <cx:pt idx="4834">0</cx:pt>
          <cx:pt idx="4835">0</cx:pt>
          <cx:pt idx="4836">0</cx:pt>
          <cx:pt idx="4837">0</cx:pt>
          <cx:pt idx="4838">0</cx:pt>
          <cx:pt idx="4839">0</cx:pt>
          <cx:pt idx="4840">0</cx:pt>
          <cx:pt idx="4841">0</cx:pt>
          <cx:pt idx="4842">0</cx:pt>
          <cx:pt idx="4843">0</cx:pt>
          <cx:pt idx="4844">0</cx:pt>
          <cx:pt idx="4845">0</cx:pt>
          <cx:pt idx="4846">0</cx:pt>
          <cx:pt idx="4847">0</cx:pt>
          <cx:pt idx="4848">0</cx:pt>
          <cx:pt idx="4849">0</cx:pt>
          <cx:pt idx="4850">0</cx:pt>
          <cx:pt idx="4851">0</cx:pt>
          <cx:pt idx="4852">0</cx:pt>
          <cx:pt idx="4853">0</cx:pt>
          <cx:pt idx="4854">0</cx:pt>
          <cx:pt idx="4855">0</cx:pt>
          <cx:pt idx="4856">0</cx:pt>
          <cx:pt idx="4857">0</cx:pt>
          <cx:pt idx="4858">0</cx:pt>
          <cx:pt idx="4859">0</cx:pt>
          <cx:pt idx="4860">0</cx:pt>
          <cx:pt idx="4861">0</cx:pt>
          <cx:pt idx="4862">0</cx:pt>
          <cx:pt idx="4863">0</cx:pt>
          <cx:pt idx="4864">0</cx:pt>
          <cx:pt idx="4865">0</cx:pt>
          <cx:pt idx="4866">0</cx:pt>
          <cx:pt idx="4867">0</cx:pt>
          <cx:pt idx="4868">0</cx:pt>
          <cx:pt idx="4869">0</cx:pt>
          <cx:pt idx="4870">0</cx:pt>
          <cx:pt idx="4871">0</cx:pt>
          <cx:pt idx="4872">0</cx:pt>
          <cx:pt idx="4873">0</cx:pt>
          <cx:pt idx="4874">0</cx:pt>
          <cx:pt idx="4875">0</cx:pt>
          <cx:pt idx="4876">0</cx:pt>
          <cx:pt idx="4877">0</cx:pt>
          <cx:pt idx="4878">0</cx:pt>
          <cx:pt idx="4879">0</cx:pt>
          <cx:pt idx="4880">0</cx:pt>
          <cx:pt idx="4881">0</cx:pt>
          <cx:pt idx="4882">0</cx:pt>
          <cx:pt idx="4883">0</cx:pt>
          <cx:pt idx="4884">0</cx:pt>
          <cx:pt idx="4885">0</cx:pt>
          <cx:pt idx="4886">0</cx:pt>
          <cx:pt idx="4887">0</cx:pt>
          <cx:pt idx="4888">0</cx:pt>
          <cx:pt idx="4889">0</cx:pt>
          <cx:pt idx="4890">0</cx:pt>
          <cx:pt idx="4891">0</cx:pt>
          <cx:pt idx="4892">0</cx:pt>
          <cx:pt idx="4893">0</cx:pt>
          <cx:pt idx="4894">0</cx:pt>
          <cx:pt idx="4895">0</cx:pt>
          <cx:pt idx="4896">0</cx:pt>
          <cx:pt idx="4897">0</cx:pt>
          <cx:pt idx="4898">0</cx:pt>
          <cx:pt idx="4899">0</cx:pt>
          <cx:pt idx="4900">0</cx:pt>
          <cx:pt idx="4901">0</cx:pt>
          <cx:pt idx="4902">0</cx:pt>
          <cx:pt idx="4903">0</cx:pt>
          <cx:pt idx="4904">0</cx:pt>
          <cx:pt idx="4905">0</cx:pt>
          <cx:pt idx="4906">0</cx:pt>
          <cx:pt idx="4907">0</cx:pt>
          <cx:pt idx="4908">0</cx:pt>
          <cx:pt idx="4909">0</cx:pt>
          <cx:pt idx="4910">0</cx:pt>
          <cx:pt idx="4911">0</cx:pt>
          <cx:pt idx="4912">0</cx:pt>
          <cx:pt idx="4913">0</cx:pt>
          <cx:pt idx="4914">0</cx:pt>
          <cx:pt idx="4915">0</cx:pt>
          <cx:pt idx="4916">0</cx:pt>
          <cx:pt idx="4917">0</cx:pt>
          <cx:pt idx="4918">0</cx:pt>
          <cx:pt idx="4919">0</cx:pt>
          <cx:pt idx="4920">0</cx:pt>
          <cx:pt idx="4921">0</cx:pt>
          <cx:pt idx="4922">0</cx:pt>
          <cx:pt idx="4923">0</cx:pt>
          <cx:pt idx="4924">0</cx:pt>
          <cx:pt idx="4925">0</cx:pt>
          <cx:pt idx="4926">0</cx:pt>
          <cx:pt idx="4927">0</cx:pt>
          <cx:pt idx="4928">0</cx:pt>
          <cx:pt idx="4929">0</cx:pt>
          <cx:pt idx="4930">0</cx:pt>
          <cx:pt idx="4931">0</cx:pt>
          <cx:pt idx="4932">0</cx:pt>
          <cx:pt idx="4933">0</cx:pt>
          <cx:pt idx="4934">0</cx:pt>
          <cx:pt idx="4935">0</cx:pt>
          <cx:pt idx="4936">0</cx:pt>
          <cx:pt idx="4937">0</cx:pt>
          <cx:pt idx="4938">0</cx:pt>
          <cx:pt idx="4939">0</cx:pt>
          <cx:pt idx="4940">0</cx:pt>
          <cx:pt idx="4941">0</cx:pt>
          <cx:pt idx="4942">0</cx:pt>
          <cx:pt idx="4943">0</cx:pt>
          <cx:pt idx="4944">0</cx:pt>
          <cx:pt idx="4945">0</cx:pt>
          <cx:pt idx="4946">0</cx:pt>
          <cx:pt idx="4947">0</cx:pt>
          <cx:pt idx="4948">0</cx:pt>
          <cx:pt idx="4949">0</cx:pt>
          <cx:pt idx="4950">0</cx:pt>
          <cx:pt idx="4951">0</cx:pt>
          <cx:pt idx="4952">0</cx:pt>
          <cx:pt idx="4953">0</cx:pt>
          <cx:pt idx="4954">0</cx:pt>
          <cx:pt idx="4955">0</cx:pt>
          <cx:pt idx="4956">0</cx:pt>
          <cx:pt idx="4957">0</cx:pt>
          <cx:pt idx="4958">0</cx:pt>
          <cx:pt idx="4959">0</cx:pt>
          <cx:pt idx="4960">0</cx:pt>
          <cx:pt idx="4961">0</cx:pt>
          <cx:pt idx="4962">0</cx:pt>
          <cx:pt idx="4963">0</cx:pt>
          <cx:pt idx="4964">0</cx:pt>
          <cx:pt idx="4965">0</cx:pt>
          <cx:pt idx="4966">0</cx:pt>
          <cx:pt idx="4967">0</cx:pt>
          <cx:pt idx="4968">0</cx:pt>
          <cx:pt idx="4969">0</cx:pt>
          <cx:pt idx="4970">0</cx:pt>
          <cx:pt idx="4971">0</cx:pt>
          <cx:pt idx="4972">0</cx:pt>
          <cx:pt idx="4973">0</cx:pt>
          <cx:pt idx="4974">0</cx:pt>
          <cx:pt idx="4975">0</cx:pt>
          <cx:pt idx="4976">0</cx:pt>
          <cx:pt idx="4977">0</cx:pt>
          <cx:pt idx="4978">0</cx:pt>
          <cx:pt idx="4979">0</cx:pt>
          <cx:pt idx="4980">0</cx:pt>
          <cx:pt idx="4981">0</cx:pt>
          <cx:pt idx="4982">0</cx:pt>
          <cx:pt idx="4983">0</cx:pt>
          <cx:pt idx="4984">0</cx:pt>
          <cx:pt idx="4985">0</cx:pt>
          <cx:pt idx="4986">0</cx:pt>
          <cx:pt idx="4987">0</cx:pt>
          <cx:pt idx="4988">0</cx:pt>
          <cx:pt idx="4989">0</cx:pt>
          <cx:pt idx="4990">0</cx:pt>
          <cx:pt idx="4991">0</cx:pt>
          <cx:pt idx="4992">0</cx:pt>
          <cx:pt idx="4993">0</cx:pt>
          <cx:pt idx="4994">0</cx:pt>
          <cx:pt idx="4995">0</cx:pt>
          <cx:pt idx="4996">0</cx:pt>
          <cx:pt idx="4997">0</cx:pt>
          <cx:pt idx="4998">0</cx:pt>
          <cx:pt idx="4999">0</cx:pt>
          <cx:pt idx="5000">0</cx:pt>
          <cx:pt idx="5001">0</cx:pt>
          <cx:pt idx="5002">0</cx:pt>
          <cx:pt idx="5003">0</cx:pt>
          <cx:pt idx="5004">0</cx:pt>
          <cx:pt idx="5005">0</cx:pt>
          <cx:pt idx="5006">0</cx:pt>
          <cx:pt idx="5007">0</cx:pt>
          <cx:pt idx="5008">0</cx:pt>
          <cx:pt idx="5009">0</cx:pt>
          <cx:pt idx="5010">0</cx:pt>
          <cx:pt idx="5011">0</cx:pt>
          <cx:pt idx="5012">0</cx:pt>
          <cx:pt idx="5013">0</cx:pt>
          <cx:pt idx="5014">0</cx:pt>
          <cx:pt idx="5015">0</cx:pt>
          <cx:pt idx="5016">0</cx:pt>
          <cx:pt idx="5017">0</cx:pt>
          <cx:pt idx="5018">0</cx:pt>
          <cx:pt idx="5019">0</cx:pt>
          <cx:pt idx="5020">0</cx:pt>
          <cx:pt idx="5021">0</cx:pt>
          <cx:pt idx="5022">0</cx:pt>
          <cx:pt idx="5023">0</cx:pt>
          <cx:pt idx="5024">0</cx:pt>
          <cx:pt idx="5025">0</cx:pt>
          <cx:pt idx="5026">0</cx:pt>
          <cx:pt idx="5027">0</cx:pt>
          <cx:pt idx="5028">0</cx:pt>
          <cx:pt idx="5029">0</cx:pt>
          <cx:pt idx="5030">0</cx:pt>
          <cx:pt idx="5031">0</cx:pt>
          <cx:pt idx="5032">0</cx:pt>
          <cx:pt idx="5033">0</cx:pt>
          <cx:pt idx="5034">0</cx:pt>
          <cx:pt idx="5035">0</cx:pt>
          <cx:pt idx="5036">0</cx:pt>
          <cx:pt idx="5037">0</cx:pt>
          <cx:pt idx="5038">0</cx:pt>
          <cx:pt idx="5039">0</cx:pt>
          <cx:pt idx="5040">0</cx:pt>
          <cx:pt idx="5041">0</cx:pt>
          <cx:pt idx="5042">0</cx:pt>
          <cx:pt idx="5043">0</cx:pt>
          <cx:pt idx="5044">0</cx:pt>
          <cx:pt idx="5045">0</cx:pt>
          <cx:pt idx="5046">0</cx:pt>
          <cx:pt idx="5047">0</cx:pt>
          <cx:pt idx="5048">0</cx:pt>
          <cx:pt idx="5049">0</cx:pt>
          <cx:pt idx="5050">0</cx:pt>
          <cx:pt idx="5051">0</cx:pt>
          <cx:pt idx="5052">0</cx:pt>
          <cx:pt idx="5053">0</cx:pt>
          <cx:pt idx="5054">0</cx:pt>
          <cx:pt idx="5055">0</cx:pt>
          <cx:pt idx="5056">0</cx:pt>
          <cx:pt idx="5057">0</cx:pt>
          <cx:pt idx="5058">0</cx:pt>
          <cx:pt idx="5059">0</cx:pt>
          <cx:pt idx="5060">0</cx:pt>
          <cx:pt idx="5061">0</cx:pt>
          <cx:pt idx="5062">0</cx:pt>
          <cx:pt idx="5063">0</cx:pt>
          <cx:pt idx="5064">0</cx:pt>
          <cx:pt idx="5065">0</cx:pt>
          <cx:pt idx="5066">0</cx:pt>
          <cx:pt idx="5067">0</cx:pt>
          <cx:pt idx="5068">0</cx:pt>
          <cx:pt idx="5069">0</cx:pt>
          <cx:pt idx="5070">0</cx:pt>
          <cx:pt idx="5071">0</cx:pt>
          <cx:pt idx="5072">0</cx:pt>
          <cx:pt idx="5073">0</cx:pt>
          <cx:pt idx="5074">0</cx:pt>
          <cx:pt idx="5075">0</cx:pt>
          <cx:pt idx="5076">0</cx:pt>
          <cx:pt idx="5077">0</cx:pt>
          <cx:pt idx="5078">0</cx:pt>
          <cx:pt idx="5079">0</cx:pt>
          <cx:pt idx="5080">0</cx:pt>
          <cx:pt idx="5081">0</cx:pt>
          <cx:pt idx="5082">0</cx:pt>
          <cx:pt idx="5083">0</cx:pt>
          <cx:pt idx="5084">0</cx:pt>
          <cx:pt idx="5085">0</cx:pt>
          <cx:pt idx="5086">0</cx:pt>
          <cx:pt idx="5087">0</cx:pt>
          <cx:pt idx="5088">0</cx:pt>
          <cx:pt idx="5089">0</cx:pt>
          <cx:pt idx="5090">0</cx:pt>
          <cx:pt idx="5091">0</cx:pt>
          <cx:pt idx="5092">0</cx:pt>
          <cx:pt idx="5093">0</cx:pt>
          <cx:pt idx="5094">0</cx:pt>
          <cx:pt idx="5095">0</cx:pt>
          <cx:pt idx="5096">0</cx:pt>
          <cx:pt idx="5097">0</cx:pt>
          <cx:pt idx="5098">0</cx:pt>
          <cx:pt idx="5099">0</cx:pt>
          <cx:pt idx="5100">0</cx:pt>
          <cx:pt idx="5101">0</cx:pt>
          <cx:pt idx="5102">0</cx:pt>
          <cx:pt idx="5103">0</cx:pt>
          <cx:pt idx="5104">0</cx:pt>
          <cx:pt idx="5105">0</cx:pt>
          <cx:pt idx="5106">0</cx:pt>
          <cx:pt idx="5107">0</cx:pt>
          <cx:pt idx="5108">0</cx:pt>
          <cx:pt idx="5109">0</cx:pt>
          <cx:pt idx="5110">0</cx:pt>
          <cx:pt idx="5111">0</cx:pt>
          <cx:pt idx="5112">0</cx:pt>
          <cx:pt idx="5113">0</cx:pt>
          <cx:pt idx="5114">0</cx:pt>
          <cx:pt idx="5115">0</cx:pt>
          <cx:pt idx="5116">0</cx:pt>
          <cx:pt idx="5117">0</cx:pt>
          <cx:pt idx="5118">0</cx:pt>
          <cx:pt idx="5119">0</cx:pt>
          <cx:pt idx="5120">0</cx:pt>
          <cx:pt idx="5121">0</cx:pt>
          <cx:pt idx="5122">0</cx:pt>
          <cx:pt idx="5123">0</cx:pt>
          <cx:pt idx="5124">0</cx:pt>
          <cx:pt idx="5125">0</cx:pt>
          <cx:pt idx="5126">0</cx:pt>
          <cx:pt idx="5127">0</cx:pt>
          <cx:pt idx="5128">0</cx:pt>
          <cx:pt idx="5129">0</cx:pt>
          <cx:pt idx="5130">0</cx:pt>
          <cx:pt idx="5131">0</cx:pt>
          <cx:pt idx="5132">0</cx:pt>
          <cx:pt idx="5133">0</cx:pt>
          <cx:pt idx="5134">0</cx:pt>
          <cx:pt idx="5135">0</cx:pt>
          <cx:pt idx="5136">0</cx:pt>
          <cx:pt idx="5137">0</cx:pt>
          <cx:pt idx="5138">0</cx:pt>
          <cx:pt idx="5139">0</cx:pt>
          <cx:pt idx="5140">0</cx:pt>
          <cx:pt idx="5141">0</cx:pt>
          <cx:pt idx="5142">0</cx:pt>
          <cx:pt idx="5143">0</cx:pt>
          <cx:pt idx="5144">0</cx:pt>
          <cx:pt idx="5145">0</cx:pt>
          <cx:pt idx="5146">0</cx:pt>
          <cx:pt idx="5147">0</cx:pt>
          <cx:pt idx="5148">0</cx:pt>
          <cx:pt idx="5149">0</cx:pt>
          <cx:pt idx="5150">0</cx:pt>
          <cx:pt idx="5151">0</cx:pt>
          <cx:pt idx="5152">0</cx:pt>
          <cx:pt idx="5153">0</cx:pt>
          <cx:pt idx="5154">0</cx:pt>
          <cx:pt idx="5155">0</cx:pt>
          <cx:pt idx="5156">0</cx:pt>
          <cx:pt idx="5157">0</cx:pt>
          <cx:pt idx="5158">0</cx:pt>
          <cx:pt idx="5159">0</cx:pt>
          <cx:pt idx="5160">0</cx:pt>
          <cx:pt idx="5161">0</cx:pt>
          <cx:pt idx="5162">0</cx:pt>
          <cx:pt idx="5163">0</cx:pt>
          <cx:pt idx="5164">0</cx:pt>
          <cx:pt idx="5165">0</cx:pt>
          <cx:pt idx="5166">0</cx:pt>
          <cx:pt idx="5167">0</cx:pt>
          <cx:pt idx="5168">0</cx:pt>
          <cx:pt idx="5169">0</cx:pt>
          <cx:pt idx="5170">0</cx:pt>
          <cx:pt idx="5171">0</cx:pt>
          <cx:pt idx="5172">0</cx:pt>
          <cx:pt idx="5173">0</cx:pt>
          <cx:pt idx="5174">0</cx:pt>
          <cx:pt idx="5175">0</cx:pt>
          <cx:pt idx="5176">0</cx:pt>
          <cx:pt idx="5177">0</cx:pt>
          <cx:pt idx="5178">0</cx:pt>
          <cx:pt idx="5179">0</cx:pt>
          <cx:pt idx="5180">0</cx:pt>
          <cx:pt idx="5181">0</cx:pt>
          <cx:pt idx="5182">0</cx:pt>
          <cx:pt idx="5183">0</cx:pt>
          <cx:pt idx="5184">0</cx:pt>
          <cx:pt idx="5185">0</cx:pt>
          <cx:pt idx="5186">0</cx:pt>
          <cx:pt idx="5187">0</cx:pt>
          <cx:pt idx="5188">0</cx:pt>
          <cx:pt idx="5189">0</cx:pt>
          <cx:pt idx="5190">0</cx:pt>
          <cx:pt idx="5191">0</cx:pt>
          <cx:pt idx="5192">0</cx:pt>
          <cx:pt idx="5193">0</cx:pt>
          <cx:pt idx="5194">0</cx:pt>
          <cx:pt idx="5195">0</cx:pt>
          <cx:pt idx="5196">0</cx:pt>
          <cx:pt idx="5197">0</cx:pt>
          <cx:pt idx="5198">0</cx:pt>
          <cx:pt idx="5199">0</cx:pt>
          <cx:pt idx="5200">0</cx:pt>
          <cx:pt idx="5201">0</cx:pt>
          <cx:pt idx="5202">0</cx:pt>
          <cx:pt idx="5203">0</cx:pt>
          <cx:pt idx="5204">0</cx:pt>
          <cx:pt idx="5205">0</cx:pt>
          <cx:pt idx="5206">0</cx:pt>
          <cx:pt idx="5207">0</cx:pt>
          <cx:pt idx="5208">0</cx:pt>
          <cx:pt idx="5209">0</cx:pt>
          <cx:pt idx="5210">0</cx:pt>
          <cx:pt idx="5211">0</cx:pt>
          <cx:pt idx="5212">0</cx:pt>
          <cx:pt idx="5213">0</cx:pt>
          <cx:pt idx="5214">0</cx:pt>
          <cx:pt idx="5215">0</cx:pt>
          <cx:pt idx="5216">0</cx:pt>
          <cx:pt idx="5217">0</cx:pt>
          <cx:pt idx="5218">0</cx:pt>
          <cx:pt idx="5219">0</cx:pt>
          <cx:pt idx="5220">0</cx:pt>
          <cx:pt idx="5221">0</cx:pt>
          <cx:pt idx="5222">0</cx:pt>
          <cx:pt idx="5223">0</cx:pt>
          <cx:pt idx="5224">0</cx:pt>
          <cx:pt idx="5225">0</cx:pt>
          <cx:pt idx="5226">0</cx:pt>
          <cx:pt idx="5227">0</cx:pt>
          <cx:pt idx="5228">0</cx:pt>
          <cx:pt idx="5229">0</cx:pt>
          <cx:pt idx="5230">0</cx:pt>
          <cx:pt idx="5231">0</cx:pt>
          <cx:pt idx="5232">0</cx:pt>
          <cx:pt idx="5233">0</cx:pt>
          <cx:pt idx="5234">0</cx:pt>
          <cx:pt idx="5235">0</cx:pt>
          <cx:pt idx="5236">0</cx:pt>
          <cx:pt idx="5237">0</cx:pt>
          <cx:pt idx="5238">0</cx:pt>
          <cx:pt idx="5239">0</cx:pt>
          <cx:pt idx="5240">0</cx:pt>
          <cx:pt idx="5241">0</cx:pt>
          <cx:pt idx="5242">0</cx:pt>
          <cx:pt idx="5243">0</cx:pt>
          <cx:pt idx="5244">0</cx:pt>
          <cx:pt idx="5245">0</cx:pt>
          <cx:pt idx="5246">0</cx:pt>
          <cx:pt idx="5247">0</cx:pt>
          <cx:pt idx="5248">0</cx:pt>
          <cx:pt idx="5249">0</cx:pt>
          <cx:pt idx="5250">0</cx:pt>
          <cx:pt idx="5251">0</cx:pt>
          <cx:pt idx="5252">0</cx:pt>
          <cx:pt idx="5253">0</cx:pt>
          <cx:pt idx="5254">0</cx:pt>
          <cx:pt idx="5255">0</cx:pt>
          <cx:pt idx="5256">0</cx:pt>
          <cx:pt idx="5257">0</cx:pt>
          <cx:pt idx="5258">0</cx:pt>
          <cx:pt idx="5259">0</cx:pt>
          <cx:pt idx="5260">0</cx:pt>
          <cx:pt idx="5261">0</cx:pt>
          <cx:pt idx="5262">0</cx:pt>
          <cx:pt idx="5263">0</cx:pt>
          <cx:pt idx="5264">0</cx:pt>
          <cx:pt idx="5265">0</cx:pt>
          <cx:pt idx="5266">0</cx:pt>
          <cx:pt idx="5267">0</cx:pt>
          <cx:pt idx="5268">0</cx:pt>
          <cx:pt idx="5269">0</cx:pt>
          <cx:pt idx="5270">0</cx:pt>
          <cx:pt idx="5271">0</cx:pt>
          <cx:pt idx="5272">0</cx:pt>
          <cx:pt idx="5273">0</cx:pt>
          <cx:pt idx="5274">0</cx:pt>
          <cx:pt idx="5275">0</cx:pt>
          <cx:pt idx="5276">0</cx:pt>
          <cx:pt idx="5277">0</cx:pt>
          <cx:pt idx="5278">0</cx:pt>
          <cx:pt idx="5279">0</cx:pt>
          <cx:pt idx="5280">0</cx:pt>
          <cx:pt idx="5281">0</cx:pt>
          <cx:pt idx="5282">0</cx:pt>
          <cx:pt idx="5283">0</cx:pt>
          <cx:pt idx="5284">0</cx:pt>
          <cx:pt idx="5285">0</cx:pt>
          <cx:pt idx="5286">0</cx:pt>
          <cx:pt idx="5287">0</cx:pt>
          <cx:pt idx="5288">0</cx:pt>
          <cx:pt idx="5289">0</cx:pt>
          <cx:pt idx="5290">0</cx:pt>
          <cx:pt idx="5291">0</cx:pt>
          <cx:pt idx="5292">0</cx:pt>
          <cx:pt idx="5293">0</cx:pt>
          <cx:pt idx="5294">0</cx:pt>
          <cx:pt idx="5295">0</cx:pt>
          <cx:pt idx="5296">0</cx:pt>
          <cx:pt idx="5297">0</cx:pt>
          <cx:pt idx="5298">0</cx:pt>
          <cx:pt idx="5299">0</cx:pt>
          <cx:pt idx="5300">0</cx:pt>
          <cx:pt idx="5301">0</cx:pt>
          <cx:pt idx="5302">0</cx:pt>
          <cx:pt idx="5303">0</cx:pt>
          <cx:pt idx="5304">0</cx:pt>
          <cx:pt idx="5305">0</cx:pt>
          <cx:pt idx="5306">0</cx:pt>
          <cx:pt idx="5307">0</cx:pt>
          <cx:pt idx="5308">0</cx:pt>
          <cx:pt idx="5309">0</cx:pt>
          <cx:pt idx="5310">0</cx:pt>
          <cx:pt idx="5311">0</cx:pt>
          <cx:pt idx="5312">0</cx:pt>
          <cx:pt idx="5313">0</cx:pt>
          <cx:pt idx="5314">0</cx:pt>
          <cx:pt idx="5315">0</cx:pt>
          <cx:pt idx="5316">0</cx:pt>
          <cx:pt idx="5317">0</cx:pt>
          <cx:pt idx="5318">0</cx:pt>
          <cx:pt idx="5319">0</cx:pt>
          <cx:pt idx="5320">0</cx:pt>
          <cx:pt idx="5321">0</cx:pt>
          <cx:pt idx="5322">0</cx:pt>
          <cx:pt idx="5323">0</cx:pt>
          <cx:pt idx="5324">0</cx:pt>
          <cx:pt idx="5325">0</cx:pt>
          <cx:pt idx="5326">0</cx:pt>
          <cx:pt idx="5327">0</cx:pt>
          <cx:pt idx="5328">0</cx:pt>
          <cx:pt idx="5329">0</cx:pt>
          <cx:pt idx="5330">0</cx:pt>
          <cx:pt idx="5331">0</cx:pt>
          <cx:pt idx="5332">0</cx:pt>
          <cx:pt idx="5333">0</cx:pt>
          <cx:pt idx="5334">0</cx:pt>
          <cx:pt idx="5335">0</cx:pt>
          <cx:pt idx="5336">0</cx:pt>
          <cx:pt idx="5337">0</cx:pt>
          <cx:pt idx="5338">0</cx:pt>
          <cx:pt idx="5339">0</cx:pt>
          <cx:pt idx="5340">0</cx:pt>
          <cx:pt idx="5341">0</cx:pt>
          <cx:pt idx="5342">0</cx:pt>
          <cx:pt idx="5343">0</cx:pt>
          <cx:pt idx="5344">0</cx:pt>
          <cx:pt idx="5345">0</cx:pt>
          <cx:pt idx="5346">0</cx:pt>
          <cx:pt idx="5347">0</cx:pt>
          <cx:pt idx="5348">0</cx:pt>
          <cx:pt idx="5349">0</cx:pt>
          <cx:pt idx="5350">0</cx:pt>
          <cx:pt idx="5351">0</cx:pt>
          <cx:pt idx="5352">0</cx:pt>
          <cx:pt idx="5353">0</cx:pt>
          <cx:pt idx="5354">0</cx:pt>
          <cx:pt idx="5355">0</cx:pt>
          <cx:pt idx="5356">0</cx:pt>
          <cx:pt idx="5357">0</cx:pt>
          <cx:pt idx="5358">0</cx:pt>
          <cx:pt idx="5359">0</cx:pt>
          <cx:pt idx="5360">0</cx:pt>
          <cx:pt idx="5361">0</cx:pt>
          <cx:pt idx="5362">0</cx:pt>
          <cx:pt idx="5363">0</cx:pt>
          <cx:pt idx="5364">0</cx:pt>
          <cx:pt idx="5365">0</cx:pt>
          <cx:pt idx="5366">0</cx:pt>
          <cx:pt idx="5367">0</cx:pt>
          <cx:pt idx="5368">0</cx:pt>
          <cx:pt idx="5369">0</cx:pt>
          <cx:pt idx="5370">0</cx:pt>
          <cx:pt idx="5371">0</cx:pt>
          <cx:pt idx="5372">0</cx:pt>
          <cx:pt idx="5373">0</cx:pt>
          <cx:pt idx="5374">0</cx:pt>
          <cx:pt idx="5375">0</cx:pt>
          <cx:pt idx="5376">0</cx:pt>
          <cx:pt idx="5377">0</cx:pt>
          <cx:pt idx="5378">0</cx:pt>
          <cx:pt idx="5379">0</cx:pt>
          <cx:pt idx="5380">0</cx:pt>
          <cx:pt idx="5381">0</cx:pt>
          <cx:pt idx="5382">0</cx:pt>
          <cx:pt idx="5383">0</cx:pt>
          <cx:pt idx="5384">0</cx:pt>
          <cx:pt idx="5385">0</cx:pt>
          <cx:pt idx="5386">0</cx:pt>
          <cx:pt idx="5387">0</cx:pt>
          <cx:pt idx="5388">0</cx:pt>
          <cx:pt idx="5389">0</cx:pt>
          <cx:pt idx="5390">0</cx:pt>
          <cx:pt idx="5391">0</cx:pt>
          <cx:pt idx="5392">0</cx:pt>
          <cx:pt idx="5393">0</cx:pt>
          <cx:pt idx="5394">0</cx:pt>
          <cx:pt idx="5395">0</cx:pt>
          <cx:pt idx="5396">0</cx:pt>
          <cx:pt idx="5397">0</cx:pt>
          <cx:pt idx="5398">0</cx:pt>
          <cx:pt idx="5399">0</cx:pt>
          <cx:pt idx="5400">0</cx:pt>
          <cx:pt idx="5401">0</cx:pt>
          <cx:pt idx="5402">0</cx:pt>
          <cx:pt idx="5403">0</cx:pt>
          <cx:pt idx="5404">0</cx:pt>
          <cx:pt idx="5405">0</cx:pt>
          <cx:pt idx="5406">0</cx:pt>
          <cx:pt idx="5407">0</cx:pt>
          <cx:pt idx="5408">0</cx:pt>
          <cx:pt idx="5409">0</cx:pt>
          <cx:pt idx="5410">0</cx:pt>
          <cx:pt idx="5411">0</cx:pt>
          <cx:pt idx="5412">0</cx:pt>
          <cx:pt idx="5413">0</cx:pt>
          <cx:pt idx="5414">0</cx:pt>
          <cx:pt idx="5415">0</cx:pt>
          <cx:pt idx="5416">0</cx:pt>
          <cx:pt idx="5417">0</cx:pt>
          <cx:pt idx="5418">0</cx:pt>
          <cx:pt idx="5419">0</cx:pt>
          <cx:pt idx="5420">0</cx:pt>
          <cx:pt idx="5421">0</cx:pt>
          <cx:pt idx="5422">0</cx:pt>
          <cx:pt idx="5423">0</cx:pt>
          <cx:pt idx="5424">0</cx:pt>
          <cx:pt idx="5425">0</cx:pt>
          <cx:pt idx="5426">0</cx:pt>
          <cx:pt idx="5427">0</cx:pt>
          <cx:pt idx="5428">0</cx:pt>
          <cx:pt idx="5429">0</cx:pt>
          <cx:pt idx="5430">0</cx:pt>
          <cx:pt idx="5431">0</cx:pt>
          <cx:pt idx="5432">0</cx:pt>
          <cx:pt idx="5433">0</cx:pt>
          <cx:pt idx="5434">0</cx:pt>
          <cx:pt idx="5435">0</cx:pt>
          <cx:pt idx="5436">0</cx:pt>
          <cx:pt idx="5437">0</cx:pt>
          <cx:pt idx="5438">0</cx:pt>
          <cx:pt idx="5439">0</cx:pt>
          <cx:pt idx="5440">0</cx:pt>
          <cx:pt idx="5441">0</cx:pt>
          <cx:pt idx="5442">0</cx:pt>
          <cx:pt idx="5443">0</cx:pt>
          <cx:pt idx="5444">0</cx:pt>
          <cx:pt idx="5445">0</cx:pt>
          <cx:pt idx="5446">0</cx:pt>
          <cx:pt idx="5447">0</cx:pt>
          <cx:pt idx="5448">0</cx:pt>
          <cx:pt idx="5449">0</cx:pt>
          <cx:pt idx="5450">0</cx:pt>
          <cx:pt idx="5451">0</cx:pt>
          <cx:pt idx="5452">0</cx:pt>
          <cx:pt idx="5453">0</cx:pt>
          <cx:pt idx="5454">0</cx:pt>
          <cx:pt idx="5455">0</cx:pt>
          <cx:pt idx="5456">0</cx:pt>
          <cx:pt idx="5457">0</cx:pt>
          <cx:pt idx="5458">0</cx:pt>
          <cx:pt idx="5459">0</cx:pt>
          <cx:pt idx="5460">0</cx:pt>
          <cx:pt idx="5461">0</cx:pt>
          <cx:pt idx="5462">0</cx:pt>
          <cx:pt idx="5463">0</cx:pt>
          <cx:pt idx="5464">0</cx:pt>
          <cx:pt idx="5465">0</cx:pt>
          <cx:pt idx="5466">0</cx:pt>
          <cx:pt idx="5467">0</cx:pt>
          <cx:pt idx="5468">0</cx:pt>
          <cx:pt idx="5469">0</cx:pt>
          <cx:pt idx="5470">0</cx:pt>
          <cx:pt idx="5471">0</cx:pt>
          <cx:pt idx="5472">0</cx:pt>
          <cx:pt idx="5473">0</cx:pt>
          <cx:pt idx="5474">0</cx:pt>
          <cx:pt idx="5475">0</cx:pt>
          <cx:pt idx="5476">0</cx:pt>
          <cx:pt idx="5477">0</cx:pt>
          <cx:pt idx="5478">0</cx:pt>
          <cx:pt idx="5479">0</cx:pt>
          <cx:pt idx="5480">0</cx:pt>
          <cx:pt idx="5481">0</cx:pt>
          <cx:pt idx="5482">0</cx:pt>
          <cx:pt idx="5483">0</cx:pt>
          <cx:pt idx="5484">0</cx:pt>
          <cx:pt idx="5485">0</cx:pt>
          <cx:pt idx="5486">0</cx:pt>
          <cx:pt idx="5487">0</cx:pt>
          <cx:pt idx="5488">0</cx:pt>
          <cx:pt idx="5489">0</cx:pt>
          <cx:pt idx="5490">0</cx:pt>
          <cx:pt idx="5491">0</cx:pt>
          <cx:pt idx="5492">0</cx:pt>
          <cx:pt idx="5493">0</cx:pt>
          <cx:pt idx="5494">0</cx:pt>
          <cx:pt idx="5495">0</cx:pt>
          <cx:pt idx="5496">0</cx:pt>
          <cx:pt idx="5497">0</cx:pt>
          <cx:pt idx="5498">0</cx:pt>
          <cx:pt idx="5499">0</cx:pt>
          <cx:pt idx="5500">0</cx:pt>
          <cx:pt idx="5501">0</cx:pt>
          <cx:pt idx="5502">0</cx:pt>
          <cx:pt idx="5503">0</cx:pt>
          <cx:pt idx="5504">0</cx:pt>
          <cx:pt idx="5505">0</cx:pt>
          <cx:pt idx="5506">0</cx:pt>
          <cx:pt idx="5507">0</cx:pt>
          <cx:pt idx="5508">0</cx:pt>
          <cx:pt idx="5509">0</cx:pt>
          <cx:pt idx="5510">0</cx:pt>
          <cx:pt idx="5511">0</cx:pt>
          <cx:pt idx="5512">0</cx:pt>
          <cx:pt idx="5513">0</cx:pt>
          <cx:pt idx="5514">0</cx:pt>
          <cx:pt idx="5515">0</cx:pt>
          <cx:pt idx="5516">0</cx:pt>
          <cx:pt idx="5517">0</cx:pt>
          <cx:pt idx="5518">0</cx:pt>
          <cx:pt idx="5519">0</cx:pt>
          <cx:pt idx="5520">0</cx:pt>
          <cx:pt idx="5521">0</cx:pt>
          <cx:pt idx="5522">0</cx:pt>
          <cx:pt idx="5523">0</cx:pt>
          <cx:pt idx="5524">0</cx:pt>
          <cx:pt idx="5525">0</cx:pt>
          <cx:pt idx="5526">0</cx:pt>
          <cx:pt idx="5527">0</cx:pt>
          <cx:pt idx="5528">0</cx:pt>
          <cx:pt idx="5529">0</cx:pt>
          <cx:pt idx="5530">0</cx:pt>
          <cx:pt idx="5531">0</cx:pt>
          <cx:pt idx="5532">0</cx:pt>
          <cx:pt idx="5533">0</cx:pt>
          <cx:pt idx="5534">0</cx:pt>
          <cx:pt idx="5535">0</cx:pt>
          <cx:pt idx="5536">0</cx:pt>
          <cx:pt idx="5537">0</cx:pt>
          <cx:pt idx="5538">0</cx:pt>
          <cx:pt idx="5539">0</cx:pt>
          <cx:pt idx="5540">0</cx:pt>
          <cx:pt idx="5541">0</cx:pt>
          <cx:pt idx="5542">0</cx:pt>
          <cx:pt idx="5543">0</cx:pt>
          <cx:pt idx="5544">0</cx:pt>
          <cx:pt idx="5545">0</cx:pt>
          <cx:pt idx="5546">0</cx:pt>
          <cx:pt idx="5547">0</cx:pt>
          <cx:pt idx="5548">0</cx:pt>
          <cx:pt idx="5549">0</cx:pt>
          <cx:pt idx="5550">0</cx:pt>
          <cx:pt idx="5551">0</cx:pt>
          <cx:pt idx="5552">0</cx:pt>
          <cx:pt idx="5553">0</cx:pt>
          <cx:pt idx="5554">0</cx:pt>
          <cx:pt idx="5555">0</cx:pt>
          <cx:pt idx="5556">0</cx:pt>
          <cx:pt idx="5557">0</cx:pt>
          <cx:pt idx="5558">0</cx:pt>
          <cx:pt idx="5559">0</cx:pt>
          <cx:pt idx="5560">0</cx:pt>
          <cx:pt idx="5561">0</cx:pt>
          <cx:pt idx="5562">0</cx:pt>
          <cx:pt idx="5563">0</cx:pt>
          <cx:pt idx="5564">0</cx:pt>
          <cx:pt idx="5565">0</cx:pt>
          <cx:pt idx="5566">0</cx:pt>
          <cx:pt idx="5567">0</cx:pt>
          <cx:pt idx="5568">0</cx:pt>
          <cx:pt idx="5569">0</cx:pt>
          <cx:pt idx="5570">0</cx:pt>
          <cx:pt idx="5571">0</cx:pt>
          <cx:pt idx="5572">0</cx:pt>
          <cx:pt idx="5573">0</cx:pt>
          <cx:pt idx="5574">0</cx:pt>
          <cx:pt idx="5575">0</cx:pt>
          <cx:pt idx="5576">0</cx:pt>
          <cx:pt idx="5577">0</cx:pt>
          <cx:pt idx="5578">0</cx:pt>
          <cx:pt idx="5579">0</cx:pt>
          <cx:pt idx="5580">0</cx:pt>
          <cx:pt idx="5581">0</cx:pt>
          <cx:pt idx="5582">0</cx:pt>
          <cx:pt idx="5583">0</cx:pt>
          <cx:pt idx="5584">0</cx:pt>
          <cx:pt idx="5585">0</cx:pt>
          <cx:pt idx="5586">0</cx:pt>
          <cx:pt idx="5587">0</cx:pt>
          <cx:pt idx="5588">0</cx:pt>
          <cx:pt idx="5589">0</cx:pt>
          <cx:pt idx="5590">0</cx:pt>
          <cx:pt idx="5591">0</cx:pt>
          <cx:pt idx="5592">0</cx:pt>
          <cx:pt idx="5593">0</cx:pt>
          <cx:pt idx="5594">0</cx:pt>
          <cx:pt idx="5595">0</cx:pt>
          <cx:pt idx="5596">0</cx:pt>
          <cx:pt idx="5597">0</cx:pt>
          <cx:pt idx="5598">0</cx:pt>
          <cx:pt idx="5599">0</cx:pt>
          <cx:pt idx="5600">0</cx:pt>
          <cx:pt idx="5601">0</cx:pt>
          <cx:pt idx="5602">0</cx:pt>
          <cx:pt idx="5603">0</cx:pt>
          <cx:pt idx="5604">0</cx:pt>
          <cx:pt idx="5605">0</cx:pt>
          <cx:pt idx="5606">0</cx:pt>
          <cx:pt idx="5607">0</cx:pt>
          <cx:pt idx="5608">0</cx:pt>
          <cx:pt idx="5609">0</cx:pt>
          <cx:pt idx="5610">0</cx:pt>
          <cx:pt idx="5611">0</cx:pt>
          <cx:pt idx="5612">0</cx:pt>
          <cx:pt idx="5613">0</cx:pt>
          <cx:pt idx="5614">0</cx:pt>
          <cx:pt idx="5615">0</cx:pt>
          <cx:pt idx="5616">0</cx:pt>
          <cx:pt idx="5617">0</cx:pt>
          <cx:pt idx="5618">0</cx:pt>
          <cx:pt idx="5619">0</cx:pt>
          <cx:pt idx="5620">0</cx:pt>
          <cx:pt idx="5621">0</cx:pt>
          <cx:pt idx="5622">0</cx:pt>
          <cx:pt idx="5623">0</cx:pt>
          <cx:pt idx="5624">0</cx:pt>
          <cx:pt idx="5625">0</cx:pt>
          <cx:pt idx="5626">0</cx:pt>
          <cx:pt idx="5627">0</cx:pt>
          <cx:pt idx="5628">0</cx:pt>
          <cx:pt idx="5629">0</cx:pt>
          <cx:pt idx="5630">0</cx:pt>
          <cx:pt idx="5631">0</cx:pt>
          <cx:pt idx="5632">0</cx:pt>
          <cx:pt idx="5633">0</cx:pt>
          <cx:pt idx="5634">0</cx:pt>
          <cx:pt idx="5635">0</cx:pt>
          <cx:pt idx="5636">0</cx:pt>
          <cx:pt idx="5637">0</cx:pt>
          <cx:pt idx="5638">0</cx:pt>
          <cx:pt idx="5639">0</cx:pt>
          <cx:pt idx="5640">0</cx:pt>
          <cx:pt idx="5641">0</cx:pt>
          <cx:pt idx="5642">0</cx:pt>
          <cx:pt idx="5643">0</cx:pt>
          <cx:pt idx="5644">0</cx:pt>
          <cx:pt idx="5645">0</cx:pt>
          <cx:pt idx="5646">0</cx:pt>
          <cx:pt idx="5647">0</cx:pt>
          <cx:pt idx="5648">0</cx:pt>
          <cx:pt idx="5649">0</cx:pt>
          <cx:pt idx="5650">0</cx:pt>
          <cx:pt idx="5651">0</cx:pt>
          <cx:pt idx="5652">0</cx:pt>
          <cx:pt idx="5653">0</cx:pt>
          <cx:pt idx="5654">0</cx:pt>
          <cx:pt idx="5655">0</cx:pt>
          <cx:pt idx="5656">0</cx:pt>
          <cx:pt idx="5657">0</cx:pt>
          <cx:pt idx="5658">0</cx:pt>
          <cx:pt idx="5659">0</cx:pt>
          <cx:pt idx="5660">0</cx:pt>
          <cx:pt idx="5661">0</cx:pt>
          <cx:pt idx="5662">0</cx:pt>
          <cx:pt idx="5663">0</cx:pt>
          <cx:pt idx="5664">0</cx:pt>
          <cx:pt idx="5665">0</cx:pt>
          <cx:pt idx="5666">0</cx:pt>
          <cx:pt idx="5667">0</cx:pt>
          <cx:pt idx="5668">0</cx:pt>
          <cx:pt idx="5669">0</cx:pt>
          <cx:pt idx="5670">0</cx:pt>
          <cx:pt idx="5671">0</cx:pt>
          <cx:pt idx="5672">0</cx:pt>
          <cx:pt idx="5673">0</cx:pt>
          <cx:pt idx="5674">0</cx:pt>
          <cx:pt idx="5675">0</cx:pt>
          <cx:pt idx="5676">0</cx:pt>
          <cx:pt idx="5677">0</cx:pt>
          <cx:pt idx="5678">0</cx:pt>
          <cx:pt idx="5679">0</cx:pt>
          <cx:pt idx="5680">0</cx:pt>
          <cx:pt idx="5681">0</cx:pt>
          <cx:pt idx="5682">0</cx:pt>
          <cx:pt idx="5683">0</cx:pt>
          <cx:pt idx="5684">0</cx:pt>
          <cx:pt idx="5685">0</cx:pt>
          <cx:pt idx="5686">0</cx:pt>
          <cx:pt idx="5687">0</cx:pt>
          <cx:pt idx="5688">0</cx:pt>
          <cx:pt idx="5689">0</cx:pt>
          <cx:pt idx="5690">0</cx:pt>
          <cx:pt idx="5691">0</cx:pt>
          <cx:pt idx="5692">0</cx:pt>
          <cx:pt idx="5693">0</cx:pt>
          <cx:pt idx="5694">0</cx:pt>
          <cx:pt idx="5695">0</cx:pt>
          <cx:pt idx="5696">0</cx:pt>
          <cx:pt idx="5697">0</cx:pt>
          <cx:pt idx="5698">0</cx:pt>
          <cx:pt idx="5699">0</cx:pt>
          <cx:pt idx="5700">0</cx:pt>
          <cx:pt idx="5701">0</cx:pt>
          <cx:pt idx="5702">0</cx:pt>
          <cx:pt idx="5703">0</cx:pt>
          <cx:pt idx="5704">0</cx:pt>
          <cx:pt idx="5705">0</cx:pt>
          <cx:pt idx="5706">0</cx:pt>
          <cx:pt idx="5707">0</cx:pt>
          <cx:pt idx="5708">0</cx:pt>
          <cx:pt idx="5709">0</cx:pt>
          <cx:pt idx="5710">0</cx:pt>
          <cx:pt idx="5711">0</cx:pt>
          <cx:pt idx="5712">0</cx:pt>
          <cx:pt idx="5713">0</cx:pt>
          <cx:pt idx="5714">0</cx:pt>
          <cx:pt idx="5715">0</cx:pt>
          <cx:pt idx="5716">0</cx:pt>
          <cx:pt idx="5717">0</cx:pt>
          <cx:pt idx="5718">0</cx:pt>
          <cx:pt idx="5719">0</cx:pt>
          <cx:pt idx="5720">0</cx:pt>
          <cx:pt idx="5721">0</cx:pt>
          <cx:pt idx="5722">0</cx:pt>
          <cx:pt idx="5723">0</cx:pt>
          <cx:pt idx="5724">0</cx:pt>
          <cx:pt idx="5725">0</cx:pt>
          <cx:pt idx="5726">0</cx:pt>
          <cx:pt idx="5727">0</cx:pt>
          <cx:pt idx="5728">0</cx:pt>
          <cx:pt idx="5729">0</cx:pt>
          <cx:pt idx="5730">0</cx:pt>
          <cx:pt idx="5731">0</cx:pt>
          <cx:pt idx="5732">0</cx:pt>
          <cx:pt idx="5733">0</cx:pt>
          <cx:pt idx="5734">0</cx:pt>
          <cx:pt idx="5735">0</cx:pt>
          <cx:pt idx="5736">0</cx:pt>
          <cx:pt idx="5737">0</cx:pt>
          <cx:pt idx="5738">0</cx:pt>
          <cx:pt idx="5739">0</cx:pt>
          <cx:pt idx="5740">0</cx:pt>
          <cx:pt idx="5741">0</cx:pt>
          <cx:pt idx="5742">0</cx:pt>
          <cx:pt idx="5743">0</cx:pt>
          <cx:pt idx="5744">0</cx:pt>
          <cx:pt idx="5745">0</cx:pt>
          <cx:pt idx="5746">0</cx:pt>
          <cx:pt idx="5747">0</cx:pt>
          <cx:pt idx="5748">0</cx:pt>
          <cx:pt idx="5749">0</cx:pt>
          <cx:pt idx="5750">0</cx:pt>
          <cx:pt idx="5751">0</cx:pt>
          <cx:pt idx="5752">0</cx:pt>
          <cx:pt idx="5753">0</cx:pt>
          <cx:pt idx="5754">0</cx:pt>
          <cx:pt idx="5755">0</cx:pt>
          <cx:pt idx="5756">0</cx:pt>
          <cx:pt idx="5757">0</cx:pt>
          <cx:pt idx="5758">0</cx:pt>
          <cx:pt idx="5759">0</cx:pt>
          <cx:pt idx="5760">0</cx:pt>
          <cx:pt idx="5761">0</cx:pt>
          <cx:pt idx="5762">0</cx:pt>
          <cx:pt idx="5763">0</cx:pt>
          <cx:pt idx="5764">0</cx:pt>
          <cx:pt idx="5765">0</cx:pt>
          <cx:pt idx="5766">0</cx:pt>
          <cx:pt idx="5767">0</cx:pt>
          <cx:pt idx="5768">0</cx:pt>
          <cx:pt idx="5769">0</cx:pt>
          <cx:pt idx="5770">0</cx:pt>
          <cx:pt idx="5771">0</cx:pt>
          <cx:pt idx="5772">0</cx:pt>
          <cx:pt idx="5773">0</cx:pt>
          <cx:pt idx="5774">0</cx:pt>
          <cx:pt idx="5775">0</cx:pt>
          <cx:pt idx="5776">0</cx:pt>
          <cx:pt idx="5777">0</cx:pt>
          <cx:pt idx="5778">0</cx:pt>
          <cx:pt idx="5779">0</cx:pt>
          <cx:pt idx="5780">0</cx:pt>
          <cx:pt idx="5781">0</cx:pt>
          <cx:pt idx="5782">0</cx:pt>
          <cx:pt idx="5783">0</cx:pt>
          <cx:pt idx="5784">0</cx:pt>
          <cx:pt idx="5785">0</cx:pt>
          <cx:pt idx="5786">0</cx:pt>
          <cx:pt idx="5787">0</cx:pt>
          <cx:pt idx="5788">0</cx:pt>
          <cx:pt idx="5789">0</cx:pt>
          <cx:pt idx="5790">0</cx:pt>
          <cx:pt idx="5791">0</cx:pt>
          <cx:pt idx="5792">0</cx:pt>
          <cx:pt idx="5793">0</cx:pt>
          <cx:pt idx="5794">0</cx:pt>
          <cx:pt idx="5795">0</cx:pt>
          <cx:pt idx="5796">0</cx:pt>
          <cx:pt idx="5797">0</cx:pt>
          <cx:pt idx="5798">0</cx:pt>
          <cx:pt idx="5799">0</cx:pt>
          <cx:pt idx="5800">0</cx:pt>
          <cx:pt idx="5801">0</cx:pt>
          <cx:pt idx="5802">0</cx:pt>
          <cx:pt idx="5803">0</cx:pt>
          <cx:pt idx="5804">0</cx:pt>
          <cx:pt idx="5805">0</cx:pt>
          <cx:pt idx="5806">0</cx:pt>
          <cx:pt idx="5807">0</cx:pt>
          <cx:pt idx="5808">0</cx:pt>
          <cx:pt idx="5809">0</cx:pt>
          <cx:pt idx="5810">0</cx:pt>
          <cx:pt idx="5811">0</cx:pt>
          <cx:pt idx="5812">0</cx:pt>
          <cx:pt idx="5813">0</cx:pt>
          <cx:pt idx="5814">0</cx:pt>
          <cx:pt idx="5815">0</cx:pt>
          <cx:pt idx="5816">0</cx:pt>
          <cx:pt idx="5817">0</cx:pt>
          <cx:pt idx="5818">0</cx:pt>
          <cx:pt idx="5819">0</cx:pt>
          <cx:pt idx="5820">0</cx:pt>
          <cx:pt idx="5821">0</cx:pt>
          <cx:pt idx="5822">0</cx:pt>
          <cx:pt idx="5823">0</cx:pt>
          <cx:pt idx="5824">0</cx:pt>
          <cx:pt idx="5825">0</cx:pt>
          <cx:pt idx="5826">0</cx:pt>
          <cx:pt idx="5827">0</cx:pt>
          <cx:pt idx="5828">0</cx:pt>
          <cx:pt idx="5829">0</cx:pt>
          <cx:pt idx="5830">0</cx:pt>
          <cx:pt idx="5831">0</cx:pt>
          <cx:pt idx="5832">0</cx:pt>
          <cx:pt idx="5833">0</cx:pt>
          <cx:pt idx="5834">0</cx:pt>
          <cx:pt idx="5835">0</cx:pt>
          <cx:pt idx="5836">0</cx:pt>
          <cx:pt idx="5837">0</cx:pt>
          <cx:pt idx="5838">0</cx:pt>
          <cx:pt idx="5839">0</cx:pt>
          <cx:pt idx="5840">0</cx:pt>
          <cx:pt idx="5841">0</cx:pt>
          <cx:pt idx="5842">0</cx:pt>
          <cx:pt idx="5843">0</cx:pt>
          <cx:pt idx="5844">0</cx:pt>
          <cx:pt idx="5845">0</cx:pt>
          <cx:pt idx="5846">0</cx:pt>
          <cx:pt idx="5847">0</cx:pt>
          <cx:pt idx="5848">0</cx:pt>
          <cx:pt idx="5849">0</cx:pt>
          <cx:pt idx="5850">0</cx:pt>
          <cx:pt idx="5851">0</cx:pt>
          <cx:pt idx="5852">0</cx:pt>
          <cx:pt idx="5853">0</cx:pt>
          <cx:pt idx="5854">0</cx:pt>
          <cx:pt idx="5855">0</cx:pt>
          <cx:pt idx="5856">0</cx:pt>
          <cx:pt idx="5857">0</cx:pt>
          <cx:pt idx="5858">0</cx:pt>
          <cx:pt idx="5859">0</cx:pt>
          <cx:pt idx="5860">0</cx:pt>
          <cx:pt idx="5861">0</cx:pt>
          <cx:pt idx="5862">0</cx:pt>
          <cx:pt idx="5863">0</cx:pt>
          <cx:pt idx="5864">0</cx:pt>
          <cx:pt idx="5865">0</cx:pt>
          <cx:pt idx="5866">0</cx:pt>
          <cx:pt idx="5867">0</cx:pt>
          <cx:pt idx="5868">0</cx:pt>
          <cx:pt idx="5869">0</cx:pt>
          <cx:pt idx="5870">0</cx:pt>
          <cx:pt idx="5871">0</cx:pt>
          <cx:pt idx="5872">0</cx:pt>
          <cx:pt idx="5873">0</cx:pt>
          <cx:pt idx="5874">0</cx:pt>
          <cx:pt idx="5875">0</cx:pt>
          <cx:pt idx="5876">0</cx:pt>
          <cx:pt idx="5877">0</cx:pt>
          <cx:pt idx="5878">0</cx:pt>
          <cx:pt idx="5879">0</cx:pt>
          <cx:pt idx="5880">0</cx:pt>
          <cx:pt idx="5881">0</cx:pt>
          <cx:pt idx="5882">0</cx:pt>
          <cx:pt idx="5883">0</cx:pt>
          <cx:pt idx="5884">0</cx:pt>
          <cx:pt idx="5885">0</cx:pt>
          <cx:pt idx="5886">0</cx:pt>
          <cx:pt idx="5887">0</cx:pt>
          <cx:pt idx="5888">0</cx:pt>
          <cx:pt idx="5889">0</cx:pt>
          <cx:pt idx="5890">0</cx:pt>
          <cx:pt idx="5891">0</cx:pt>
          <cx:pt idx="5892">0</cx:pt>
          <cx:pt idx="5893">0</cx:pt>
          <cx:pt idx="5894">0</cx:pt>
          <cx:pt idx="5895">0</cx:pt>
          <cx:pt idx="5896">0</cx:pt>
          <cx:pt idx="5897">0</cx:pt>
          <cx:pt idx="5898">0</cx:pt>
          <cx:pt idx="5899">0</cx:pt>
          <cx:pt idx="5900">0</cx:pt>
          <cx:pt idx="5901">0</cx:pt>
          <cx:pt idx="5902">0</cx:pt>
          <cx:pt idx="5903">0</cx:pt>
          <cx:pt idx="5904">0</cx:pt>
          <cx:pt idx="5905">0</cx:pt>
          <cx:pt idx="5906">0</cx:pt>
          <cx:pt idx="5907">0</cx:pt>
          <cx:pt idx="5908">0</cx:pt>
          <cx:pt idx="5909">0</cx:pt>
          <cx:pt idx="5910">0</cx:pt>
          <cx:pt idx="5911">0</cx:pt>
          <cx:pt idx="5912">0</cx:pt>
          <cx:pt idx="5913">0</cx:pt>
          <cx:pt idx="5914">0</cx:pt>
          <cx:pt idx="5915">0</cx:pt>
          <cx:pt idx="5916">0</cx:pt>
          <cx:pt idx="5917">0</cx:pt>
          <cx:pt idx="5918">0</cx:pt>
          <cx:pt idx="5919">0</cx:pt>
          <cx:pt idx="5920">0</cx:pt>
          <cx:pt idx="5921">0</cx:pt>
          <cx:pt idx="5922">0</cx:pt>
          <cx:pt idx="5923">0</cx:pt>
          <cx:pt idx="5924">0</cx:pt>
          <cx:pt idx="5925">0</cx:pt>
          <cx:pt idx="5926">0</cx:pt>
          <cx:pt idx="5927">0</cx:pt>
          <cx:pt idx="5928">0</cx:pt>
          <cx:pt idx="5929">0</cx:pt>
          <cx:pt idx="5930">0</cx:pt>
          <cx:pt idx="5931">0</cx:pt>
          <cx:pt idx="5932">0</cx:pt>
          <cx:pt idx="5933">0</cx:pt>
          <cx:pt idx="5934">0</cx:pt>
          <cx:pt idx="5935">0</cx:pt>
          <cx:pt idx="5936">0</cx:pt>
          <cx:pt idx="5937">0</cx:pt>
          <cx:pt idx="5938">0</cx:pt>
          <cx:pt idx="5939">0</cx:pt>
          <cx:pt idx="5940">0</cx:pt>
          <cx:pt idx="5941">0</cx:pt>
          <cx:pt idx="5942">0</cx:pt>
          <cx:pt idx="5943">0</cx:pt>
          <cx:pt idx="5944">0</cx:pt>
          <cx:pt idx="5945">0</cx:pt>
          <cx:pt idx="5946">0</cx:pt>
          <cx:pt idx="5947">0</cx:pt>
          <cx:pt idx="5948">0</cx:pt>
          <cx:pt idx="5949">0</cx:pt>
          <cx:pt idx="5950">0</cx:pt>
          <cx:pt idx="5951">0</cx:pt>
          <cx:pt idx="5952">0</cx:pt>
          <cx:pt idx="5953">0</cx:pt>
          <cx:pt idx="5954">0</cx:pt>
          <cx:pt idx="5955">0</cx:pt>
          <cx:pt idx="5956">0</cx:pt>
          <cx:pt idx="5957">0</cx:pt>
          <cx:pt idx="5958">0</cx:pt>
          <cx:pt idx="5959">0</cx:pt>
          <cx:pt idx="5960">0</cx:pt>
          <cx:pt idx="5961">0</cx:pt>
          <cx:pt idx="5962">0</cx:pt>
          <cx:pt idx="5963">0</cx:pt>
          <cx:pt idx="5964">0</cx:pt>
          <cx:pt idx="5965">0</cx:pt>
          <cx:pt idx="5966">0</cx:pt>
          <cx:pt idx="5967">0</cx:pt>
          <cx:pt idx="5968">0</cx:pt>
          <cx:pt idx="5969">0</cx:pt>
          <cx:pt idx="5970">0</cx:pt>
          <cx:pt idx="5971">0</cx:pt>
          <cx:pt idx="5972">0</cx:pt>
          <cx:pt idx="5973">0</cx:pt>
          <cx:pt idx="5974">0</cx:pt>
          <cx:pt idx="5975">0</cx:pt>
          <cx:pt idx="5976">0</cx:pt>
          <cx:pt idx="5977">0</cx:pt>
          <cx:pt idx="5978">0</cx:pt>
          <cx:pt idx="5979">0</cx:pt>
          <cx:pt idx="5980">0</cx:pt>
          <cx:pt idx="5981">0</cx:pt>
          <cx:pt idx="5982">0</cx:pt>
          <cx:pt idx="5983">0</cx:pt>
          <cx:pt idx="5984">0</cx:pt>
          <cx:pt idx="5985">0</cx:pt>
          <cx:pt idx="5986">0</cx:pt>
          <cx:pt idx="5987">0</cx:pt>
          <cx:pt idx="5988">0</cx:pt>
          <cx:pt idx="5989">0</cx:pt>
          <cx:pt idx="5990">0</cx:pt>
          <cx:pt idx="5991">0</cx:pt>
          <cx:pt idx="5992">0</cx:pt>
          <cx:pt idx="5993">0</cx:pt>
          <cx:pt idx="5994">0</cx:pt>
          <cx:pt idx="5995">0</cx:pt>
          <cx:pt idx="5996">0</cx:pt>
          <cx:pt idx="5997">0</cx:pt>
          <cx:pt idx="5998">0</cx:pt>
          <cx:pt idx="5999">0</cx:pt>
          <cx:pt idx="6000">0</cx:pt>
          <cx:pt idx="6001">0</cx:pt>
          <cx:pt idx="6002">0</cx:pt>
          <cx:pt idx="6003">0</cx:pt>
          <cx:pt idx="6004">0</cx:pt>
          <cx:pt idx="6005">0</cx:pt>
          <cx:pt idx="6006">0</cx:pt>
          <cx:pt idx="6007">0</cx:pt>
          <cx:pt idx="6008">0</cx:pt>
          <cx:pt idx="6009">0</cx:pt>
          <cx:pt idx="6010">0</cx:pt>
          <cx:pt idx="6011">0</cx:pt>
          <cx:pt idx="6012">0</cx:pt>
          <cx:pt idx="6013">0</cx:pt>
          <cx:pt idx="6014">0</cx:pt>
          <cx:pt idx="6015">0</cx:pt>
          <cx:pt idx="6016">0</cx:pt>
          <cx:pt idx="6017">0</cx:pt>
          <cx:pt idx="6018">0</cx:pt>
          <cx:pt idx="6019">0</cx:pt>
          <cx:pt idx="6020">0</cx:pt>
          <cx:pt idx="6021">0</cx:pt>
          <cx:pt idx="6022">0</cx:pt>
          <cx:pt idx="6023">0</cx:pt>
          <cx:pt idx="6024">0</cx:pt>
          <cx:pt idx="6025">0</cx:pt>
          <cx:pt idx="6026">0</cx:pt>
          <cx:pt idx="6027">0</cx:pt>
          <cx:pt idx="6028">0</cx:pt>
          <cx:pt idx="6029">0</cx:pt>
          <cx:pt idx="6030">0</cx:pt>
          <cx:pt idx="6031">0</cx:pt>
          <cx:pt idx="6032">0</cx:pt>
          <cx:pt idx="6033">0</cx:pt>
          <cx:pt idx="6034">0</cx:pt>
          <cx:pt idx="6035">0</cx:pt>
          <cx:pt idx="6036">0</cx:pt>
          <cx:pt idx="6037">0</cx:pt>
          <cx:pt idx="6038">0</cx:pt>
          <cx:pt idx="6039">0</cx:pt>
          <cx:pt idx="6040">0</cx:pt>
          <cx:pt idx="6041">0</cx:pt>
          <cx:pt idx="6042">0</cx:pt>
          <cx:pt idx="6043">0</cx:pt>
          <cx:pt idx="6044">0</cx:pt>
          <cx:pt idx="6045">0</cx:pt>
          <cx:pt idx="6046">0</cx:pt>
          <cx:pt idx="6047">0</cx:pt>
          <cx:pt idx="6048">0</cx:pt>
          <cx:pt idx="6049">0</cx:pt>
          <cx:pt idx="6050">0</cx:pt>
          <cx:pt idx="6051">0</cx:pt>
          <cx:pt idx="6052">0</cx:pt>
          <cx:pt idx="6053">0</cx:pt>
          <cx:pt idx="6054">0</cx:pt>
          <cx:pt idx="6055">0</cx:pt>
          <cx:pt idx="6056">0</cx:pt>
          <cx:pt idx="6057">0</cx:pt>
          <cx:pt idx="6058">0</cx:pt>
          <cx:pt idx="6059">0</cx:pt>
          <cx:pt idx="6060">0</cx:pt>
          <cx:pt idx="6061">0</cx:pt>
          <cx:pt idx="6062">0</cx:pt>
          <cx:pt idx="6063">0</cx:pt>
          <cx:pt idx="6064">0</cx:pt>
          <cx:pt idx="6065">0</cx:pt>
          <cx:pt idx="6066">0</cx:pt>
          <cx:pt idx="6067">0</cx:pt>
          <cx:pt idx="6068">0</cx:pt>
          <cx:pt idx="6069">0</cx:pt>
          <cx:pt idx="6070">0</cx:pt>
          <cx:pt idx="6071">0</cx:pt>
          <cx:pt idx="6072">0</cx:pt>
          <cx:pt idx="6073">0</cx:pt>
          <cx:pt idx="6074">0</cx:pt>
          <cx:pt idx="6075">0</cx:pt>
          <cx:pt idx="6076">0</cx:pt>
          <cx:pt idx="6077">0</cx:pt>
          <cx:pt idx="6078">0</cx:pt>
          <cx:pt idx="6079">0</cx:pt>
          <cx:pt idx="6080">0</cx:pt>
          <cx:pt idx="6081">0</cx:pt>
          <cx:pt idx="6082">0</cx:pt>
          <cx:pt idx="6083">0</cx:pt>
          <cx:pt idx="6084">0</cx:pt>
          <cx:pt idx="6085">0</cx:pt>
          <cx:pt idx="6086">0</cx:pt>
          <cx:pt idx="6087">0</cx:pt>
          <cx:pt idx="6088">0</cx:pt>
          <cx:pt idx="6089">0</cx:pt>
          <cx:pt idx="6090">0</cx:pt>
          <cx:pt idx="6091">0</cx:pt>
          <cx:pt idx="6092">0</cx:pt>
          <cx:pt idx="6093">0</cx:pt>
          <cx:pt idx="6094">0</cx:pt>
          <cx:pt idx="6095">0</cx:pt>
          <cx:pt idx="6096">0</cx:pt>
          <cx:pt idx="6097">0</cx:pt>
          <cx:pt idx="6098">0</cx:pt>
          <cx:pt idx="6099">0</cx:pt>
          <cx:pt idx="6100">0</cx:pt>
          <cx:pt idx="6101">0</cx:pt>
          <cx:pt idx="6102">0</cx:pt>
          <cx:pt idx="6103">0</cx:pt>
          <cx:pt idx="6104">0</cx:pt>
          <cx:pt idx="6105">0</cx:pt>
          <cx:pt idx="6106">0</cx:pt>
          <cx:pt idx="6107">0</cx:pt>
          <cx:pt idx="6108">0</cx:pt>
          <cx:pt idx="6109">0</cx:pt>
          <cx:pt idx="6110">0</cx:pt>
          <cx:pt idx="6111">0</cx:pt>
          <cx:pt idx="6112">0</cx:pt>
          <cx:pt idx="6113">0</cx:pt>
          <cx:pt idx="6114">0</cx:pt>
          <cx:pt idx="6115">0</cx:pt>
          <cx:pt idx="6116">0</cx:pt>
          <cx:pt idx="6117">0</cx:pt>
          <cx:pt idx="6118">0</cx:pt>
          <cx:pt idx="6119">0</cx:pt>
          <cx:pt idx="6120">0</cx:pt>
          <cx:pt idx="6121">0</cx:pt>
          <cx:pt idx="6122">0</cx:pt>
          <cx:pt idx="6123">0</cx:pt>
          <cx:pt idx="6124">0</cx:pt>
          <cx:pt idx="6125">0</cx:pt>
          <cx:pt idx="6126">0</cx:pt>
          <cx:pt idx="6127">0</cx:pt>
          <cx:pt idx="6128">0</cx:pt>
          <cx:pt idx="6129">0</cx:pt>
          <cx:pt idx="6130">0</cx:pt>
          <cx:pt idx="6131">0</cx:pt>
          <cx:pt idx="6132">0</cx:pt>
          <cx:pt idx="6133">0</cx:pt>
          <cx:pt idx="6134">0</cx:pt>
          <cx:pt idx="6135">0</cx:pt>
          <cx:pt idx="6136">0</cx:pt>
          <cx:pt idx="6137">0</cx:pt>
          <cx:pt idx="6138">0</cx:pt>
          <cx:pt idx="6139">0</cx:pt>
          <cx:pt idx="6140">0</cx:pt>
          <cx:pt idx="6141">0</cx:pt>
          <cx:pt idx="6142">0</cx:pt>
          <cx:pt idx="6143">0</cx:pt>
          <cx:pt idx="6144">0</cx:pt>
          <cx:pt idx="6145">0</cx:pt>
          <cx:pt idx="6146">0</cx:pt>
          <cx:pt idx="6147">0</cx:pt>
          <cx:pt idx="6148">0</cx:pt>
          <cx:pt idx="6149">0</cx:pt>
          <cx:pt idx="6150">0</cx:pt>
          <cx:pt idx="6151">0</cx:pt>
          <cx:pt idx="6152">0</cx:pt>
          <cx:pt idx="6153">0</cx:pt>
          <cx:pt idx="6154">0</cx:pt>
          <cx:pt idx="6155">0</cx:pt>
          <cx:pt idx="6156">0</cx:pt>
          <cx:pt idx="6157">0</cx:pt>
          <cx:pt idx="6158">0</cx:pt>
          <cx:pt idx="6159">0</cx:pt>
          <cx:pt idx="6160">0</cx:pt>
          <cx:pt idx="6161">0</cx:pt>
          <cx:pt idx="6162">0</cx:pt>
          <cx:pt idx="6163">0</cx:pt>
          <cx:pt idx="6164">0</cx:pt>
          <cx:pt idx="6165">0</cx:pt>
          <cx:pt idx="6166">0</cx:pt>
          <cx:pt idx="6167">0</cx:pt>
          <cx:pt idx="6168">0</cx:pt>
          <cx:pt idx="6169">0</cx:pt>
          <cx:pt idx="6170">0</cx:pt>
          <cx:pt idx="6171">0</cx:pt>
          <cx:pt idx="6172">0</cx:pt>
          <cx:pt idx="6173">0</cx:pt>
          <cx:pt idx="6174">0</cx:pt>
          <cx:pt idx="6175">0</cx:pt>
          <cx:pt idx="6176">0</cx:pt>
          <cx:pt idx="6177">0</cx:pt>
          <cx:pt idx="6178">0</cx:pt>
          <cx:pt idx="6179">0</cx:pt>
          <cx:pt idx="6180">0</cx:pt>
          <cx:pt idx="6181">0</cx:pt>
          <cx:pt idx="6182">0</cx:pt>
          <cx:pt idx="6183">0</cx:pt>
          <cx:pt idx="6184">0</cx:pt>
          <cx:pt idx="6185">0</cx:pt>
          <cx:pt idx="6186">0</cx:pt>
          <cx:pt idx="6187">0</cx:pt>
          <cx:pt idx="6188">0</cx:pt>
          <cx:pt idx="6189">0</cx:pt>
          <cx:pt idx="6190">0</cx:pt>
          <cx:pt idx="6191">0</cx:pt>
          <cx:pt idx="6192">0</cx:pt>
          <cx:pt idx="6193">0</cx:pt>
          <cx:pt idx="6194">0</cx:pt>
          <cx:pt idx="6195">0</cx:pt>
          <cx:pt idx="6196">0</cx:pt>
          <cx:pt idx="6197">0</cx:pt>
          <cx:pt idx="6198">0</cx:pt>
          <cx:pt idx="6199">0</cx:pt>
          <cx:pt idx="6200">0</cx:pt>
          <cx:pt idx="6201">0</cx:pt>
          <cx:pt idx="6202">0</cx:pt>
          <cx:pt idx="6203">0</cx:pt>
          <cx:pt idx="6204">0</cx:pt>
          <cx:pt idx="6205">0</cx:pt>
          <cx:pt idx="6206">0</cx:pt>
          <cx:pt idx="6207">0</cx:pt>
          <cx:pt idx="6208">0</cx:pt>
          <cx:pt idx="6209">0</cx:pt>
          <cx:pt idx="6210">0</cx:pt>
          <cx:pt idx="6211">0</cx:pt>
          <cx:pt idx="6212">0</cx:pt>
          <cx:pt idx="6213">0</cx:pt>
          <cx:pt idx="6214">0</cx:pt>
          <cx:pt idx="6215">0</cx:pt>
          <cx:pt idx="6216">0</cx:pt>
          <cx:pt idx="6217">0</cx:pt>
          <cx:pt idx="6218">0</cx:pt>
          <cx:pt idx="6219">0</cx:pt>
          <cx:pt idx="6220">0</cx:pt>
          <cx:pt idx="6221">0</cx:pt>
          <cx:pt idx="6222">0</cx:pt>
          <cx:pt idx="6223">0</cx:pt>
          <cx:pt idx="6224">0</cx:pt>
          <cx:pt idx="6225">0</cx:pt>
          <cx:pt idx="6226">0</cx:pt>
          <cx:pt idx="6227">0</cx:pt>
          <cx:pt idx="6228">0</cx:pt>
          <cx:pt idx="6229">0</cx:pt>
          <cx:pt idx="6230">0</cx:pt>
          <cx:pt idx="6231">0</cx:pt>
          <cx:pt idx="6232">0</cx:pt>
          <cx:pt idx="6233">0</cx:pt>
          <cx:pt idx="6234">0</cx:pt>
          <cx:pt idx="6235">0</cx:pt>
          <cx:pt idx="6236">0</cx:pt>
          <cx:pt idx="6237">0</cx:pt>
          <cx:pt idx="6238">0</cx:pt>
          <cx:pt idx="6239">0</cx:pt>
          <cx:pt idx="6240">0</cx:pt>
          <cx:pt idx="6241">0</cx:pt>
          <cx:pt idx="6242">0</cx:pt>
          <cx:pt idx="6243">0</cx:pt>
          <cx:pt idx="6244">0</cx:pt>
          <cx:pt idx="6245">0</cx:pt>
          <cx:pt idx="6246">0</cx:pt>
          <cx:pt idx="6247">0</cx:pt>
          <cx:pt idx="6248">0</cx:pt>
          <cx:pt idx="6249">0</cx:pt>
          <cx:pt idx="6250">0</cx:pt>
          <cx:pt idx="6251">0</cx:pt>
          <cx:pt idx="6252">0</cx:pt>
          <cx:pt idx="6253">0</cx:pt>
          <cx:pt idx="6254">0</cx:pt>
          <cx:pt idx="6255">0</cx:pt>
          <cx:pt idx="6256">0</cx:pt>
          <cx:pt idx="6257">0</cx:pt>
          <cx:pt idx="6258">0</cx:pt>
          <cx:pt idx="6259">0</cx:pt>
          <cx:pt idx="6260">0</cx:pt>
          <cx:pt idx="6261">0</cx:pt>
          <cx:pt idx="6262">0</cx:pt>
          <cx:pt idx="6263">0</cx:pt>
          <cx:pt idx="6264">0</cx:pt>
          <cx:pt idx="6265">0</cx:pt>
          <cx:pt idx="6266">0</cx:pt>
          <cx:pt idx="6267">0</cx:pt>
          <cx:pt idx="6268">0</cx:pt>
          <cx:pt idx="6269">0</cx:pt>
          <cx:pt idx="6270">0</cx:pt>
          <cx:pt idx="6271">0</cx:pt>
          <cx:pt idx="6272">0</cx:pt>
          <cx:pt idx="6273">0</cx:pt>
          <cx:pt idx="6274">0</cx:pt>
          <cx:pt idx="6275">0</cx:pt>
          <cx:pt idx="6276">0</cx:pt>
          <cx:pt idx="6277">0</cx:pt>
          <cx:pt idx="6278">0</cx:pt>
          <cx:pt idx="6279">0</cx:pt>
          <cx:pt idx="6280">0</cx:pt>
          <cx:pt idx="6281">0</cx:pt>
          <cx:pt idx="6282">0</cx:pt>
          <cx:pt idx="6283">0</cx:pt>
          <cx:pt idx="6284">0</cx:pt>
          <cx:pt idx="6285">0</cx:pt>
          <cx:pt idx="6286">0</cx:pt>
          <cx:pt idx="6287">0</cx:pt>
          <cx:pt idx="6288">0</cx:pt>
          <cx:pt idx="6289">0</cx:pt>
          <cx:pt idx="6290">0</cx:pt>
          <cx:pt idx="6291">0</cx:pt>
          <cx:pt idx="6292">0</cx:pt>
          <cx:pt idx="6293">0</cx:pt>
          <cx:pt idx="6294">0</cx:pt>
          <cx:pt idx="6295">0</cx:pt>
          <cx:pt idx="6296">0</cx:pt>
          <cx:pt idx="6297">0</cx:pt>
          <cx:pt idx="6298">0</cx:pt>
          <cx:pt idx="6299">0</cx:pt>
          <cx:pt idx="6300">0</cx:pt>
          <cx:pt idx="6301">0</cx:pt>
          <cx:pt idx="6302">0</cx:pt>
          <cx:pt idx="6303">0</cx:pt>
          <cx:pt idx="6304">0</cx:pt>
          <cx:pt idx="6305">0</cx:pt>
          <cx:pt idx="6306">0</cx:pt>
          <cx:pt idx="6307">0</cx:pt>
          <cx:pt idx="6308">0</cx:pt>
          <cx:pt idx="6309">0</cx:pt>
          <cx:pt idx="6310">0</cx:pt>
          <cx:pt idx="6311">0</cx:pt>
          <cx:pt idx="6312">0</cx:pt>
          <cx:pt idx="6313">0</cx:pt>
          <cx:pt idx="6314">0</cx:pt>
          <cx:pt idx="6315">0</cx:pt>
          <cx:pt idx="6316">0</cx:pt>
          <cx:pt idx="6317">0</cx:pt>
          <cx:pt idx="6318">0</cx:pt>
          <cx:pt idx="6319">0</cx:pt>
          <cx:pt idx="6320">0</cx:pt>
          <cx:pt idx="6321">0</cx:pt>
          <cx:pt idx="6322">0</cx:pt>
          <cx:pt idx="6323">0</cx:pt>
          <cx:pt idx="6324">0</cx:pt>
          <cx:pt idx="6325">0</cx:pt>
          <cx:pt idx="6326">0</cx:pt>
          <cx:pt idx="6327">0</cx:pt>
          <cx:pt idx="6328">0</cx:pt>
          <cx:pt idx="6329">0</cx:pt>
          <cx:pt idx="6330">0</cx:pt>
          <cx:pt idx="6331">0</cx:pt>
          <cx:pt idx="6332">0</cx:pt>
          <cx:pt idx="6333">0</cx:pt>
          <cx:pt idx="6334">0</cx:pt>
          <cx:pt idx="6335">0</cx:pt>
          <cx:pt idx="6336">0</cx:pt>
          <cx:pt idx="6337">0</cx:pt>
          <cx:pt idx="6338">0</cx:pt>
          <cx:pt idx="6339">0</cx:pt>
          <cx:pt idx="6340">0</cx:pt>
          <cx:pt idx="6341">0</cx:pt>
          <cx:pt idx="6342">0</cx:pt>
          <cx:pt idx="6343">0</cx:pt>
          <cx:pt idx="6344">0</cx:pt>
          <cx:pt idx="6345">0</cx:pt>
          <cx:pt idx="6346">0</cx:pt>
          <cx:pt idx="6347">0</cx:pt>
          <cx:pt idx="6348">0</cx:pt>
          <cx:pt idx="6349">0</cx:pt>
          <cx:pt idx="6350">0</cx:pt>
          <cx:pt idx="6351">0</cx:pt>
          <cx:pt idx="6352">0</cx:pt>
          <cx:pt idx="6353">0</cx:pt>
          <cx:pt idx="6354">0</cx:pt>
          <cx:pt idx="6355">0</cx:pt>
          <cx:pt idx="6356">0</cx:pt>
          <cx:pt idx="6357">0</cx:pt>
          <cx:pt idx="6358">0</cx:pt>
          <cx:pt idx="6359">0</cx:pt>
          <cx:pt idx="6360">0</cx:pt>
          <cx:pt idx="6361">0</cx:pt>
          <cx:pt idx="6362">0</cx:pt>
          <cx:pt idx="6363">0</cx:pt>
          <cx:pt idx="6364">0</cx:pt>
          <cx:pt idx="6365">0</cx:pt>
          <cx:pt idx="6366">0</cx:pt>
          <cx:pt idx="6367">0</cx:pt>
          <cx:pt idx="6368">0</cx:pt>
          <cx:pt idx="6369">0</cx:pt>
          <cx:pt idx="6370">0</cx:pt>
          <cx:pt idx="6371">0</cx:pt>
          <cx:pt idx="6372">0</cx:pt>
          <cx:pt idx="6373">0</cx:pt>
          <cx:pt idx="6374">0</cx:pt>
          <cx:pt idx="6375">0</cx:pt>
          <cx:pt idx="6376">0</cx:pt>
          <cx:pt idx="6377">0</cx:pt>
          <cx:pt idx="6378">0</cx:pt>
          <cx:pt idx="6379">0</cx:pt>
          <cx:pt idx="6380">0</cx:pt>
          <cx:pt idx="6381">0</cx:pt>
          <cx:pt idx="6382">0</cx:pt>
          <cx:pt idx="6383">0</cx:pt>
          <cx:pt idx="6384">0</cx:pt>
          <cx:pt idx="6385">0</cx:pt>
          <cx:pt idx="6386">0</cx:pt>
          <cx:pt idx="6387">0</cx:pt>
          <cx:pt idx="6388">0</cx:pt>
          <cx:pt idx="6389">0</cx:pt>
          <cx:pt idx="6390">0</cx:pt>
          <cx:pt idx="6391">0</cx:pt>
          <cx:pt idx="6392">0</cx:pt>
          <cx:pt idx="6393">0</cx:pt>
          <cx:pt idx="6394">0</cx:pt>
          <cx:pt idx="6395">0</cx:pt>
          <cx:pt idx="6396">0</cx:pt>
          <cx:pt idx="6397">0</cx:pt>
          <cx:pt idx="6398">0</cx:pt>
          <cx:pt idx="6399">0</cx:pt>
          <cx:pt idx="6400">0</cx:pt>
          <cx:pt idx="6401">0</cx:pt>
          <cx:pt idx="6402">0</cx:pt>
          <cx:pt idx="6403">0</cx:pt>
          <cx:pt idx="6404">0</cx:pt>
          <cx:pt idx="6405">0</cx:pt>
          <cx:pt idx="6406">0</cx:pt>
          <cx:pt idx="6407">0</cx:pt>
          <cx:pt idx="6408">0</cx:pt>
          <cx:pt idx="6409">0</cx:pt>
          <cx:pt idx="6410">0</cx:pt>
          <cx:pt idx="6411">0</cx:pt>
          <cx:pt idx="6412">0</cx:pt>
          <cx:pt idx="6413">0</cx:pt>
          <cx:pt idx="6414">0</cx:pt>
          <cx:pt idx="6415">0</cx:pt>
          <cx:pt idx="6416">0</cx:pt>
          <cx:pt idx="6417">0</cx:pt>
          <cx:pt idx="6418">0</cx:pt>
          <cx:pt idx="6419">0</cx:pt>
          <cx:pt idx="6420">0</cx:pt>
          <cx:pt idx="6421">0</cx:pt>
          <cx:pt idx="6422">0</cx:pt>
          <cx:pt idx="6423">0</cx:pt>
          <cx:pt idx="6424">0</cx:pt>
          <cx:pt idx="6425">0</cx:pt>
          <cx:pt idx="6426">0</cx:pt>
          <cx:pt idx="6427">0</cx:pt>
          <cx:pt idx="6428">0</cx:pt>
          <cx:pt idx="6429">0</cx:pt>
          <cx:pt idx="6430">0</cx:pt>
          <cx:pt idx="6431">0</cx:pt>
          <cx:pt idx="6432">0</cx:pt>
          <cx:pt idx="6433">0</cx:pt>
          <cx:pt idx="6434">0</cx:pt>
          <cx:pt idx="6435">0</cx:pt>
          <cx:pt idx="6436">0</cx:pt>
          <cx:pt idx="6437">0</cx:pt>
          <cx:pt idx="6438">0</cx:pt>
          <cx:pt idx="6439">0</cx:pt>
          <cx:pt idx="6440">0</cx:pt>
          <cx:pt idx="6441">0</cx:pt>
          <cx:pt idx="6442">0</cx:pt>
          <cx:pt idx="6443">0</cx:pt>
          <cx:pt idx="6444">0</cx:pt>
          <cx:pt idx="6445">0</cx:pt>
          <cx:pt idx="6446">0</cx:pt>
          <cx:pt idx="6447">0</cx:pt>
          <cx:pt idx="6448">0</cx:pt>
          <cx:pt idx="6449">0</cx:pt>
          <cx:pt idx="6450">0</cx:pt>
          <cx:pt idx="6451">0</cx:pt>
          <cx:pt idx="6452">0</cx:pt>
          <cx:pt idx="6453">0</cx:pt>
          <cx:pt idx="6454">0</cx:pt>
          <cx:pt idx="6455">0</cx:pt>
          <cx:pt idx="6456">0</cx:pt>
          <cx:pt idx="6457">0</cx:pt>
          <cx:pt idx="6458">0</cx:pt>
          <cx:pt idx="6459">0</cx:pt>
          <cx:pt idx="6460">0</cx:pt>
          <cx:pt idx="6461">0</cx:pt>
          <cx:pt idx="6462">0</cx:pt>
          <cx:pt idx="6463">0</cx:pt>
          <cx:pt idx="6464">0</cx:pt>
          <cx:pt idx="6465">0</cx:pt>
          <cx:pt idx="6466">0</cx:pt>
          <cx:pt idx="6467">0</cx:pt>
          <cx:pt idx="6468">0</cx:pt>
          <cx:pt idx="6469">0</cx:pt>
          <cx:pt idx="6470">0</cx:pt>
          <cx:pt idx="6471">0</cx:pt>
          <cx:pt idx="6472">0</cx:pt>
          <cx:pt idx="6473">0</cx:pt>
          <cx:pt idx="6474">0</cx:pt>
          <cx:pt idx="6475">0</cx:pt>
          <cx:pt idx="6476">0</cx:pt>
          <cx:pt idx="6477">0</cx:pt>
          <cx:pt idx="6478">0</cx:pt>
          <cx:pt idx="6479">0</cx:pt>
          <cx:pt idx="6480">0</cx:pt>
          <cx:pt idx="6481">0</cx:pt>
          <cx:pt idx="6482">0</cx:pt>
          <cx:pt idx="6483">0</cx:pt>
          <cx:pt idx="6484">0</cx:pt>
          <cx:pt idx="6485">0</cx:pt>
          <cx:pt idx="6486">0</cx:pt>
          <cx:pt idx="6487">0</cx:pt>
          <cx:pt idx="6488">0</cx:pt>
          <cx:pt idx="6489">0</cx:pt>
          <cx:pt idx="6490">0</cx:pt>
          <cx:pt idx="6491">0</cx:pt>
          <cx:pt idx="6492">0</cx:pt>
          <cx:pt idx="6493">0</cx:pt>
          <cx:pt idx="6494">0</cx:pt>
          <cx:pt idx="6495">0</cx:pt>
          <cx:pt idx="6496">0</cx:pt>
          <cx:pt idx="6497">0</cx:pt>
          <cx:pt idx="6498">0</cx:pt>
          <cx:pt idx="6499">0</cx:pt>
          <cx:pt idx="6500">0</cx:pt>
          <cx:pt idx="6501">0</cx:pt>
          <cx:pt idx="6502">0</cx:pt>
          <cx:pt idx="6503">0</cx:pt>
          <cx:pt idx="6504">0</cx:pt>
          <cx:pt idx="6505">0</cx:pt>
          <cx:pt idx="6506">0</cx:pt>
          <cx:pt idx="6507">0</cx:pt>
          <cx:pt idx="6508">0</cx:pt>
          <cx:pt idx="6509">0</cx:pt>
          <cx:pt idx="6510">0</cx:pt>
          <cx:pt idx="6511">0</cx:pt>
          <cx:pt idx="6512">0</cx:pt>
          <cx:pt idx="6513">0</cx:pt>
          <cx:pt idx="6514">0</cx:pt>
          <cx:pt idx="6515">0</cx:pt>
          <cx:pt idx="6516">0</cx:pt>
          <cx:pt idx="6517">0</cx:pt>
          <cx:pt idx="6518">0</cx:pt>
          <cx:pt idx="6519">0</cx:pt>
          <cx:pt idx="6520">0</cx:pt>
          <cx:pt idx="6521">0</cx:pt>
          <cx:pt idx="6522">0</cx:pt>
          <cx:pt idx="6523">0</cx:pt>
          <cx:pt idx="6524">0</cx:pt>
          <cx:pt idx="6525">0</cx:pt>
          <cx:pt idx="6526">0</cx:pt>
          <cx:pt idx="6527">0</cx:pt>
          <cx:pt idx="6528">0</cx:pt>
          <cx:pt idx="6529">0</cx:pt>
          <cx:pt idx="6530">0</cx:pt>
          <cx:pt idx="6531">0</cx:pt>
          <cx:pt idx="6532">0</cx:pt>
          <cx:pt idx="6533">0</cx:pt>
          <cx:pt idx="6534">0</cx:pt>
          <cx:pt idx="6535">0</cx:pt>
          <cx:pt idx="6536">0</cx:pt>
          <cx:pt idx="6537">0</cx:pt>
          <cx:pt idx="6538">0</cx:pt>
          <cx:pt idx="6539">0</cx:pt>
          <cx:pt idx="6540">0</cx:pt>
          <cx:pt idx="6541">0</cx:pt>
          <cx:pt idx="6542">0</cx:pt>
          <cx:pt idx="6543">0</cx:pt>
          <cx:pt idx="6544">0</cx:pt>
          <cx:pt idx="6545">0</cx:pt>
          <cx:pt idx="6546">0</cx:pt>
          <cx:pt idx="6547">0</cx:pt>
          <cx:pt idx="6548">0</cx:pt>
          <cx:pt idx="6549">0</cx:pt>
          <cx:pt idx="6550">0</cx:pt>
          <cx:pt idx="6551">0</cx:pt>
          <cx:pt idx="6552">0</cx:pt>
          <cx:pt idx="6553">0</cx:pt>
          <cx:pt idx="6554">0</cx:pt>
          <cx:pt idx="6555">0</cx:pt>
          <cx:pt idx="6556">0</cx:pt>
          <cx:pt idx="6557">0</cx:pt>
          <cx:pt idx="6558">0</cx:pt>
          <cx:pt idx="6559">0</cx:pt>
          <cx:pt idx="6560">0</cx:pt>
          <cx:pt idx="6561">0</cx:pt>
          <cx:pt idx="6562">0</cx:pt>
          <cx:pt idx="6563">0</cx:pt>
          <cx:pt idx="6564">0</cx:pt>
          <cx:pt idx="6565">0</cx:pt>
          <cx:pt idx="6566">0</cx:pt>
          <cx:pt idx="6567">0</cx:pt>
          <cx:pt idx="6568">0</cx:pt>
          <cx:pt idx="6569">0</cx:pt>
          <cx:pt idx="6570">0</cx:pt>
          <cx:pt idx="6571">0</cx:pt>
          <cx:pt idx="6572">0</cx:pt>
          <cx:pt idx="6573">0</cx:pt>
          <cx:pt idx="6574">0</cx:pt>
          <cx:pt idx="6575">0</cx:pt>
          <cx:pt idx="6576">0</cx:pt>
          <cx:pt idx="6577">0</cx:pt>
          <cx:pt idx="6578">0</cx:pt>
          <cx:pt idx="6579">0</cx:pt>
          <cx:pt idx="6580">0</cx:pt>
          <cx:pt idx="6581">0</cx:pt>
          <cx:pt idx="6582">0</cx:pt>
          <cx:pt idx="6583">0</cx:pt>
          <cx:pt idx="6584">0</cx:pt>
          <cx:pt idx="6585">0</cx:pt>
          <cx:pt idx="6586">0</cx:pt>
          <cx:pt idx="6587">0</cx:pt>
          <cx:pt idx="6588">0</cx:pt>
          <cx:pt idx="6589">0</cx:pt>
          <cx:pt idx="6590">0</cx:pt>
          <cx:pt idx="6591">0</cx:pt>
          <cx:pt idx="6592">0</cx:pt>
          <cx:pt idx="6593">0</cx:pt>
          <cx:pt idx="6594">0</cx:pt>
          <cx:pt idx="6595">0</cx:pt>
          <cx:pt idx="6596">0</cx:pt>
          <cx:pt idx="6597">0</cx:pt>
          <cx:pt idx="6598">0</cx:pt>
          <cx:pt idx="6599">0</cx:pt>
          <cx:pt idx="6600">0</cx:pt>
          <cx:pt idx="6601">0</cx:pt>
          <cx:pt idx="6602">0</cx:pt>
          <cx:pt idx="6603">0</cx:pt>
          <cx:pt idx="6604">0</cx:pt>
          <cx:pt idx="6605">0</cx:pt>
          <cx:pt idx="6606">0</cx:pt>
          <cx:pt idx="6607">0</cx:pt>
          <cx:pt idx="6608">0</cx:pt>
          <cx:pt idx="6609">0</cx:pt>
          <cx:pt idx="6610">0</cx:pt>
          <cx:pt idx="6611">0</cx:pt>
          <cx:pt idx="6612">0</cx:pt>
          <cx:pt idx="6613">0</cx:pt>
          <cx:pt idx="6614">0</cx:pt>
          <cx:pt idx="6615">0</cx:pt>
          <cx:pt idx="6616">0</cx:pt>
          <cx:pt idx="6617">0</cx:pt>
          <cx:pt idx="6618">0</cx:pt>
          <cx:pt idx="6619">0</cx:pt>
          <cx:pt idx="6620">0</cx:pt>
          <cx:pt idx="6621">0</cx:pt>
          <cx:pt idx="6622">0</cx:pt>
          <cx:pt idx="6623">0</cx:pt>
          <cx:pt idx="6624">0</cx:pt>
          <cx:pt idx="6625">0</cx:pt>
          <cx:pt idx="6626">0</cx:pt>
          <cx:pt idx="6627">0</cx:pt>
          <cx:pt idx="6628">0</cx:pt>
          <cx:pt idx="6629">0</cx:pt>
          <cx:pt idx="6630">0</cx:pt>
          <cx:pt idx="6631">0</cx:pt>
          <cx:pt idx="6632">0</cx:pt>
          <cx:pt idx="6633">0</cx:pt>
          <cx:pt idx="6634">0</cx:pt>
          <cx:pt idx="6635">0</cx:pt>
          <cx:pt idx="6636">0</cx:pt>
          <cx:pt idx="6637">0</cx:pt>
          <cx:pt idx="6638">0</cx:pt>
          <cx:pt idx="6639">0</cx:pt>
          <cx:pt idx="6640">0</cx:pt>
          <cx:pt idx="6641">0</cx:pt>
          <cx:pt idx="6642">0</cx:pt>
          <cx:pt idx="6643">0</cx:pt>
          <cx:pt idx="6644">0</cx:pt>
          <cx:pt idx="6645">0</cx:pt>
          <cx:pt idx="6646">0</cx:pt>
          <cx:pt idx="6647">0</cx:pt>
          <cx:pt idx="6648">0</cx:pt>
          <cx:pt idx="6649">0</cx:pt>
          <cx:pt idx="6650">0</cx:pt>
          <cx:pt idx="6651">0</cx:pt>
          <cx:pt idx="6652">0</cx:pt>
          <cx:pt idx="6653">0</cx:pt>
          <cx:pt idx="6654">0</cx:pt>
          <cx:pt idx="6655">0</cx:pt>
          <cx:pt idx="6656">0</cx:pt>
          <cx:pt idx="6657">0</cx:pt>
          <cx:pt idx="6658">0</cx:pt>
          <cx:pt idx="6659">0</cx:pt>
          <cx:pt idx="6660">0</cx:pt>
          <cx:pt idx="6661">0</cx:pt>
          <cx:pt idx="6662">0</cx:pt>
          <cx:pt idx="6663">0</cx:pt>
          <cx:pt idx="6664">0</cx:pt>
          <cx:pt idx="6665">0</cx:pt>
          <cx:pt idx="6666">0</cx:pt>
          <cx:pt idx="6667">0</cx:pt>
          <cx:pt idx="6668">0</cx:pt>
          <cx:pt idx="6669">0</cx:pt>
          <cx:pt idx="6670">0</cx:pt>
          <cx:pt idx="6671">0</cx:pt>
          <cx:pt idx="6672">0</cx:pt>
          <cx:pt idx="6673">0</cx:pt>
          <cx:pt idx="6674">0</cx:pt>
          <cx:pt idx="6675">0</cx:pt>
          <cx:pt idx="6676">0</cx:pt>
          <cx:pt idx="6677">0</cx:pt>
          <cx:pt idx="6678">0</cx:pt>
          <cx:pt idx="6679">0</cx:pt>
          <cx:pt idx="6680">0</cx:pt>
          <cx:pt idx="6681">0</cx:pt>
          <cx:pt idx="6682">0</cx:pt>
          <cx:pt idx="6683">0</cx:pt>
          <cx:pt idx="6684">0</cx:pt>
          <cx:pt idx="6685">0</cx:pt>
          <cx:pt idx="6686">0</cx:pt>
          <cx:pt idx="6687">0</cx:pt>
          <cx:pt idx="6688">0</cx:pt>
          <cx:pt idx="6689">0</cx:pt>
          <cx:pt idx="6690">0</cx:pt>
          <cx:pt idx="6691">0</cx:pt>
          <cx:pt idx="6692">0</cx:pt>
          <cx:pt idx="6693">0</cx:pt>
          <cx:pt idx="6694">0</cx:pt>
          <cx:pt idx="6695">0</cx:pt>
          <cx:pt idx="6696">0</cx:pt>
          <cx:pt idx="6697">0</cx:pt>
          <cx:pt idx="6698">0</cx:pt>
          <cx:pt idx="6699">0</cx:pt>
          <cx:pt idx="6700">0</cx:pt>
          <cx:pt idx="6701">0</cx:pt>
          <cx:pt idx="6702">0</cx:pt>
          <cx:pt idx="6703">0</cx:pt>
          <cx:pt idx="6704">0</cx:pt>
          <cx:pt idx="6705">0</cx:pt>
          <cx:pt idx="6706">0</cx:pt>
          <cx:pt idx="6707">0</cx:pt>
          <cx:pt idx="6708">0</cx:pt>
          <cx:pt idx="6709">0</cx:pt>
          <cx:pt idx="6710">0</cx:pt>
          <cx:pt idx="6711">0</cx:pt>
          <cx:pt idx="6712">0</cx:pt>
          <cx:pt idx="6713">0</cx:pt>
          <cx:pt idx="6714">0</cx:pt>
          <cx:pt idx="6715">0</cx:pt>
          <cx:pt idx="6716">0</cx:pt>
          <cx:pt idx="6717">0</cx:pt>
          <cx:pt idx="6718">0</cx:pt>
          <cx:pt idx="6719">0</cx:pt>
          <cx:pt idx="6720">0</cx:pt>
          <cx:pt idx="6721">0</cx:pt>
          <cx:pt idx="6722">0</cx:pt>
          <cx:pt idx="6723">0</cx:pt>
          <cx:pt idx="6724">0</cx:pt>
          <cx:pt idx="6725">0</cx:pt>
          <cx:pt idx="6726">0</cx:pt>
          <cx:pt idx="6727">0</cx:pt>
          <cx:pt idx="6728">0</cx:pt>
          <cx:pt idx="6729">0</cx:pt>
          <cx:pt idx="6730">0</cx:pt>
          <cx:pt idx="6731">0</cx:pt>
          <cx:pt idx="6732">0</cx:pt>
          <cx:pt idx="6733">0</cx:pt>
          <cx:pt idx="6734">0</cx:pt>
          <cx:pt idx="6735">0</cx:pt>
          <cx:pt idx="6736">0</cx:pt>
          <cx:pt idx="6737">0</cx:pt>
          <cx:pt idx="6738">0</cx:pt>
          <cx:pt idx="6739">0</cx:pt>
          <cx:pt idx="6740">0</cx:pt>
          <cx:pt idx="6741">0</cx:pt>
          <cx:pt idx="6742">0</cx:pt>
          <cx:pt idx="6743">0</cx:pt>
          <cx:pt idx="6744">0</cx:pt>
          <cx:pt idx="6745">0</cx:pt>
          <cx:pt idx="6746">0</cx:pt>
          <cx:pt idx="6747">0</cx:pt>
          <cx:pt idx="6748">0</cx:pt>
          <cx:pt idx="6749">0</cx:pt>
          <cx:pt idx="6750">0</cx:pt>
          <cx:pt idx="6751">0</cx:pt>
          <cx:pt idx="6752">0</cx:pt>
          <cx:pt idx="6753">0</cx:pt>
          <cx:pt idx="6754">0</cx:pt>
          <cx:pt idx="6755">0</cx:pt>
          <cx:pt idx="6756">0</cx:pt>
          <cx:pt idx="6757">0</cx:pt>
          <cx:pt idx="6758">0</cx:pt>
          <cx:pt idx="6759">0</cx:pt>
          <cx:pt idx="6760">0</cx:pt>
          <cx:pt idx="6761">0</cx:pt>
          <cx:pt idx="6762">0</cx:pt>
          <cx:pt idx="6763">0</cx:pt>
          <cx:pt idx="6764">0</cx:pt>
          <cx:pt idx="6765">0</cx:pt>
          <cx:pt idx="6766">0</cx:pt>
          <cx:pt idx="6767">0</cx:pt>
          <cx:pt idx="6768">0</cx:pt>
          <cx:pt idx="6769">0</cx:pt>
          <cx:pt idx="6770">0</cx:pt>
          <cx:pt idx="6771">0</cx:pt>
          <cx:pt idx="6772">0</cx:pt>
          <cx:pt idx="6773">0</cx:pt>
          <cx:pt idx="6774">0</cx:pt>
          <cx:pt idx="6775">0</cx:pt>
          <cx:pt idx="6776">0</cx:pt>
          <cx:pt idx="6777">0</cx:pt>
          <cx:pt idx="6778">0</cx:pt>
          <cx:pt idx="6779">0</cx:pt>
          <cx:pt idx="6780">0</cx:pt>
          <cx:pt idx="6781">0</cx:pt>
          <cx:pt idx="6782">0</cx:pt>
          <cx:pt idx="6783">0</cx:pt>
          <cx:pt idx="6784">0</cx:pt>
          <cx:pt idx="6785">0</cx:pt>
          <cx:pt idx="6786">0</cx:pt>
          <cx:pt idx="6787">0</cx:pt>
          <cx:pt idx="6788">0</cx:pt>
          <cx:pt idx="6789">0</cx:pt>
          <cx:pt idx="6790">0</cx:pt>
          <cx:pt idx="6791">0</cx:pt>
          <cx:pt idx="6792">0</cx:pt>
          <cx:pt idx="6793">0</cx:pt>
          <cx:pt idx="6794">0</cx:pt>
          <cx:pt idx="6795">0</cx:pt>
          <cx:pt idx="6796">0</cx:pt>
          <cx:pt idx="6797">0</cx:pt>
          <cx:pt idx="6798">0</cx:pt>
          <cx:pt idx="6799">0</cx:pt>
          <cx:pt idx="6800">0</cx:pt>
          <cx:pt idx="6801">0</cx:pt>
          <cx:pt idx="6802">0</cx:pt>
          <cx:pt idx="6803">0</cx:pt>
          <cx:pt idx="6804">0</cx:pt>
          <cx:pt idx="6805">0</cx:pt>
          <cx:pt idx="6806">0</cx:pt>
          <cx:pt idx="6807">0</cx:pt>
          <cx:pt idx="6808">0</cx:pt>
          <cx:pt idx="6809">0</cx:pt>
          <cx:pt idx="6810">0</cx:pt>
          <cx:pt idx="6811">0</cx:pt>
          <cx:pt idx="6812">0</cx:pt>
          <cx:pt idx="6813">0</cx:pt>
          <cx:pt idx="6814">0</cx:pt>
          <cx:pt idx="6815">0</cx:pt>
          <cx:pt idx="6816">0</cx:pt>
          <cx:pt idx="6817">0</cx:pt>
          <cx:pt idx="6818">0</cx:pt>
          <cx:pt idx="6819">0</cx:pt>
          <cx:pt idx="6820">0</cx:pt>
          <cx:pt idx="6821">0</cx:pt>
          <cx:pt idx="6822">0</cx:pt>
          <cx:pt idx="6823">0</cx:pt>
          <cx:pt idx="6824">0</cx:pt>
          <cx:pt idx="6825">0</cx:pt>
          <cx:pt idx="6826">0</cx:pt>
          <cx:pt idx="6827">0</cx:pt>
          <cx:pt idx="6828">0</cx:pt>
          <cx:pt idx="6829">0</cx:pt>
          <cx:pt idx="6830">0</cx:pt>
          <cx:pt idx="6831">0</cx:pt>
          <cx:pt idx="6832">0</cx:pt>
          <cx:pt idx="6833">0</cx:pt>
          <cx:pt idx="6834">0</cx:pt>
          <cx:pt idx="6835">0</cx:pt>
          <cx:pt idx="6836">0</cx:pt>
          <cx:pt idx="6837">0</cx:pt>
          <cx:pt idx="6838">0</cx:pt>
          <cx:pt idx="6839">0</cx:pt>
          <cx:pt idx="6840">0</cx:pt>
          <cx:pt idx="6841">0</cx:pt>
          <cx:pt idx="6842">0</cx:pt>
          <cx:pt idx="6843">0</cx:pt>
          <cx:pt idx="6844">0</cx:pt>
          <cx:pt idx="6845">0</cx:pt>
          <cx:pt idx="6846">0</cx:pt>
          <cx:pt idx="6847">0</cx:pt>
          <cx:pt idx="6848">0</cx:pt>
          <cx:pt idx="6849">0</cx:pt>
          <cx:pt idx="6850">0</cx:pt>
          <cx:pt idx="6851">0</cx:pt>
          <cx:pt idx="6852">0</cx:pt>
          <cx:pt idx="6853">0</cx:pt>
          <cx:pt idx="6854">0</cx:pt>
          <cx:pt idx="6855">0</cx:pt>
          <cx:pt idx="6856">0</cx:pt>
          <cx:pt idx="6857">0</cx:pt>
          <cx:pt idx="6858">0</cx:pt>
          <cx:pt idx="6859">0</cx:pt>
          <cx:pt idx="6860">0</cx:pt>
          <cx:pt idx="6861">0</cx:pt>
          <cx:pt idx="6862">0</cx:pt>
          <cx:pt idx="6863">0</cx:pt>
          <cx:pt idx="6864">0</cx:pt>
          <cx:pt idx="6865">0</cx:pt>
          <cx:pt idx="6866">0</cx:pt>
          <cx:pt idx="6867">0</cx:pt>
          <cx:pt idx="6868">0</cx:pt>
          <cx:pt idx="6869">0</cx:pt>
          <cx:pt idx="6870">0</cx:pt>
          <cx:pt idx="6871">0</cx:pt>
          <cx:pt idx="6872">0</cx:pt>
          <cx:pt idx="6873">0</cx:pt>
          <cx:pt idx="6874">0</cx:pt>
          <cx:pt idx="6875">0</cx:pt>
          <cx:pt idx="6876">0</cx:pt>
          <cx:pt idx="6877">0</cx:pt>
          <cx:pt idx="6878">0</cx:pt>
          <cx:pt idx="6879">0</cx:pt>
          <cx:pt idx="6880">0</cx:pt>
          <cx:pt idx="6881">0</cx:pt>
          <cx:pt idx="6882">0</cx:pt>
          <cx:pt idx="6883">0</cx:pt>
          <cx:pt idx="6884">0</cx:pt>
          <cx:pt idx="6885">0</cx:pt>
          <cx:pt idx="6886">0</cx:pt>
          <cx:pt idx="6887">0</cx:pt>
          <cx:pt idx="6888">0</cx:pt>
          <cx:pt idx="6889">0</cx:pt>
          <cx:pt idx="6890">0</cx:pt>
          <cx:pt idx="6891">0</cx:pt>
          <cx:pt idx="6892">0</cx:pt>
          <cx:pt idx="6893">0</cx:pt>
          <cx:pt idx="6894">0</cx:pt>
          <cx:pt idx="6895">0</cx:pt>
          <cx:pt idx="6896">0</cx:pt>
          <cx:pt idx="6897">0</cx:pt>
          <cx:pt idx="6898">0</cx:pt>
          <cx:pt idx="6899">0</cx:pt>
          <cx:pt idx="6900">0</cx:pt>
          <cx:pt idx="6901">0</cx:pt>
          <cx:pt idx="6902">0</cx:pt>
          <cx:pt idx="6903">0</cx:pt>
          <cx:pt idx="6904">0</cx:pt>
          <cx:pt idx="6905">0</cx:pt>
          <cx:pt idx="6906">0</cx:pt>
          <cx:pt idx="6907">0</cx:pt>
          <cx:pt idx="6908">0</cx:pt>
          <cx:pt idx="6909">0</cx:pt>
          <cx:pt idx="6910">0</cx:pt>
          <cx:pt idx="6911">0</cx:pt>
          <cx:pt idx="6912">0</cx:pt>
          <cx:pt idx="6913">0</cx:pt>
          <cx:pt idx="6914">0</cx:pt>
          <cx:pt idx="6915">0</cx:pt>
          <cx:pt idx="6916">0</cx:pt>
          <cx:pt idx="6917">0</cx:pt>
          <cx:pt idx="6918">0</cx:pt>
          <cx:pt idx="6919">0</cx:pt>
          <cx:pt idx="6920">0</cx:pt>
          <cx:pt idx="6921">0</cx:pt>
          <cx:pt idx="6922">0</cx:pt>
          <cx:pt idx="6923">0</cx:pt>
          <cx:pt idx="6924">0</cx:pt>
          <cx:pt idx="6925">0</cx:pt>
          <cx:pt idx="6926">0</cx:pt>
          <cx:pt idx="6927">0</cx:pt>
          <cx:pt idx="6928">0</cx:pt>
          <cx:pt idx="6929">0</cx:pt>
          <cx:pt idx="6930">0</cx:pt>
          <cx:pt idx="6931">0</cx:pt>
          <cx:pt idx="6932">0</cx:pt>
        </cx:lvl>
      </cx:numDim>
    </cx:data>
    <cx:data id="6">
      <cx:numDim type="val">
        <cx:f>'Box Plots'!$G$151:$G$7083</cx:f>
        <cx:lvl ptCount="6933" formatCode="General">
          <cx:pt idx="0">0</cx:pt>
          <cx:pt idx="1">0</cx:pt>
          <cx:pt idx="2">378.11279999999999</cx:pt>
          <cx:pt idx="3">379.0283</cx:pt>
          <cx:pt idx="4">378.95991880000003</cx:pt>
          <cx:pt idx="5">378.11279999999999</cx:pt>
          <cx:pt idx="6">376.2817</cx:pt>
          <cx:pt idx="7">379.94380000000001</cx:pt>
          <cx:pt idx="8">376.2817</cx:pt>
          <cx:pt idx="9">379.0283</cx:pt>
          <cx:pt idx="10">378.86536039999999</cx:pt>
          <cx:pt idx="11">378.26025270000002</cx:pt>
          <cx:pt idx="12">378.22140569999999</cx:pt>
          <cx:pt idx="13">378.21378440000001</cx:pt>
          <cx:pt idx="14">378.11279999999999</cx:pt>
          <cx:pt idx="15">378.11279999999999</cx:pt>
          <cx:pt idx="16">377.65503860000001</cx:pt>
          <cx:pt idx="17">377.19729999999998</cx:pt>
          <cx:pt idx="18">378.24099610000002</cx:pt>
          <cx:pt idx="19">379.0283</cx:pt>
          <cx:pt idx="20">378.65219880000001</cx:pt>
          <cx:pt idx="21">377.73524680000003</cx:pt>
          <cx:pt idx="22">376.76662859999999</cx:pt>
          <cx:pt idx="23">376.60441109999999</cx:pt>
          <cx:pt idx="24">376.2817</cx:pt>
          <cx:pt idx="25">379.94380000000001</cx:pt>
          <cx:pt idx="26">379.94380000000001</cx:pt>
          <cx:pt idx="27">379.94380000000001</cx:pt>
          <cx:pt idx="28">376.2817</cx:pt>
          <cx:pt idx="29">379.94380000000001</cx:pt>
          <cx:pt idx="30">380.35687869999998</cx:pt>
          <cx:pt idx="31">380.85939999999999</cx:pt>
          <cx:pt idx="32">376.2817</cx:pt>
          <cx:pt idx="33">376.59740149999999</cx:pt>
          <cx:pt idx="34">377.29181840000001</cx:pt>
          <cx:pt idx="35">378.11279999999999</cx:pt>
          <cx:pt idx="36">378.11279999999999</cx:pt>
          <cx:pt idx="37">378.11279999999999</cx:pt>
          <cx:pt idx="38">378.11279999999999</cx:pt>
          <cx:pt idx="39">378.13624049999999</cx:pt>
          <cx:pt idx="40">378.16755330000001</cx:pt>
          <cx:pt idx="41">378.18317639999998</cx:pt>
          <cx:pt idx="42">378.19898740000002</cx:pt>
          <cx:pt idx="43">378.4494229</cx:pt>
          <cx:pt idx="44">378.54317730000002</cx:pt>
          <cx:pt idx="45">378.7701136</cx:pt>
          <cx:pt idx="46">378.82486290000003</cx:pt>
          <cx:pt idx="47">378.95005140000001</cx:pt>
          <cx:pt idx="48">379.0283</cx:pt>
          <cx:pt idx="49">380.85939999999999</cx:pt>
          <cx:pt idx="50">377.19729999999998</cx:pt>
          <cx:pt idx="51">378.06245139999999</cx:pt>
          <cx:pt idx="52">378.11279999999999</cx:pt>
          <cx:pt idx="53">378.35063719999999</cx:pt>
          <cx:pt idx="54">378.36935349999999</cx:pt>
          <cx:pt idx="55">378.46091180000002</cx:pt>
          <cx:pt idx="56">378.55247919999999</cx:pt>
          <cx:pt idx="57">378.57048129999998</cx:pt>
          <cx:pt idx="58">379.0283</cx:pt>
          <cx:pt idx="59">378.5905032</cx:pt>
          <cx:pt idx="60">377.19729999999998</cx:pt>
          <cx:pt idx="61">378.70977349999998</cx:pt>
          <cx:pt idx="62">379.0283</cx:pt>
          <cx:pt idx="63">375.36619999999999</cx:pt>
          <cx:pt idx="64">377.19729999999998</cx:pt>
          <cx:pt idx="65">377.87560070000001</cx:pt>
          <cx:pt idx="66">379.14287480000002</cx:pt>
          <cx:pt idx="67">379.94380000000001</cx:pt>
          <cx:pt idx="68">378.11279999999999</cx:pt>
          <cx:pt idx="69">378.11279999999999</cx:pt>
          <cx:pt idx="70">378.11279999999999</cx:pt>
          <cx:pt idx="71">378.11279999999999</cx:pt>
          <cx:pt idx="72">378.11279999999999</cx:pt>
          <cx:pt idx="73">378.11279999999999</cx:pt>
          <cx:pt idx="74">378.11279999999999</cx:pt>
          <cx:pt idx="75">378.3464616</cx:pt>
          <cx:pt idx="76">378.3663578</cx:pt>
          <cx:pt idx="77">379.0283</cx:pt>
          <cx:pt idx="78">377.19729999999998</cx:pt>
          <cx:pt idx="79">377.19729999999998</cx:pt>
          <cx:pt idx="80">379.01741019999997</cx:pt>
          <cx:pt idx="81">380.85939999999999</cx:pt>
          <cx:pt idx="82">377.19729999999998</cx:pt>
          <cx:pt idx="83">377.31644069999999</cx:pt>
          <cx:pt idx="84">379.94380000000001</cx:pt>
          <cx:pt idx="85">378.11279999999999</cx:pt>
          <cx:pt idx="86">377.7969713</cx:pt>
          <cx:pt idx="87">377.76570329999998</cx:pt>
          <cx:pt idx="88">377.59178409999998</cx:pt>
          <cx:pt idx="89">377.57628019999999</cx:pt>
          <cx:pt idx="90">377.49738020000001</cx:pt>
          <cx:pt idx="91">377.24493189999998</cx:pt>
          <cx:pt idx="92">377.22917560000002</cx:pt>
          <cx:pt idx="93">377.21280380000002</cx:pt>
          <cx:pt idx="94">377.19729999999998</cx:pt>
          <cx:pt idx="95">378.11279999999999</cx:pt>
          <cx:pt idx="96">378.11279999999999</cx:pt>
          <cx:pt idx="97">378.6626493</cx:pt>
          <cx:pt idx="98">379.94380000000001</cx:pt>
          <cx:pt idx="99">376.2817</cx:pt>
          <cx:pt idx="100">379.94380000000001</cx:pt>
          <cx:pt idx="101">378.11279999999999</cx:pt>
          <cx:pt idx="102">378.11279999999999</cx:pt>
          <cx:pt idx="103">378.11279999999999</cx:pt>
          <cx:pt idx="104">378.11279999999999</cx:pt>
          <cx:pt idx="105">378.11279999999999</cx:pt>
          <cx:pt idx="106">378.11279999999999</cx:pt>
          <cx:pt idx="107">377.39075680000002</cx:pt>
          <cx:pt idx="108">377.27962079999998</cx:pt>
          <cx:pt idx="109">377.19729999999998</cx:pt>
          <cx:pt idx="110">380.85939999999999</cx:pt>
          <cx:pt idx="111">379.0283</cx:pt>
          <cx:pt idx="112">378.89185149999997</cx:pt>
          <cx:pt idx="113">378.8704214</cx:pt>
          <cx:pt idx="114">378.67042470000001</cx:pt>
          <cx:pt idx="115">378.5967824</cx:pt>
          <cx:pt idx="116">378.40729549999998</cx:pt>
          <cx:pt idx="117">378.1967889</cx:pt>
          <cx:pt idx="118">378.15508130000001</cx:pt>
          <cx:pt idx="119">378.12314670000001</cx:pt>
          <cx:pt idx="120">378.11279999999999</cx:pt>
          <cx:pt idx="121">377.19729999999998</cx:pt>
          <cx:pt idx="122">377.46459449999998</cx:pt>
          <cx:pt idx="123">377.86279730000001</cx:pt>
          <cx:pt idx="124">378.72985190000003</cx:pt>
          <cx:pt idx="125">379.0283</cx:pt>
          <cx:pt idx="126">378.11279999999999</cx:pt>
          <cx:pt idx="127">378.11279999999999</cx:pt>
          <cx:pt idx="128">378.11279999999999</cx:pt>
          <cx:pt idx="129">378.11279999999999</cx:pt>
          <cx:pt idx="130">378.11279999999999</cx:pt>
          <cx:pt idx="131">378.11279999999999</cx:pt>
          <cx:pt idx="132">378.11279999999999</cx:pt>
          <cx:pt idx="133">377.96050209999999</cx:pt>
          <cx:pt idx="134">377.93905690000003</cx:pt>
          <cx:pt idx="135">377.43689490000003</cx:pt>
          <cx:pt idx="136">377.26196279999999</cx:pt>
          <cx:pt idx="137">377.19729999999998</cx:pt>
          <cx:pt idx="138">380.85939999999999</cx:pt>
          <cx:pt idx="139">377.19729999999998</cx:pt>
          <cx:pt idx="140">377.77011399999998</cx:pt>
          <cx:pt idx="141">378.11279999999999</cx:pt>
          <cx:pt idx="142">378.11279999999999</cx:pt>
          <cx:pt idx="143">378.11279999999999</cx:pt>
          <cx:pt idx="144">378.11279999999999</cx:pt>
          <cx:pt idx="145">378.11279999999999</cx:pt>
          <cx:pt idx="146">378.11279999999999</cx:pt>
          <cx:pt idx="147">378.11279999999999</cx:pt>
          <cx:pt idx="148">378.11279999999999</cx:pt>
          <cx:pt idx="149">378.11279999999999</cx:pt>
          <cx:pt idx="150">379.0283</cx:pt>
          <cx:pt idx="151">378.54240069999997</cx:pt>
          <cx:pt idx="152">378.26118819999999</cx:pt>
          <cx:pt idx="153">377.77528890000002</cx:pt>
          <cx:pt idx="154">376.36230310000002</cx:pt>
          <cx:pt idx="155">376.2817</cx:pt>
          <cx:pt idx="156">378.11279999999999</cx:pt>
          <cx:pt idx="157">378.05412610000002</cx:pt>
          <cx:pt idx="158">378.04259669999999</cx:pt>
          <cx:pt idx="159">378.03042190000002</cx:pt>
          <cx:pt idx="160">377.85440620000003</cx:pt>
          <cx:pt idx="161">377.58493470000002</cx:pt>
          <cx:pt idx="162">377.19729999999998</cx:pt>
          <cx:pt idx="163">377.19729999999998</cx:pt>
          <cx:pt idx="164">377.19729999999998</cx:pt>
          <cx:pt idx="165">377.19729999999998</cx:pt>
          <cx:pt idx="166">377.19729999999998</cx:pt>
          <cx:pt idx="167">377.19729999999998</cx:pt>
          <cx:pt idx="168">377.19729999999998</cx:pt>
          <cx:pt idx="169">379.94380000000001</cx:pt>
          <cx:pt idx="170">378.11279999999999</cx:pt>
          <cx:pt idx="171">379.94380000000001</cx:pt>
          <cx:pt idx="172">378.11279999999999</cx:pt>
          <cx:pt idx="173">377.87906040000001</cx:pt>
          <cx:pt idx="174">377.76222710000002</cx:pt>
          <cx:pt idx="175">377.73298110000002</cx:pt>
          <cx:pt idx="176">377.65496230000002</cx:pt>
          <cx:pt idx="177">377.36280369999997</cx:pt>
          <cx:pt idx="178">377.32414</cx:pt>
          <cx:pt idx="179">377.19729999999998</cx:pt>
          <cx:pt idx="180">375.36619999999999</cx:pt>
          <cx:pt idx="181">377.19729999999998</cx:pt>
          <cx:pt idx="182">377.19729999999998</cx:pt>
          <cx:pt idx="183">377.19729999999998</cx:pt>
          <cx:pt idx="184">377.19729999999998</cx:pt>
          <cx:pt idx="185">379.94380000000001</cx:pt>
          <cx:pt idx="186">376.2817</cx:pt>
          <cx:pt idx="187">376.50606570000002</cx:pt>
          <cx:pt idx="188">376.51861179999997</cx:pt>
          <cx:pt idx="189">376.53106439999999</cx:pt>
          <cx:pt idx="190">377.00479460000003</cx:pt>
          <cx:pt idx="191">377.01656200000002</cx:pt>
          <cx:pt idx="192">377.51487980000002</cx:pt>
          <cx:pt idx="193">377.54005910000001</cx:pt>
          <cx:pt idx="194">377.78900620000002</cx:pt>
          <cx:pt idx="195">377.88883299999998</cx:pt>
          <cx:pt idx="196">377.9011797</cx:pt>
          <cx:pt idx="197">377.96329350000002</cx:pt>
          <cx:pt idx="198">378.10093910000001</cx:pt>
          <cx:pt idx="199">378.11279999999999</cx:pt>
          <cx:pt idx="200">378.51632519999998</cx:pt>
          <cx:pt idx="201">378.67149139999998</cx:pt>
          <cx:pt idx="202">379.0283</cx:pt>
          <cx:pt idx="203">378.34124609999998</cx:pt>
          <cx:pt idx="204">378.2270517</cx:pt>
          <cx:pt idx="205">378.11279999999999</cx:pt>
          <cx:pt idx="206">378.11279999999999</cx:pt>
          <cx:pt idx="207">378.11279999999999</cx:pt>
          <cx:pt idx="208">378.11279999999999</cx:pt>
          <cx:pt idx="209">378.11279999999999</cx:pt>
          <cx:pt idx="210">378.11279999999999</cx:pt>
          <cx:pt idx="211">378.11279999999999</cx:pt>
          <cx:pt idx="212">378.11279999999999</cx:pt>
          <cx:pt idx="213">379.94380000000001</cx:pt>
          <cx:pt idx="214">376.2817</cx:pt>
          <cx:pt idx="215">377.30352809999999</cx:pt>
          <cx:pt idx="216">379.0283</cx:pt>
          <cx:pt idx="217">378.70800070000001</cx:pt>
          <cx:pt idx="218">378.5259011</cx:pt>
          <cx:pt idx="219">378.4560917</cx:pt>
          <cx:pt idx="220">378.31879600000002</cx:pt>
          <cx:pt idx="221">378.27308799999997</cx:pt>
          <cx:pt idx="222">378.25023399999998</cx:pt>
          <cx:pt idx="223">378.18293089999997</cx:pt>
          <cx:pt idx="224">377.70087969999997</cx:pt>
          <cx:pt idx="225">377.33452899999997</cx:pt>
          <cx:pt idx="226">377.12868279999998</cx:pt>
          <cx:pt idx="227">377.01405799999998</cx:pt>
          <cx:pt idx="228">376.8096309</cx:pt>
          <cx:pt idx="229">376.2817</cx:pt>
          <cx:pt idx="230">378.11279999999999</cx:pt>
          <cx:pt idx="231">377.98907789999998</cx:pt>
          <cx:pt idx="232">377.9408262</cx:pt>
          <cx:pt idx="233">377.89160959999998</cx:pt>
          <cx:pt idx="234">377.71692630000001</cx:pt>
          <cx:pt idx="235">376.67892230000001</cx:pt>
          <cx:pt idx="236">376.52914429999998</cx:pt>
          <cx:pt idx="237">376.30776830000002</cx:pt>
          <cx:pt idx="238">376.2817</cx:pt>
          <cx:pt idx="239">379.94380000000001</cx:pt>
          <cx:pt idx="240">379.2355058</cx:pt>
          <cx:pt idx="241">379.02643160000002</cx:pt>
          <cx:pt idx="242">378.61944269999998</cx:pt>
          <cx:pt idx="243">377.50334420000002</cx:pt>
          <cx:pt idx="244">377.19729999999998</cx:pt>
          <cx:pt idx="245">377.84564769999997</cx:pt>
          <cx:pt idx="246">378.1683286</cx:pt>
          <cx:pt idx="247">378.32991120000003</cx:pt>
          <cx:pt idx="248">378.38360160000002</cx:pt>
          <cx:pt idx="249">378.54475380000002</cx:pt>
          <cx:pt idx="250">379.94380000000001</cx:pt>
          <cx:pt idx="251">378.69708780000002</cx:pt>
          <cx:pt idx="252">377.50905899999998</cx:pt>
          <cx:pt idx="253">376.2817</cx:pt>
          <cx:pt idx="254">377.40461670000002</cx:pt>
          <cx:pt idx="255">377.49495359999997</cx:pt>
          <cx:pt idx="256">377.58635470000002</cx:pt>
          <cx:pt idx="257">378.18156640000001</cx:pt>
          <cx:pt idx="258">378.57056189999997</cx:pt>
          <cx:pt idx="259">378.59484559999999</cx:pt>
          <cx:pt idx="260">378.70803560000002</cx:pt>
          <cx:pt idx="261">379.0283</cx:pt>
          <cx:pt idx="262">378.7057251</cx:pt>
          <cx:pt idx="263">378.18698669999998</cx:pt>
          <cx:pt idx="264">378.11279999999999</cx:pt>
          <cx:pt idx="265">377.19729999999998</cx:pt>
          <cx:pt idx="266">377.57433609999998</cx:pt>
          <cx:pt idx="267">377.64602589999998</cx:pt>
          <cx:pt idx="268">377.71686319999998</cx:pt>
          <cx:pt idx="269">378.11279999999999</cx:pt>
          <cx:pt idx="270">378.11279999999999</cx:pt>
          <cx:pt idx="271">378.11279999999999</cx:pt>
          <cx:pt idx="272">378.11279999999999</cx:pt>
          <cx:pt idx="273">379.94380000000001</cx:pt>
          <cx:pt idx="274">376.2817</cx:pt>
          <cx:pt idx="275">378.11279999999999</cx:pt>
          <cx:pt idx="276">378.11279999999999</cx:pt>
          <cx:pt idx="277">378.11279999999999</cx:pt>
          <cx:pt idx="278">378.3462528</cx:pt>
          <cx:pt idx="279">378.7310028</cx:pt>
          <cx:pt idx="280">379.0283</cx:pt>
          <cx:pt idx="281">375.36619999999999</cx:pt>
          <cx:pt idx="282">378.0631947</cx:pt>
          <cx:pt idx="283">378.25708309999999</cx:pt>
          <cx:pt idx="284">379.0283</cx:pt>
          <cx:pt idx="285">377.19729999999998</cx:pt>
          <cx:pt idx="286">380.85939999999999</cx:pt>
          <cx:pt idx="287">377.19729999999998</cx:pt>
          <cx:pt idx="288">377.74065669999999</cx:pt>
          <cx:pt idx="289">378.82842360000001</cx:pt>
          <cx:pt idx="290">379.0283</cx:pt>
          <cx:pt idx="291">377.19729999999998</cx:pt>
          <cx:pt idx="292">377.19729999999998</cx:pt>
          <cx:pt idx="293">377.19729999999998</cx:pt>
          <cx:pt idx="294">377.19729999999998</cx:pt>
          <cx:pt idx="295">377.19729999999998</cx:pt>
          <cx:pt idx="296">377.19729999999998</cx:pt>
          <cx:pt idx="297">380.85939999999999</cx:pt>
          <cx:pt idx="298">378.40666069999997</cx:pt>
          <cx:pt idx="299">376.2817</cx:pt>
          <cx:pt idx="300">377.52198859999999</cx:pt>
          <cx:pt idx="301">377.78801149999998</cx:pt>
          <cx:pt idx="302">378.31456489999999</cx:pt>
          <cx:pt idx="303">378.4078457</cx:pt>
          <cx:pt idx="304">379.0283</cx:pt>
          <cx:pt idx="305">376.2817</cx:pt>
          <cx:pt idx="306">378.11279999999999</cx:pt>
          <cx:pt idx="307">379.0283</cx:pt>
          <cx:pt idx="308">378.94458859999997</cx:pt>
          <cx:pt idx="309">377.19729999999998</cx:pt>
          <cx:pt idx="310">377.27141499999999</cx:pt>
          <cx:pt idx="311">377.31986819999997</cx:pt>
          <cx:pt idx="312">377.91495370000001</cx:pt>
          <cx:pt idx="313">378.11279999999999</cx:pt>
          <cx:pt idx="314">377.19729999999998</cx:pt>
          <cx:pt idx="315">378.53184240000002</cx:pt>
          <cx:pt idx="316">378.95746800000001</cx:pt>
          <cx:pt idx="317">379.0283</cx:pt>
          <cx:pt idx="318">379.0283</cx:pt>
          <cx:pt idx="319">378.11279999999999</cx:pt>
          <cx:pt idx="320">378.2998035</cx:pt>
          <cx:pt idx="321">378.33097729999997</cx:pt>
          <cx:pt idx="322">378.35437510000003</cx:pt>
          <cx:pt idx="323">378.41666809999998</cx:pt>
          <cx:pt idx="324">378.43229000000002</cx:pt>
          <cx:pt idx="325">378.68900009999999</cx:pt>
          <cx:pt idx="326">378.93094139999999</cx:pt>
          <cx:pt idx="327">378.93871739999997</cx:pt>
          <cx:pt idx="328">378.96989500000001</cx:pt>
          <cx:pt idx="329">379.0867634</cx:pt>
          <cx:pt idx="330">379.21141169999999</cx:pt>
          <cx:pt idx="331">379.23474720000002</cx:pt>
          <cx:pt idx="332">379.49978249999998</cx:pt>
          <cx:pt idx="333">379.59319470000003</cx:pt>
          <cx:pt idx="334">379.71747670000002</cx:pt>
          <cx:pt idx="335">379.73339859999999</cx:pt>
          <cx:pt idx="336">379.74901670000003</cx:pt>
          <cx:pt idx="337">379.94380000000001</cx:pt>
          <cx:pt idx="338">378.11279999999999</cx:pt>
          <cx:pt idx="339">378.05373359999999</cx:pt>
          <cx:pt idx="340">377.91197119999998</cx:pt>
          <cx:pt idx="341">377.87654020000002</cx:pt>
          <cx:pt idx="342">377.7938413</cx:pt>
          <cx:pt idx="343">377.71704019999999</cx:pt>
          <cx:pt idx="344">377.54574459999998</cx:pt>
          <cx:pt idx="345">377.53984689999999</cx:pt>
          <cx:pt idx="346">377.53394909999997</cx:pt>
          <cx:pt idx="347">377.19729999999998</cx:pt>
          <cx:pt idx="348">380.68532149999999</cx:pt>
          <cx:pt idx="349">380.85939999999999</cx:pt>
          <cx:pt idx="350">380.08343489999999</cx:pt>
          <cx:pt idx="351">379.96374100000003</cx:pt>
          <cx:pt idx="352">379.90411799999998</cx:pt>
          <cx:pt idx="353">379.72480109999998</cx:pt>
          <cx:pt idx="354">379.42579030000002</cx:pt>
          <cx:pt idx="355">379.3070219</cx:pt>
          <cx:pt idx="356">378.76859350000001</cx:pt>
          <cx:pt idx="357">378.11279999999999</cx:pt>
          <cx:pt idx="358">378.08446220000002</cx:pt>
          <cx:pt idx="359">377.99959510000002</cx:pt>
          <cx:pt idx="360">377.97125740000001</cx:pt>
          <cx:pt idx="361">377.92407489999999</cx:pt>
          <cx:pt idx="362">377.7919546</cx:pt>
          <cx:pt idx="363">377.74477689999998</cx:pt>
          <cx:pt idx="364">377.67860350000001</cx:pt>
          <cx:pt idx="365">377.66925659999998</cx:pt>
          <cx:pt idx="366">377.65026569999998</cx:pt>
          <cx:pt idx="367">377.61265179999998</cx:pt>
          <cx:pt idx="368">377.48053149999998</cx:pt>
          <cx:pt idx="369">377.43335380000002</cx:pt>
          <cx:pt idx="370">377.19729999999998</cx:pt>
          <cx:pt idx="371">377.29174130000001</cx:pt>
          <cx:pt idx="372">377.30750380000001</cx:pt>
          <cx:pt idx="373">377.90741300000002</cx:pt>
          <cx:pt idx="374">377.93893020000002</cx:pt>
          <cx:pt idx="375">377.97058170000003</cx:pt>
          <cx:pt idx="376">378.11279999999999</cx:pt>
          <cx:pt idx="377">379.0283</cx:pt>
          <cx:pt idx="378">378.92848509999999</cx:pt>
          <cx:pt idx="379">378.72884690000001</cx:pt>
          <cx:pt idx="380">378.59566599999999</cx:pt>
          <cx:pt idx="381">378.56244149999998</cx:pt>
          <cx:pt idx="382">378.32944570000001</cx:pt>
          <cx:pt idx="383">378.11279999999999</cx:pt>
          <cx:pt idx="384">378.11279999999999</cx:pt>
          <cx:pt idx="385">378.11279999999999</cx:pt>
          <cx:pt idx="386">378.11279999999999</cx:pt>
          <cx:pt idx="387">378.11279999999999</cx:pt>
          <cx:pt idx="388">378.11279999999999</cx:pt>
          <cx:pt idx="389">378.11279999999999</cx:pt>
          <cx:pt idx="390">378.11279999999999</cx:pt>
          <cx:pt idx="391">378.11279999999999</cx:pt>
          <cx:pt idx="392">377.88690689999999</cx:pt>
          <cx:pt idx="393">377.87458409999999</cx:pt>
          <cx:pt idx="394">377.83671889999999</cx:pt>
          <cx:pt idx="395">377.72382570000002</cx:pt>
          <cx:pt idx="396">377.67383210000003</cx:pt>
          <cx:pt idx="397">377.66111419999999</cx:pt>
          <cx:pt idx="398">377.64879139999999</cx:pt>
          <cx:pt idx="399">377.3227167</cx:pt>
          <cx:pt idx="400">377.25981710000002</cx:pt>
          <cx:pt idx="401">377.20962909999997</cx:pt>
          <cx:pt idx="402">377.19729999999998</cx:pt>
          <cx:pt idx="403">377.32780559999998</cx:pt>
          <cx:pt idx="404">377.72030280000001</cx:pt>
          <cx:pt idx="405">378.11279999999999</cx:pt>
          <cx:pt idx="406">378.07765719999998</cx:pt>
          <cx:pt idx="407">377.79578409999999</cx:pt>
          <cx:pt idx="408">377.47917310000003</cx:pt>
          <cx:pt idx="409">377.46159729999999</cx:pt>
          <cx:pt idx="410">377.19729999999998</cx:pt>
          <cx:pt idx="411">377.19729999999998</cx:pt>
          <cx:pt idx="412">378.11279999999999</cx:pt>
          <cx:pt idx="413">378.11279999999999</cx:pt>
          <cx:pt idx="414">378.11279999999999</cx:pt>
          <cx:pt idx="415">378.11279999999999</cx:pt>
          <cx:pt idx="416">378.11279999999999</cx:pt>
          <cx:pt idx="417">378.11279999999999</cx:pt>
          <cx:pt idx="418">378.11279999999999</cx:pt>
          <cx:pt idx="419">378.11279999999999</cx:pt>
          <cx:pt idx="420">377.55344680000002</cx:pt>
          <cx:pt idx="421">376.2817</cx:pt>
          <cx:pt idx="422">379.94380000000001</cx:pt>
          <cx:pt idx="423">376.2817</cx:pt>
          <cx:pt idx="424">376.5678451</cx:pt>
          <cx:pt idx="425">377.25439319999998</cx:pt>
          <cx:pt idx="426">377.36865089999998</cx:pt>
          <cx:pt idx="427">378.11279999999999</cx:pt>
          <cx:pt idx="428">378.11279999999999</cx:pt>
          <cx:pt idx="429">378.11279999999999</cx:pt>
          <cx:pt idx="430">378.11279999999999</cx:pt>
          <cx:pt idx="431">377.4452948</cx:pt>
          <cx:pt idx="432">377.27361710000002</cx:pt>
          <cx:pt idx="433">377.19729999999998</cx:pt>
          <cx:pt idx="434">378.11279999999999</cx:pt>
          <cx:pt idx="435">378.11279999999999</cx:pt>
          <cx:pt idx="436">378.11279999999999</cx:pt>
          <cx:pt idx="437">378.11279999999999</cx:pt>
          <cx:pt idx="438">378.11279999999999</cx:pt>
          <cx:pt idx="439">378.11279999999999</cx:pt>
          <cx:pt idx="440">378.11279999999999</cx:pt>
          <cx:pt idx="441">378.11279999999999</cx:pt>
          <cx:pt idx="442">378.11279999999999</cx:pt>
          <cx:pt idx="443">378.11279999999999</cx:pt>
          <cx:pt idx="444">378.11279999999999</cx:pt>
          <cx:pt idx="445">378.11279999999999</cx:pt>
          <cx:pt idx="446">378.11279999999999</cx:pt>
          <cx:pt idx="447">378.11279999999999</cx:pt>
          <cx:pt idx="448">378.11279999999999</cx:pt>
          <cx:pt idx="449">377.89735810000002</cx:pt>
          <cx:pt idx="450">377.8436256</cx:pt>
          <cx:pt idx="451">377.78943529999998</cx:pt>
          <cx:pt idx="452">377.19729999999998</cx:pt>
          <cx:pt idx="453">377.40823740000002</cx:pt>
          <cx:pt idx="454">378.67615080000002</cx:pt>
          <cx:pt idx="455">379.0283</cx:pt>
          <cx:pt idx="456">378.11279999999999</cx:pt>
          <cx:pt idx="457">378.11279999999999</cx:pt>
          <cx:pt idx="458">378.11279999999999</cx:pt>
          <cx:pt idx="459">378.11279999999999</cx:pt>
          <cx:pt idx="460">378.11279999999999</cx:pt>
          <cx:pt idx="461">378.11279999999999</cx:pt>
          <cx:pt idx="462">378.11279999999999</cx:pt>
          <cx:pt idx="463">378.11279999999999</cx:pt>
          <cx:pt idx="464">378.11279999999999</cx:pt>
          <cx:pt idx="465">378.11279999999999</cx:pt>
          <cx:pt idx="466">378.11279999999999</cx:pt>
          <cx:pt idx="467">378.11279999999999</cx:pt>
          <cx:pt idx="468">378.11279999999999</cx:pt>
          <cx:pt idx="469">378.11279999999999</cx:pt>
          <cx:pt idx="470">378.11279999999999</cx:pt>
          <cx:pt idx="471">378.11279999999999</cx:pt>
          <cx:pt idx="472">378.11279999999999</cx:pt>
          <cx:pt idx="473">378.11279999999999</cx:pt>
          <cx:pt idx="474">378.11279999999999</cx:pt>
          <cx:pt idx="475">378.11279999999999</cx:pt>
          <cx:pt idx="476">378.11279999999999</cx:pt>
          <cx:pt idx="477">378.11279999999999</cx:pt>
          <cx:pt idx="478">378.11279999999999</cx:pt>
          <cx:pt idx="479">378.11279999999999</cx:pt>
          <cx:pt idx="480">378.11279999999999</cx:pt>
          <cx:pt idx="481">378.73523089999998</cx:pt>
          <cx:pt idx="482">379.13864239999998</cx:pt>
          <cx:pt idx="483">379.21146590000001</cx:pt>
          <cx:pt idx="484">379.32138739999999</cx:pt>
          <cx:pt idx="485">379.50524869999998</cx:pt>
          <cx:pt idx="486">379.687408</cx:pt>
          <cx:pt idx="487">379.8333111</cx:pt>
          <cx:pt idx="488">379.87126940000002</cx:pt>
          <cx:pt idx="489">379.94380000000001</cx:pt>
          <cx:pt idx="490">376.2817</cx:pt>
          <cx:pt idx="491">377.72693550000002</cx:pt>
          <cx:pt idx="492">378.11279999999999</cx:pt>
          <cx:pt idx="493">378.11279999999999</cx:pt>
          <cx:pt idx="494">378.11279999999999</cx:pt>
          <cx:pt idx="495">378.11279999999999</cx:pt>
          <cx:pt idx="496">380.85939999999999</cx:pt>
          <cx:pt idx="497">376.2817</cx:pt>
          <cx:pt idx="498">376.34838350000001</cx:pt>
          <cx:pt idx="499">377.16269610000001</cx:pt>
          <cx:pt idx="500">377.29711459999999</cx:pt>
          <cx:pt idx="501">377.63626449999998</cx:pt>
          <cx:pt idx="502">378.86014160000002</cx:pt>
          <cx:pt idx="503">379.3326586</cx:pt>
          <cx:pt idx="504">379.94380000000001</cx:pt>
          <cx:pt idx="505">379.35583279999997</cx:pt>
          <cx:pt idx="506">379.08531729999999</cx:pt>
          <cx:pt idx="507">379.03876550000001</cx:pt>
          <cx:pt idx="508">378.85852729999999</cx:pt>
          <cx:pt idx="509">378.7227383</cx:pt>
          <cx:pt idx="510">378.00004460000002</cx:pt>
          <cx:pt idx="511">377.86461730000002</cx:pt>
          <cx:pt idx="512">377.54682650000001</cx:pt>
          <cx:pt idx="513">377.32180010000002</cx:pt>
          <cx:pt idx="514">376.2817</cx:pt>
          <cx:pt idx="515">378.89082810000002</cx:pt>
          <cx:pt idx="516">378.98295669999999</cx:pt>
          <cx:pt idx="517">379.0283</cx:pt>
          <cx:pt idx="518">379.13552149999998</cx:pt>
          <cx:pt idx="519">379.22033690000001</cx:pt>
          <cx:pt idx="520">379.28439530000003</cx:pt>
          <cx:pt idx="521">379.70995119999998</cx:pt>
          <cx:pt idx="522">379.79509639999998</cx:pt>
          <cx:pt idx="523">379.85899519999998</cx:pt>
          <cx:pt idx="524">379.94380000000001</cx:pt>
          <cx:pt idx="525">378.74688759999998</cx:pt>
          <cx:pt idx="526">378.11279999999999</cx:pt>
          <cx:pt idx="527">378.11279999999999</cx:pt>
          <cx:pt idx="528">378.11279999999999</cx:pt>
          <cx:pt idx="529">378.11279999999999</cx:pt>
          <cx:pt idx="530">378.11279999999999</cx:pt>
          <cx:pt idx="531">378.11279999999999</cx:pt>
          <cx:pt idx="532">378.11279999999999</cx:pt>
          <cx:pt idx="533">377.19729999999998</cx:pt>
          <cx:pt idx="534">378.11279999999999</cx:pt>
          <cx:pt idx="535">378.11279999999999</cx:pt>
          <cx:pt idx="536">378.11279999999999</cx:pt>
          <cx:pt idx="537">378.11279999999999</cx:pt>
          <cx:pt idx="538">378.11279999999999</cx:pt>
          <cx:pt idx="539">378.11279999999999</cx:pt>
          <cx:pt idx="540">378.11279999999999</cx:pt>
          <cx:pt idx="541">378.11279999999999</cx:pt>
          <cx:pt idx="542">378.11279999999999</cx:pt>
          <cx:pt idx="543">378.11279999999999</cx:pt>
          <cx:pt idx="544">378.11279999999999</cx:pt>
          <cx:pt idx="545">380.25873960000001</cx:pt>
          <cx:pt idx="546">380.85939999999999</cx:pt>
          <cx:pt idx="547">377.19729999999998</cx:pt>
          <cx:pt idx="548">377.29034789999997</cx:pt>
          <cx:pt idx="549">377.38860460000001</cx:pt>
          <cx:pt idx="550">377.76681009999999</cx:pt>
          <cx:pt idx="551">378.52180049999998</cx:pt>
          <cx:pt idx="552">379.8514624</cx:pt>
          <cx:pt idx="553">379.94380000000001</cx:pt>
          <cx:pt idx="554">379.87142640000002</cx:pt>
          <cx:pt idx="555">379.73684250000002</cx:pt>
          <cx:pt idx="556">379.72659659999999</cx:pt>
          <cx:pt idx="557">379.7057787</cx:pt>
          <cx:pt idx="558">379.59225570000001</cx:pt>
          <cx:pt idx="559">379.5711948</cx:pt>
          <cx:pt idx="560">379.55078049999997</cx:pt>
          <cx:pt idx="561">379.50954830000001</cx:pt>
          <cx:pt idx="562">379.43669369999998</cx:pt>
          <cx:pt idx="563">379.41611899999998</cx:pt>
          <cx:pt idx="564">379.29185860000001</cx:pt>
          <cx:pt idx="565">379.28145230000001</cx:pt>
          <cx:pt idx="566">379.09531270000002</cx:pt>
          <cx:pt idx="567">379.0540805</cx:pt>
          <cx:pt idx="568">379.0439121</cx:pt>
          <cx:pt idx="569">378.22656610000001</cx:pt>
          <cx:pt idx="570">378.12296839999999</cx:pt>
          <cx:pt idx="571">378.11279999999999</cx:pt>
          <cx:pt idx="572">378.11279999999999</cx:pt>
          <cx:pt idx="573">378.11279999999999</cx:pt>
          <cx:pt idx="574">378.11279999999999</cx:pt>
          <cx:pt idx="575">378.11279999999999</cx:pt>
          <cx:pt idx="576">378.11279999999999</cx:pt>
          <cx:pt idx="577">378.11279999999999</cx:pt>
          <cx:pt idx="578">378.11279999999999</cx:pt>
          <cx:pt idx="579">376.2817</cx:pt>
          <cx:pt idx="580">379.94380000000001</cx:pt>
          <cx:pt idx="581">378.6304586</cx:pt>
          <cx:pt idx="582">378.40063609999999</cx:pt>
          <cx:pt idx="583">378.1717003</cx:pt>
          <cx:pt idx="584">378.11279999999999</cx:pt>
          <cx:pt idx="585">378.40846979999998</cx:pt>
          <cx:pt idx="586">378.43600400000003</cx:pt>
          <cx:pt idx="587">378.57028059999999</cx:pt>
          <cx:pt idx="588">378.59676409999997</cx:pt>
          <cx:pt idx="589">378.65140150000002</cx:pt>
          <cx:pt idx="590">378.73252250000002</cx:pt>
          <cx:pt idx="591">378.84011340000001</cx:pt>
          <cx:pt idx="592">379.35118069999999</cx:pt>
          <cx:pt idx="593">379.94380000000001</cx:pt>
          <cx:pt idx="594">378.11279999999999</cx:pt>
          <cx:pt idx="595">378.11279999999999</cx:pt>
          <cx:pt idx="596">378.11279999999999</cx:pt>
          <cx:pt idx="597">378.11279999999999</cx:pt>
          <cx:pt idx="598">378.11279999999999</cx:pt>
          <cx:pt idx="599">378.11279999999999</cx:pt>
          <cx:pt idx="600">378.23478319999998</cx:pt>
          <cx:pt idx="601">378.35484220000001</cx:pt>
          <cx:pt idx="602">379.02807089999999</cx:pt>
          <cx:pt idx="603">379.08906250000001</cx:pt>
          <cx:pt idx="604">379.3348919</cx:pt>
          <cx:pt idx="605">379.94380000000001</cx:pt>
          <cx:pt idx="606">376.2817</cx:pt>
          <cx:pt idx="607">379.0283</cx:pt>
          <cx:pt idx="608">378.8001021</cx:pt>
          <cx:pt idx="609">378.76142379999999</cx:pt>
          <cx:pt idx="610">378.11279999999999</cx:pt>
          <cx:pt idx="611">378.11279999999999</cx:pt>
          <cx:pt idx="612">379.94380000000001</cx:pt>
          <cx:pt idx="613">376.2817</cx:pt>
          <cx:pt idx="614">380.85939999999999</cx:pt>
          <cx:pt idx="615">377.19729999999998</cx:pt>
          <cx:pt idx="616">377.19729999999998</cx:pt>
          <cx:pt idx="617">377.19729999999998</cx:pt>
          <cx:pt idx="618">377.19729999999998</cx:pt>
          <cx:pt idx="619">377.19729999999998</cx:pt>
          <cx:pt idx="620">377.9788355</cx:pt>
          <cx:pt idx="621">379.0283</cx:pt>
          <cx:pt idx="622">378.25567160000003</cx:pt>
          <cx:pt idx="623">378.22743070000001</cx:pt>
          <cx:pt idx="624">378.21269849999999</cx:pt>
          <cx:pt idx="625">378.11279999999999</cx:pt>
          <cx:pt idx="626">378.11279999999999</cx:pt>
          <cx:pt idx="627">378.11279999999999</cx:pt>
          <cx:pt idx="628">378.11279999999999</cx:pt>
          <cx:pt idx="629">378.11279999999999</cx:pt>
          <cx:pt idx="630">378.11279999999999</cx:pt>
          <cx:pt idx="631">378.11279999999999</cx:pt>
          <cx:pt idx="632">378.11279999999999</cx:pt>
          <cx:pt idx="633">378.11279999999999</cx:pt>
          <cx:pt idx="634">378.11279999999999</cx:pt>
          <cx:pt idx="635">378.11279999999999</cx:pt>
          <cx:pt idx="636">378.34735439999997</cx:pt>
          <cx:pt idx="637">378.44153799999998</cx:pt>
          <cx:pt idx="638">378.534265</cx:pt>
          <cx:pt idx="639">378.86704379999998</cx:pt>
          <cx:pt idx="640">379.14630549999998</cx:pt>
          <cx:pt idx="641">379.47798010000002</cx:pt>
          <cx:pt idx="642">379.80270080000003</cx:pt>
          <cx:pt idx="643">379.89798860000002</cx:pt>
          <cx:pt idx="644">379.94380000000001</cx:pt>
          <cx:pt idx="645">379.91548089999998</cx:pt>
          <cx:pt idx="646">378.68828600000001</cx:pt>
          <cx:pt idx="647">378.35977029999998</cx:pt>
          <cx:pt idx="648">378.30505629999999</cx:pt>
          <cx:pt idx="649">378.11279999999999</cx:pt>
          <cx:pt idx="650">378.11279999999999</cx:pt>
          <cx:pt idx="651">378.82112860000001</cx:pt>
          <cx:pt idx="652">378.93260429999998</cx:pt>
          <cx:pt idx="653">378.94117110000002</cx:pt>
          <cx:pt idx="654">379.0283</cx:pt>
          <cx:pt idx="655">378.98038330000003</cx:pt>
          <cx:pt idx="656">378.95623230000001</cx:pt>
          <cx:pt idx="657">378.11279999999999</cx:pt>
          <cx:pt idx="658">378.11279999999999</cx:pt>
          <cx:pt idx="659">381.7749</cx:pt>
          <cx:pt idx="660">378.11279999999999</cx:pt>
          <cx:pt idx="661">379.0283</cx:pt>
          <cx:pt idx="662">378.97945340000001</cx:pt>
          <cx:pt idx="663">378.5928116</cx:pt>
          <cx:pt idx="664">378.42410059999997</cx:pt>
          <cx:pt idx="665">378.32904489999999</cx:pt>
          <cx:pt idx="666">378.11279999999999</cx:pt>
          <cx:pt idx="667">378.15003059999998</cx:pt>
          <cx:pt idx="668">378.17506229999998</cx:pt>
          <cx:pt idx="669">378.18697370000001</cx:pt>
          <cx:pt idx="670">378.3291476</cx:pt>
          <cx:pt idx="671">378.36628239999999</cx:pt>
          <cx:pt idx="672">378.39145619999999</cx:pt>
          <cx:pt idx="673">378.71867950000001</cx:pt>
          <cx:pt idx="674">378.72499850000003</cx:pt>
          <cx:pt idx="675">378.73116909999999</cx:pt>
          <cx:pt idx="676">378.79299859999998</cx:pt>
          <cx:pt idx="677">378.80544179999998</cx:pt>
          <cx:pt idx="678">378.82429669999999</cx:pt>
          <cx:pt idx="679">378.84855549999997</cx:pt>
          <cx:pt idx="680">378.96647050000001</cx:pt>
          <cx:pt idx="681">379.0032683</cx:pt>
          <cx:pt idx="682">379.01556620000002</cx:pt>
          <cx:pt idx="683">379.0283</cx:pt>
          <cx:pt idx="684">378.54089679999998</cx:pt>
          <cx:pt idx="685">376.2817</cx:pt>
          <cx:pt idx="686">379.94380000000001</cx:pt>
          <cx:pt idx="687">379.94380000000001</cx:pt>
          <cx:pt idx="688">376.2817</cx:pt>
          <cx:pt idx="689">376.61654340000001</cx:pt>
          <cx:pt idx="690">379.0283</cx:pt>
          <cx:pt idx="691">379.0283</cx:pt>
          <cx:pt idx="692">379.0283</cx:pt>
          <cx:pt idx="693">379.0283</cx:pt>
          <cx:pt idx="694">379.0283</cx:pt>
          <cx:pt idx="695">379.0283</cx:pt>
          <cx:pt idx="696">379.0283</cx:pt>
          <cx:pt idx="697">379.0283</cx:pt>
          <cx:pt idx="698">379.0283</cx:pt>
          <cx:pt idx="699">379.0283</cx:pt>
          <cx:pt idx="700">379.0283</cx:pt>
          <cx:pt idx="701">379.0283</cx:pt>
          <cx:pt idx="702">379.0283</cx:pt>
          <cx:pt idx="703">379.0283</cx:pt>
          <cx:pt idx="704">379.0283</cx:pt>
          <cx:pt idx="705">379.0283</cx:pt>
          <cx:pt idx="706">379.0283</cx:pt>
          <cx:pt idx="707">379.0283</cx:pt>
          <cx:pt idx="708">379.0283</cx:pt>
          <cx:pt idx="709">379.0283</cx:pt>
          <cx:pt idx="710">379.0283</cx:pt>
          <cx:pt idx="711">379.0283</cx:pt>
          <cx:pt idx="712">379.0283</cx:pt>
          <cx:pt idx="713">379.0283</cx:pt>
          <cx:pt idx="714">379.0283</cx:pt>
          <cx:pt idx="715">379.0283</cx:pt>
          <cx:pt idx="716">379.0283</cx:pt>
          <cx:pt idx="717">378.97785770000002</cx:pt>
          <cx:pt idx="718">378.94431759999998</cx:pt>
          <cx:pt idx="719">378.65875899999998</cx:pt>
          <cx:pt idx="720">378.65050730000002</cx:pt>
          <cx:pt idx="721">378.64146620000002</cx:pt>
          <cx:pt idx="722">378.52433430000002</cx:pt>
          <cx:pt idx="723">378.51607840000003</cx:pt>
          <cx:pt idx="724">378.50703720000001</cx:pt>
          <cx:pt idx="725">378.42305490000001</cx:pt>
          <cx:pt idx="726">378.40687480000003</cx:pt>
          <cx:pt idx="727">378.35590760000002</cx:pt>
          <cx:pt idx="728">378.16317520000001</cx:pt>
          <cx:pt idx="729">378.11279999999999</cx:pt>
          <cx:pt idx="730">378.11279999999999</cx:pt>
          <cx:pt idx="731">378.11279999999999</cx:pt>
          <cx:pt idx="732">378.11279999999999</cx:pt>
          <cx:pt idx="733">378.11279999999999</cx:pt>
          <cx:pt idx="734">378.11279999999999</cx:pt>
          <cx:pt idx="735">378.11279999999999</cx:pt>
          <cx:pt idx="736">378.11279999999999</cx:pt>
          <cx:pt idx="737">378.11279999999999</cx:pt>
          <cx:pt idx="738">378.11279999999999</cx:pt>
          <cx:pt idx="739">378.11279999999999</cx:pt>
          <cx:pt idx="740">378.11279999999999</cx:pt>
          <cx:pt idx="741">378.11279999999999</cx:pt>
          <cx:pt idx="742">378.11279999999999</cx:pt>
          <cx:pt idx="743">378.11279999999999</cx:pt>
          <cx:pt idx="744">378.5035335</cx:pt>
          <cx:pt idx="745">378.55616320000001</cx:pt>
          <cx:pt idx="746">378.63594469999998</cx:pt>
          <cx:pt idx="747">378.71428759999998</cx:pt>
          <cx:pt idx="748">378.7646939</cx:pt>
          <cx:pt idx="749">378.97402240000002</cx:pt>
          <cx:pt idx="750">379.00054649999998</cx:pt>
          <cx:pt idx="751">379.0283</cx:pt>
          <cx:pt idx="752">378.11279999999999</cx:pt>
          <cx:pt idx="753">380.85939999999999</cx:pt>
          <cx:pt idx="754">379.0283</cx:pt>
          <cx:pt idx="755">377.98882400000002</cx:pt>
          <cx:pt idx="756">377.3278148</cx:pt>
          <cx:pt idx="757">377.19729999999998</cx:pt>
          <cx:pt idx="758">377.72402240000002</cx:pt>
          <cx:pt idx="759">378.2362382</cx:pt>
          <cx:pt idx="760">378.77944539999999</cx:pt>
          <cx:pt idx="761">379.0283</cx:pt>
          <cx:pt idx="762">379.04664559999998</cx:pt>
          <cx:pt idx="763">379.79313430000002</cx:pt>
          <cx:pt idx="764">379.83185980000002</cx:pt>
          <cx:pt idx="765">379.94380000000001</cx:pt>
          <cx:pt idx="766">376.2817</cx:pt>
          <cx:pt idx="767">379.0283</cx:pt>
          <cx:pt idx="768">378.6274186</cx:pt>
          <cx:pt idx="769">378.60334269999998</cx:pt>
          <cx:pt idx="770">378.11279999999999</cx:pt>
          <cx:pt idx="771">378.11279999999999</cx:pt>
          <cx:pt idx="772">378.11279999999999</cx:pt>
          <cx:pt idx="773">378.11279999999999</cx:pt>
          <cx:pt idx="774">378.11279999999999</cx:pt>
          <cx:pt idx="775">378.11279999999999</cx:pt>
          <cx:pt idx="776">378.11279999999999</cx:pt>
          <cx:pt idx="777">378.11279999999999</cx:pt>
          <cx:pt idx="778">378.11279999999999</cx:pt>
          <cx:pt idx="779">378.11279999999999</cx:pt>
          <cx:pt idx="780">378.11279999999999</cx:pt>
          <cx:pt idx="781">378.11279999999999</cx:pt>
          <cx:pt idx="782">378.11279999999999</cx:pt>
          <cx:pt idx="783">378.11279999999999</cx:pt>
          <cx:pt idx="784">378.11279999999999</cx:pt>
          <cx:pt idx="785">378.11279999999999</cx:pt>
          <cx:pt idx="786">378.11279999999999</cx:pt>
          <cx:pt idx="787">378.11279999999999</cx:pt>
          <cx:pt idx="788">378.11279999999999</cx:pt>
          <cx:pt idx="789">378.11279999999999</cx:pt>
          <cx:pt idx="790">378.11279999999999</cx:pt>
          <cx:pt idx="791">378.11279999999999</cx:pt>
          <cx:pt idx="792">378.11279999999999</cx:pt>
          <cx:pt idx="793">378.11279999999999</cx:pt>
          <cx:pt idx="794">378.11279999999999</cx:pt>
          <cx:pt idx="795">378.11279999999999</cx:pt>
          <cx:pt idx="796">378.11279999999999</cx:pt>
          <cx:pt idx="797">378.11279999999999</cx:pt>
          <cx:pt idx="798">378.11279999999999</cx:pt>
          <cx:pt idx="799">378.11279999999999</cx:pt>
          <cx:pt idx="800">378.11279999999999</cx:pt>
          <cx:pt idx="801">378.11279999999999</cx:pt>
          <cx:pt idx="802">378.11279999999999</cx:pt>
          <cx:pt idx="803">378.11279999999999</cx:pt>
          <cx:pt idx="804">378.12654620000001</cx:pt>
          <cx:pt idx="805">378.14486290000002</cx:pt>
          <cx:pt idx="806">378.14914750000003</cx:pt>
          <cx:pt idx="807">378.21352280000002</cx:pt>
          <cx:pt idx="808">378.30021340000002</cx:pt>
          <cx:pt idx="809">378.30963839999998</cx:pt>
          <cx:pt idx="810">378.3508425</cx:pt>
          <cx:pt idx="811">378.35541319999999</cx:pt>
          <cx:pt idx="812">378.37347820000002</cx:pt>
          <cx:pt idx="813">378.40097050000003</cx:pt>
          <cx:pt idx="814">378.42378689999998</cx:pt>
          <cx:pt idx="815">378.49251770000001</cx:pt>
          <cx:pt idx="816">378.4970884</cx:pt>
          <cx:pt idx="817">378.61609129999999</cx:pt>
          <cx:pt idx="818">378.7902575</cx:pt>
          <cx:pt idx="819">378.84035110000002</cx:pt>
          <cx:pt idx="820">378.86352460000001</cx:pt>
          <cx:pt idx="821">378.87723410000001</cx:pt>
          <cx:pt idx="822">378.93218439999998</cx:pt>
          <cx:pt idx="823">378.93646890000002</cx:pt>
          <cx:pt idx="824">378.9685662</cx:pt>
          <cx:pt idx="825">378.98688299999998</cx:pt>
          <cx:pt idx="826">378.99623709999997</cx:pt>
          <cx:pt idx="827">379.00084429999998</cx:pt>
          <cx:pt idx="828">379.00512880000002</cx:pt>
          <cx:pt idx="829">379.01455379999999</cx:pt>
          <cx:pt idx="830">379.0283</cx:pt>
          <cx:pt idx="831">379.3057402</cx:pt>
          <cx:pt idx="832">379.88660429999999</cx:pt>
          <cx:pt idx="833">380.30450569999999</cx:pt>
          <cx:pt idx="834">380.6375754</cx:pt>
          <cx:pt idx="835">380.85939999999999</cx:pt>
          <cx:pt idx="836">377.19729999999998</cx:pt>
          <cx:pt idx="837">377.8202986</cx:pt>
          <cx:pt idx="838">377.85140680000001</cx:pt>
          <cx:pt idx="839">377.91847840000003</cx:pt>
          <cx:pt idx="840">379.42229959999997</cx:pt>
          <cx:pt idx="841">379.9126918</cx:pt>
          <cx:pt idx="842">379.94380000000001</cx:pt>
          <cx:pt idx="843">379.90679699999998</cx:pt>
          <cx:pt idx="844">379.7313752</cx:pt>
          <cx:pt idx="845">379.59076010000001</cx:pt>
          <cx:pt idx="846">379.55539119999997</cx:pt>
          <cx:pt idx="847">379.0283</cx:pt>
          <cx:pt idx="848">378.53147610000002</cx:pt>
          <cx:pt idx="849">378.40068480000002</cx:pt>
          <cx:pt idx="850">378.11279999999999</cx:pt>
          <cx:pt idx="851">378.11279999999999</cx:pt>
          <cx:pt idx="852">376.2817</cx:pt>
          <cx:pt idx="853">378.11279999999999</cx:pt>
          <cx:pt idx="854">378.11279999999999</cx:pt>
          <cx:pt idx="855">378.11279999999999</cx:pt>
          <cx:pt idx="856">378.11279999999999</cx:pt>
          <cx:pt idx="857">378.11279999999999</cx:pt>
          <cx:pt idx="858">378.11279999999999</cx:pt>
          <cx:pt idx="859">378.11279999999999</cx:pt>
          <cx:pt idx="860">378.11279999999999</cx:pt>
          <cx:pt idx="861">377.6976252</cx:pt>
          <cx:pt idx="862">376.68584529999998</cx:pt>
          <cx:pt idx="863">376.2817</cx:pt>
          <cx:pt idx="864">379.94380000000001</cx:pt>
          <cx:pt idx="865">379.36318699999998</cx:pt>
          <cx:pt idx="866">379.07410290000001</cx:pt>
          <cx:pt idx="867">379.05077169999998</cx:pt>
          <cx:pt idx="868">379.0283</cx:pt>
          <cx:pt idx="869">379.0283</cx:pt>
          <cx:pt idx="870">379.0283</cx:pt>
          <cx:pt idx="871">379.0283</cx:pt>
          <cx:pt idx="872">379.0283</cx:pt>
          <cx:pt idx="873">379.0283</cx:pt>
          <cx:pt idx="874">379.0283</cx:pt>
          <cx:pt idx="875">379.0283</cx:pt>
          <cx:pt idx="876">379.0283</cx:pt>
          <cx:pt idx="877">379.0283</cx:pt>
          <cx:pt idx="878">379.0283</cx:pt>
          <cx:pt idx="879">379.0283</cx:pt>
          <cx:pt idx="880">379.0283</cx:pt>
          <cx:pt idx="881">379.0283</cx:pt>
          <cx:pt idx="882">379.0283</cx:pt>
          <cx:pt idx="883">379.30286869999998</cx:pt>
          <cx:pt idx="884">379.37160249999999</cx:pt>
          <cx:pt idx="885">379.41731049999999</cx:pt>
          <cx:pt idx="886">379.53175229999999</cx:pt>
          <cx:pt idx="887">379.62334010000001</cx:pt>
          <cx:pt idx="888">379.94380000000001</cx:pt>
          <cx:pt idx="889">378.72323519999998</cx:pt>
          <cx:pt idx="890">378.11279999999999</cx:pt>
          <cx:pt idx="891">378.11279999999999</cx:pt>
          <cx:pt idx="892">378.11279999999999</cx:pt>
          <cx:pt idx="893">378.11279999999999</cx:pt>
          <cx:pt idx="894">378.11279999999999</cx:pt>
          <cx:pt idx="895">378.11279999999999</cx:pt>
          <cx:pt idx="896">379.94380000000001</cx:pt>
          <cx:pt idx="897">378.11279999999999</cx:pt>
          <cx:pt idx="898">378.00115670000002</cx:pt>
          <cx:pt idx="899">377.97885930000001</cx:pt>
          <cx:pt idx="900">377.88950210000002</cx:pt>
          <cx:pt idx="901">377.57684719999997</cx:pt>
          <cx:pt idx="902">377.19729999999998</cx:pt>
          <cx:pt idx="903">378.11279999999999</cx:pt>
          <cx:pt idx="904">377.86442219999998</cx:pt>
          <cx:pt idx="905">377.83343309999998</cx:pt>
          <cx:pt idx="906">377.8024441</cx:pt>
          <cx:pt idx="907">376.68669899999998</cx:pt>
          <cx:pt idx="908">376.65401850000001</cx:pt>
          <cx:pt idx="909">376.59205589999999</cx:pt>
          <cx:pt idx="910">376.2817</cx:pt>
          <cx:pt idx="911">379.94380000000001</cx:pt>
          <cx:pt idx="912">379.84196100000003</cx:pt>
          <cx:pt idx="913">379.1637293</cx:pt>
          <cx:pt idx="914">379.12986769999998</cx:pt>
          <cx:pt idx="915">379.09760010000002</cx:pt>
          <cx:pt idx="916">379.0283</cx:pt>
          <cx:pt idx="917">377.19729999999998</cx:pt>
          <cx:pt idx="918">378.53320550000001</cx:pt>
          <cx:pt idx="919">378.97833420000001</cx:pt>
          <cx:pt idx="920">379.20117679999998</cx:pt>
          <cx:pt idx="921">379.94380000000001</cx:pt>
          <cx:pt idx="922">379.63887790000001</cx:pt>
          <cx:pt idx="923">379.61525799999998</cx:pt>
          <cx:pt idx="924">379.52149450000002</cx:pt>
          <cx:pt idx="925">379.49805070000002</cx:pt>
          <cx:pt idx="926">379.17041269999999</cx:pt>
          <cx:pt idx="927">379.09881339999998</cx:pt>
          <cx:pt idx="928">379.05192579999999</cx:pt>
          <cx:pt idx="929">378.95797449999998</cx:pt>
          <cx:pt idx="930">378.8640231</cx:pt>
          <cx:pt idx="931">378.79370349999999</cx:pt>
          <cx:pt idx="932">378.69975210000001</cx:pt>
          <cx:pt idx="933">378.53529329999998</cx:pt>
          <cx:pt idx="934">378.51184949999998</cx:pt>
          <cx:pt idx="935">378.3475785</cx:pt>
          <cx:pt idx="936">378.11279999999999</cx:pt>
          <cx:pt idx="937">378.3417895</cx:pt>
          <cx:pt idx="938">378.39892950000001</cx:pt>
          <cx:pt idx="939">379.0283</cx:pt>
          <cx:pt idx="940">380.85939999999999</cx:pt>
          <cx:pt idx="941">376.2817</cx:pt>
          <cx:pt idx="942">377.34961220000002</cx:pt>
          <cx:pt idx="943">379.94380000000001</cx:pt>
          <cx:pt idx="944">379.94380000000001</cx:pt>
          <cx:pt idx="945">379.94380000000001</cx:pt>
          <cx:pt idx="946">379.94380000000001</cx:pt>
          <cx:pt idx="947">379.94380000000001</cx:pt>
          <cx:pt idx="948">379.94380000000001</cx:pt>
          <cx:pt idx="949">379.94380000000001</cx:pt>
          <cx:pt idx="950">379.94380000000001</cx:pt>
          <cx:pt idx="951">378.11279999999999</cx:pt>
          <cx:pt idx="952">377.83272190000002</cx:pt>
          <cx:pt idx="953">377.78971209999997</cx:pt>
          <cx:pt idx="954">377.76812380000001</cx:pt>
          <cx:pt idx="955">377.72502780000002</cx:pt>
          <cx:pt idx="956">377.70352020000001</cx:pt>
          <cx:pt idx="957">377.56348379999997</cx:pt>
          <cx:pt idx="958">377.46653809999998</cx:pt>
          <cx:pt idx="959">377.4557843</cx:pt>
          <cx:pt idx="960">377.19729999999998</cx:pt>
          <cx:pt idx="961">379.0283</cx:pt>
          <cx:pt idx="962">378.99833439999998</cx:pt>
          <cx:pt idx="963">378.93827570000002</cx:pt>
          <cx:pt idx="964">378.39798710000002</cx:pt>
          <cx:pt idx="965">378.11279999999999</cx:pt>
          <cx:pt idx="966">378.24742459999999</cx:pt>
          <cx:pt idx="967">379.0283</cx:pt>
          <cx:pt idx="968">379.0283</cx:pt>
          <cx:pt idx="969">379.0283</cx:pt>
          <cx:pt idx="970">376.2817</cx:pt>
          <cx:pt idx="971">379.94380000000001</cx:pt>
          <cx:pt idx="972">377.19729999999998</cx:pt>
          <cx:pt idx="973">380.85939999999999</cx:pt>
          <cx:pt idx="974">377.68474179999998</cx:pt>
          <cx:pt idx="975">377.19729999999998</cx:pt>
          <cx:pt idx="976">377.60351079999998</cx:pt>
          <cx:pt idx="977">377.80814190000001</cx:pt>
          <cx:pt idx="978">379.0283</cx:pt>
          <cx:pt idx="979">378.7230189</cx:pt>
          <cx:pt idx="980">378.71222340000003</cx:pt>
          <cx:pt idx="981">378.6795755</cx:pt>
          <cx:pt idx="982">378.47248889999997</cx:pt>
          <cx:pt idx="983">378.27627960000001</cx:pt>
          <cx:pt idx="984">378.11279999999999</cx:pt>
          <cx:pt idx="985">378.20673199999999</cx:pt>
          <cx:pt idx="986">379.94380000000001</cx:pt>
          <cx:pt idx="987">378.11279999999999</cx:pt>
          <cx:pt idx="988">381.7749</cx:pt>
          <cx:pt idx="989">377.19729999999998</cx:pt>
          <cx:pt idx="990">378.13223850000003</cx:pt>
          <cx:pt idx="991">379.0283</cx:pt>
          <cx:pt idx="992">378.72363080000002</cx:pt>
          <cx:pt idx="993">377.50266540000001</cx:pt>
          <cx:pt idx="994">376.2817</cx:pt>
          <cx:pt idx="995">379.94380000000001</cx:pt>
          <cx:pt idx="996">379.94380000000001</cx:pt>
          <cx:pt idx="997">379.94380000000001</cx:pt>
          <cx:pt idx="998">378.11279999999999</cx:pt>
          <cx:pt idx="999">379.0283</cx:pt>
          <cx:pt idx="1000">378.6281606</cx:pt>
          <cx:pt idx="1001">378.57099369999997</cx:pt>
          <cx:pt idx="1002">378.11279999999999</cx:pt>
          <cx:pt idx="1003">378.3387487</cx:pt>
          <cx:pt idx="1004">378.36202589999999</cx:pt>
          <cx:pt idx="1005">378.36771909999999</cx:pt>
          <cx:pt idx="1006">378.65174780000001</cx:pt>
          <cx:pt idx="1007">378.7038187</cx:pt>
          <cx:pt idx="1008">378.71543409999998</cx:pt>
          <cx:pt idx="1009">378.78494990000002</cx:pt>
          <cx:pt idx="1010">378.89505439999999</cx:pt>
          <cx:pt idx="1011">378.93559690000001</cx:pt>
          <cx:pt idx="1012">378.9530881</cx:pt>
          <cx:pt idx="1013">378.98784740000002</cx:pt>
          <cx:pt idx="1014">379.0283</cx:pt>
          <cx:pt idx="1015">379.12503600000002</cx:pt>
          <cx:pt idx="1016">379.36584040000002</cx:pt>
          <cx:pt idx="1017">379.38951270000001</cx:pt>
          <cx:pt idx="1018">379.41373879999998</cx:pt>
          <cx:pt idx="1019">379.94380000000001</cx:pt>
          <cx:pt idx="1020">378.11279999999999</cx:pt>
          <cx:pt idx="1021">378.11279999999999</cx:pt>
          <cx:pt idx="1022">378.11279999999999</cx:pt>
          <cx:pt idx="1023">378.11279999999999</cx:pt>
          <cx:pt idx="1024">378.11279999999999</cx:pt>
          <cx:pt idx="1025">378.11279999999999</cx:pt>
          <cx:pt idx="1026">378.11279999999999</cx:pt>
          <cx:pt idx="1027">378.11279999999999</cx:pt>
          <cx:pt idx="1028">378.11279999999999</cx:pt>
          <cx:pt idx="1029">378.1951388</cx:pt>
          <cx:pt idx="1030">378.46127739999997</cx:pt>
          <cx:pt idx="1031">379.0283</cx:pt>
          <cx:pt idx="1032">379.0283</cx:pt>
          <cx:pt idx="1033">379.0283</cx:pt>
          <cx:pt idx="1034">379.0283</cx:pt>
          <cx:pt idx="1035">379.0283</cx:pt>
          <cx:pt idx="1036">379.0283</cx:pt>
          <cx:pt idx="1037">378.55659309999999</cx:pt>
          <cx:pt idx="1038">378.50119519999998</cx:pt>
          <cx:pt idx="1039">378.11279999999999</cx:pt>
          <cx:pt idx="1040">378.44564100000002</cx:pt>
          <cx:pt idx="1041">378.63996470000001</cx:pt>
          <cx:pt idx="1042">378.75098100000002</cx:pt>
          <cx:pt idx="1043">378.83408029999998</cx:pt>
          <cx:pt idx="1044">378.97279179999998</cx:pt>
          <cx:pt idx="1045">379.05437949999998</cx:pt>
          <cx:pt idx="1046">379.2208</cx:pt>
          <cx:pt idx="1047">379.554057</cx:pt>
          <cx:pt idx="1048">379.94380000000001</cx:pt>
          <cx:pt idx="1049">377.59141920000002</cx:pt>
          <cx:pt idx="1050">377.32628929999998</cx:pt>
          <cx:pt idx="1051">377.19729999999998</cx:pt>
          <cx:pt idx="1052">377.44765260000003</cx:pt>
          <cx:pt idx="1053">377.94706919999999</cx:pt>
          <cx:pt idx="1054">378.44648569999998</cx:pt>
          <cx:pt idx="1055">379.0283</cx:pt>
          <cx:pt idx="1056">378.98608300000001</cx:pt>
          <cx:pt idx="1057">378.9664922</cx:pt>
          <cx:pt idx="1058">378.88446599999997</cx:pt>
          <cx:pt idx="1059">378.86247780000002</cx:pt>
          <cx:pt idx="1060">378.82265819999998</cx:pt>
          <cx:pt idx="1061">378.63612369999998</cx:pt>
          <cx:pt idx="1062">378.41106600000001</cx:pt>
          <cx:pt idx="1063">378.39035360000003</cx:pt>
          <cx:pt idx="1064">378.2450791</cx:pt>
          <cx:pt idx="1065">378.2256529</cx:pt>
          <cx:pt idx="1066">377.19729999999998</cx:pt>
          <cx:pt idx="1067">377.69920610000003</cx:pt>
          <cx:pt idx="1068">378.11279999999999</cx:pt>
          <cx:pt idx="1069">378.11279999999999</cx:pt>
          <cx:pt idx="1070">378.11279999999999</cx:pt>
          <cx:pt idx="1071">378.11279999999999</cx:pt>
          <cx:pt idx="1072">378.11279999999999</cx:pt>
          <cx:pt idx="1073">378.11279999999999</cx:pt>
          <cx:pt idx="1074">378.11279999999999</cx:pt>
          <cx:pt idx="1075">378.11279999999999</cx:pt>
          <cx:pt idx="1076">378.11279999999999</cx:pt>
          <cx:pt idx="1077">378.11279999999999</cx:pt>
          <cx:pt idx="1078">378.11988730000002</cx:pt>
          <cx:pt idx="1079">378.14243299999998</cx:pt>
          <cx:pt idx="1080">378.17241890000003</cx:pt>
          <cx:pt idx="1081">378.18752819999997</cx:pt>
          <cx:pt idx="1082">378.60027689999998</cx:pt>
          <cx:pt idx="1083">378.6379882</cx:pt>
          <cx:pt idx="1084">378.69795620000002</cx:pt>
          <cx:pt idx="1085">378.74304760000001</cx:pt>
          <cx:pt idx="1086">378.78035349999999</cx:pt>
          <cx:pt idx="1087">378.788139</cx:pt>
          <cx:pt idx="1088">378.80307190000002</cx:pt>
          <cx:pt idx="1089">378.81068850000003</cx:pt>
          <cx:pt idx="1090">378.86315619999999</cx:pt>
          <cx:pt idx="1091">378.96083929999998</cx:pt>
          <cx:pt idx="1092">378.98373409999999</cx:pt>
          <cx:pt idx="1093">379.0283</cx:pt>
          <cx:pt idx="1094">378.7915228</cx:pt>
          <cx:pt idx="1095">378.67545209999997</cx:pt>
          <cx:pt idx="1096">378.37513280000002</cx:pt>
          <cx:pt idx="1097">378.08355349999999</cx:pt>
          <cx:pt idx="1098">377.90618469999998</cx:pt>
          <cx:pt idx="1099">377.19729999999998</cx:pt>
          <cx:pt idx="1100">378.89367049999998</cx:pt>
          <cx:pt idx="1101">379.0283</cx:pt>
          <cx:pt idx="1102">378.11279999999999</cx:pt>
          <cx:pt idx="1103">377.97242660000001</cx:pt>
          <cx:pt idx="1104">377.93716740000002</cx:pt>
          <cx:pt idx="1105">377.91336000000001</cx:pt>
          <cx:pt idx="1106">377.8774669</cx:pt>
          <cx:pt idx="1107">377.80805789999999</cx:pt>
          <cx:pt idx="1108">377.50268190000003</cx:pt>
          <cx:pt idx="1109">377.43198749999999</cx:pt>
          <cx:pt idx="1110">377.36185060000003</cx:pt>
          <cx:pt idx="1111">377.33831320000002</cx:pt>
          <cx:pt idx="1112">377.2679005</cx:pt>
          <cx:pt idx="1113">377.20892780000003</cx:pt>
          <cx:pt idx="1114">377.19729999999998</cx:pt>
          <cx:pt idx="1115">380.85939999999999</cx:pt>
          <cx:pt idx="1116">380.38623799999999</cx:pt>
          <cx:pt idx="1117">379.93406490000001</cx:pt>
          <cx:pt idx="1118">377.62437770000003</cx:pt>
          <cx:pt idx="1119">377.19729999999998</cx:pt>
          <cx:pt idx="1120">377.2535944</cx:pt>
          <cx:pt idx="1121">377.71188130000002</cx:pt>
          <cx:pt idx="1122">378.0562908</cx:pt>
          <cx:pt idx="1123">378.51503589999999</cx:pt>
          <cx:pt idx="1124">379.0283</cx:pt>
          <cx:pt idx="1125">379.0283</cx:pt>
          <cx:pt idx="1126">378.55713350000002</cx:pt>
          <cx:pt idx="1127">378.52727729999998</cx:pt>
          <cx:pt idx="1128">378.24994679999998</cx:pt>
          <cx:pt idx="1129">378.2239874</cx:pt>
          <cx:pt idx="1130">378.11279999999999</cx:pt>
          <cx:pt idx="1131">378.11279999999999</cx:pt>
          <cx:pt idx="1132">378.11279999999999</cx:pt>
          <cx:pt idx="1133">377.94012140000001</cx:pt>
          <cx:pt idx="1134">377.19729999999998</cx:pt>
          <cx:pt idx="1135">377.56546839999999</cx:pt>
          <cx:pt idx="1136">378.11279999999999</cx:pt>
          <cx:pt idx="1137">378.11279999999999</cx:pt>
          <cx:pt idx="1138">378.11279999999999</cx:pt>
          <cx:pt idx="1139">378.11279999999999</cx:pt>
          <cx:pt idx="1140">378.11279999999999</cx:pt>
          <cx:pt idx="1141">378.11279999999999</cx:pt>
          <cx:pt idx="1142">378.11279999999999</cx:pt>
          <cx:pt idx="1143">378.11279999999999</cx:pt>
          <cx:pt idx="1144">378.11279999999999</cx:pt>
          <cx:pt idx="1145">378.11279999999999</cx:pt>
          <cx:pt idx="1146">378.11279999999999</cx:pt>
          <cx:pt idx="1147">378.11279999999999</cx:pt>
          <cx:pt idx="1148">378.11279999999999</cx:pt>
          <cx:pt idx="1149">378.11279999999999</cx:pt>
          <cx:pt idx="1150">378.11279999999999</cx:pt>
          <cx:pt idx="1151">378.11279999999999</cx:pt>
          <cx:pt idx="1152">377.8011449</cx:pt>
          <cx:pt idx="1153">377.19729999999998</cx:pt>
          <cx:pt idx="1154">380.85939999999999</cx:pt>
          <cx:pt idx="1155">376.2817</cx:pt>
          <cx:pt idx="1156">377.22665439999997</cx:pt>
          <cx:pt idx="1157">378.60140480000001</cx:pt>
          <cx:pt idx="1158">379.94380000000001</cx:pt>
          <cx:pt idx="1159">378.28016960000002</cx:pt>
          <cx:pt idx="1160">378.11279999999999</cx:pt>
          <cx:pt idx="1161">378.17143670000002</cx:pt>
          <cx:pt idx="1162">378.81518449999999</cx:pt>
          <cx:pt idx="1163">379.0283</cx:pt>
          <cx:pt idx="1164">378.11279999999999</cx:pt>
          <cx:pt idx="1165">378.11279999999999</cx:pt>
          <cx:pt idx="1166">378.11279999999999</cx:pt>
          <cx:pt idx="1167">378.11279999999999</cx:pt>
          <cx:pt idx="1168">378.11279999999999</cx:pt>
          <cx:pt idx="1169">378.11279999999999</cx:pt>
          <cx:pt idx="1170">378.11279999999999</cx:pt>
          <cx:pt idx="1171">378.11279999999999</cx:pt>
          <cx:pt idx="1172">379.94380000000001</cx:pt>
          <cx:pt idx="1173">376.2817</cx:pt>
          <cx:pt idx="1174">379.94380000000001</cx:pt>
          <cx:pt idx="1175">376.2817</cx:pt>
          <cx:pt idx="1176">379.94380000000001</cx:pt>
          <cx:pt idx="1177">379.65812629999999</cx:pt>
          <cx:pt idx="1178">378.72172560000001</cx:pt>
          <cx:pt idx="1179">378.5798772</cx:pt>
          <cx:pt idx="1180">378.5445454</cx:pt>
          <cx:pt idx="1181">378.32838509999999</cx:pt>
          <cx:pt idx="1182">378.11279999999999</cx:pt>
          <cx:pt idx="1183">378.15264239999999</cx:pt>
          <cx:pt idx="1184">379.0283</cx:pt>
          <cx:pt idx="1185">378.89180720000002</cx:pt>
          <cx:pt idx="1186">378.33824679999998</cx:pt>
          <cx:pt idx="1187">378.11279999999999</cx:pt>
          <cx:pt idx="1188">378.11279999999999</cx:pt>
          <cx:pt idx="1189">378.11279999999999</cx:pt>
          <cx:pt idx="1190">378.11279999999999</cx:pt>
          <cx:pt idx="1191">378.11279999999999</cx:pt>
          <cx:pt idx="1192">378.11279999999999</cx:pt>
          <cx:pt idx="1193">378.49538660000002</cx:pt>
          <cx:pt idx="1194">378.64007620000001</cx:pt>
          <cx:pt idx="1195">378.68816149999998</cx:pt>
          <cx:pt idx="1196">379.0283</cx:pt>
          <cx:pt idx="1197">379.0283</cx:pt>
          <cx:pt idx="1198">379.0283</cx:pt>
          <cx:pt idx="1199">379.0283</cx:pt>
          <cx:pt idx="1200">378.84530590000003</cx:pt>
          <cx:pt idx="1201">378.60988400000002</cx:pt>
          <cx:pt idx="1202">377.9807103</cx:pt>
          <cx:pt idx="1203">377.85136030000001</cx:pt>
          <cx:pt idx="1204">377.82525750000002</cx:pt>
          <cx:pt idx="1205">377.24993710000001</cx:pt>
          <cx:pt idx="1206">377.19729999999998</cx:pt>
          <cx:pt idx="1207">377.34976899999998</cx:pt>
          <cx:pt idx="1208">379.0283</cx:pt>
          <cx:pt idx="1209">379.0283</cx:pt>
          <cx:pt idx="1210">379.0283</cx:pt>
          <cx:pt idx="1211">379.0283</cx:pt>
          <cx:pt idx="1212">379.0283</cx:pt>
          <cx:pt idx="1213">379.0283</cx:pt>
          <cx:pt idx="1214">379.0283</cx:pt>
          <cx:pt idx="1215">379.0283</cx:pt>
          <cx:pt idx="1216">378.67384290000001</cx:pt>
          <cx:pt idx="1217">378.61487740000001</cx:pt>
          <cx:pt idx="1218">378.55753600000003</cx:pt>
          <cx:pt idx="1219">378.14251890000003</cx:pt>
          <cx:pt idx="1220">378.11279999999999</cx:pt>
          <cx:pt idx="1221">379.0283</cx:pt>
          <cx:pt idx="1222">378.68082129999999</cx:pt>
          <cx:pt idx="1223">378.6614179</cx:pt>
          <cx:pt idx="1224">378.51520629999999</cx:pt>
          <cx:pt idx="1225">378.11279999999999</cx:pt>
          <cx:pt idx="1226">380.85939999999999</cx:pt>
          <cx:pt idx="1227">377.19729999999998</cx:pt>
          <cx:pt idx="1228">377.19729999999998</cx:pt>
          <cx:pt idx="1229">377.19729999999998</cx:pt>
          <cx:pt idx="1230">377.19729999999998</cx:pt>
          <cx:pt idx="1231">377.19729999999998</cx:pt>
          <cx:pt idx="1232">377.19729999999998</cx:pt>
          <cx:pt idx="1233">377.19729999999998</cx:pt>
          <cx:pt idx="1234">378.11279999999999</cx:pt>
          <cx:pt idx="1235">378.11279999999999</cx:pt>
          <cx:pt idx="1236">378.11279999999999</cx:pt>
          <cx:pt idx="1237">378.03468090000001</cx:pt>
          <cx:pt idx="1238">377.44289529999998</cx:pt>
          <cx:pt idx="1239">377.19729999999998</cx:pt>
          <cx:pt idx="1240">379.0283</cx:pt>
          <cx:pt idx="1241">378.99717120000003</cx:pt>
          <cx:pt idx="1242">378.96633850000001</cx:pt>
          <cx:pt idx="1243">378.95872159999999</cx:pt>
          <cx:pt idx="1244">378.92836949999997</cx:pt>
          <cx:pt idx="1245">378.92027200000001</cx:pt>
          <cx:pt idx="1246">378.9052767</cx:pt>
          <cx:pt idx="1247">378.83611739999998</cx:pt>
          <cx:pt idx="1248">378.69767969999998</cx:pt>
          <cx:pt idx="1249">378.28200889999999</cx:pt>
          <cx:pt idx="1250">378.1743386</cx:pt>
          <cx:pt idx="1251">378.11279999999999</cx:pt>
          <cx:pt idx="1252">378.65317299999998</cx:pt>
          <cx:pt idx="1253">378.76105849999999</cx:pt>
          <cx:pt idx="1254">378.86602599999998</cx:pt>
          <cx:pt idx="1255">379.0283</cx:pt>
          <cx:pt idx="1256">379.0283</cx:pt>
          <cx:pt idx="1257">379.0283</cx:pt>
          <cx:pt idx="1258">379.00843609999998</cx:pt>
          <cx:pt idx="1259">378.82927310000002</cx:pt>
          <cx:pt idx="1260">378.70989070000002</cx:pt>
          <cx:pt idx="1261">378.57062459999997</cx:pt>
          <cx:pt idx="1262">378.43230399999999</cx:pt>
          <cx:pt idx="1263">378.41134540000002</cx:pt>
          <cx:pt idx="1264">378.3715977</cx:pt>
          <cx:pt idx="1265">378.2930379</cx:pt>
          <cx:pt idx="1266">378.23326709999998</cx:pt>
          <cx:pt idx="1267">378.11279999999999</cx:pt>
          <cx:pt idx="1268">377.31548290000001</cx:pt>
          <cx:pt idx="1269">377.19729999999998</cx:pt>
          <cx:pt idx="1270">377.4122314</cx:pt>
          <cx:pt idx="1271">377.4505997</cx:pt>
          <cx:pt idx="1272">377.95690980000001</cx:pt>
          <cx:pt idx="1273">379.1500709</cx:pt>
          <cx:pt idx="1274">379.4030813</cx:pt>
          <cx:pt idx="1275">379.43946069999998</cx:pt>
          <cx:pt idx="1276">379.76468749999998</cx:pt>
          <cx:pt idx="1277">379.94380000000001</cx:pt>
          <cx:pt idx="1278">376.2817</cx:pt>
          <cx:pt idx="1279">378.95146849999998</cx:pt>
          <cx:pt idx="1280">380.85939999999999</cx:pt>
          <cx:pt idx="1281">380.75087259999998</cx:pt>
          <cx:pt idx="1282">379.88831670000002</cx:pt>
          <cx:pt idx="1283">379.46256770000002</cx:pt>
          <cx:pt idx="1284">378.81463939999998</cx:pt>
          <cx:pt idx="1285">377.19729999999998</cx:pt>
          <cx:pt idx="1286">377.19729999999998</cx:pt>
          <cx:pt idx="1287">377.19729999999998</cx:pt>
          <cx:pt idx="1288">377.19729999999998</cx:pt>
          <cx:pt idx="1289">377.19729999999998</cx:pt>
          <cx:pt idx="1290">377.19729999999998</cx:pt>
          <cx:pt idx="1291">377.19729999999998</cx:pt>
          <cx:pt idx="1292">377.19729999999998</cx:pt>
          <cx:pt idx="1293">377.19729999999998</cx:pt>
          <cx:pt idx="1294">377.19729999999998</cx:pt>
          <cx:pt idx="1295">377.19729999999998</cx:pt>
          <cx:pt idx="1296">377.19729999999998</cx:pt>
          <cx:pt idx="1297">377.19729999999998</cx:pt>
          <cx:pt idx="1298">377.19729999999998</cx:pt>
          <cx:pt idx="1299">377.19729999999998</cx:pt>
          <cx:pt idx="1300">377.19729999999998</cx:pt>
          <cx:pt idx="1301">379.0283</cx:pt>
          <cx:pt idx="1302">378.74272459999997</cx:pt>
          <cx:pt idx="1303">378.72595130000002</cx:pt>
          <cx:pt idx="1304">378.69234160000002</cx:pt>
          <cx:pt idx="1305">378.6839549</cx:pt>
          <cx:pt idx="1306">378.66711859999998</cx:pt>
          <cx:pt idx="1307">378.47398140000001</cx:pt>
          <cx:pt idx="1308">378.46559480000002</cx:pt>
          <cx:pt idx="1309">378.42360259999998</cx:pt>
          <cx:pt idx="1310">378.26400799999999</cx:pt>
          <cx:pt idx="1311">378.20517519999999</cx:pt>
          <cx:pt idx="1312">378.18840189999997</cx:pt>
          <cx:pt idx="1313">378.11279999999999</cx:pt>
          <cx:pt idx="1314">378.11279999999999</cx:pt>
          <cx:pt idx="1315">378.11279999999999</cx:pt>
          <cx:pt idx="1316">378.11279999999999</cx:pt>
          <cx:pt idx="1317">378.11279999999999</cx:pt>
          <cx:pt idx="1318">378.11279999999999</cx:pt>
          <cx:pt idx="1319">378.11279999999999</cx:pt>
          <cx:pt idx="1320">378.11279999999999</cx:pt>
          <cx:pt idx="1321">378.11279999999999</cx:pt>
          <cx:pt idx="1322">378.11279999999999</cx:pt>
          <cx:pt idx="1323">378.11279999999999</cx:pt>
          <cx:pt idx="1324">378.11279999999999</cx:pt>
          <cx:pt idx="1325">378.11279999999999</cx:pt>
          <cx:pt idx="1326">378.11279999999999</cx:pt>
          <cx:pt idx="1327">378.11279999999999</cx:pt>
          <cx:pt idx="1328">378.28202490000001</cx:pt>
          <cx:pt idx="1329">378.34359549999999</cx:pt>
          <cx:pt idx="1330">378.45137290000002</cx:pt>
          <cx:pt idx="1331">378.66668140000002</cx:pt>
          <cx:pt idx="1332">378.92832759999999</cx:pt>
          <cx:pt idx="1333">379.05134570000001</cx:pt>
          <cx:pt idx="1334">379.06682489999997</cx:pt>
          <cx:pt idx="1335">379.78993889999998</cx:pt>
          <cx:pt idx="1336">379.94380000000001</cx:pt>
          <cx:pt idx="1337">379.89550989999998</cx:pt>
          <cx:pt idx="1338">379.84740049999999</cx:pt>
          <cx:pt idx="1339">379.67865619999998</cx:pt>
          <cx:pt idx="1340">379.60650420000002</cx:pt>
          <cx:pt idx="1341">379.55839479999997</cx:pt>
          <cx:pt idx="1342">379.48604999999998</cx:pt>
          <cx:pt idx="1343">379.43794059999999</cx:pt>
          <cx:pt idx="1344">379.293251</cx:pt>
          <cx:pt idx="1345">379.0283</cx:pt>
          <cx:pt idx="1346">379.0283</cx:pt>
          <cx:pt idx="1347">379.18614209999998</cx:pt>
          <cx:pt idx="1348">379.375742</cx:pt>
          <cx:pt idx="1349">379.88077370000002</cx:pt>
          <cx:pt idx="1350">379.94380000000001</cx:pt>
          <cx:pt idx="1351">379.94380000000001</cx:pt>
          <cx:pt idx="1352">379.94380000000001</cx:pt>
          <cx:pt idx="1353">379.94380000000001</cx:pt>
          <cx:pt idx="1354">379.94380000000001</cx:pt>
          <cx:pt idx="1355">379.94380000000001</cx:pt>
          <cx:pt idx="1356">382.69040000000001</cx:pt>
          <cx:pt idx="1357">379.0283</cx:pt>
          <cx:pt idx="1358">377.7263749</cx:pt>
          <cx:pt idx="1359">377.6041821</cx:pt>
          <cx:pt idx="1360">377.27855840000001</cx:pt>
          <cx:pt idx="1361">377.19729999999998</cx:pt>
          <cx:pt idx="1362">380.85939999999999</cx:pt>
          <cx:pt idx="1363">379.0283</cx:pt>
          <cx:pt idx="1364">379.0283</cx:pt>
          <cx:pt idx="1365">379.0283</cx:pt>
          <cx:pt idx="1366">379.0283</cx:pt>
          <cx:pt idx="1367">379.0283</cx:pt>
          <cx:pt idx="1368">379.0283</cx:pt>
          <cx:pt idx="1369">379.0283</cx:pt>
          <cx:pt idx="1370">378.14538019999998</cx:pt>
          <cx:pt idx="1371">377.94803150000001</cx:pt>
          <cx:pt idx="1372">377.06663200000003</cx:pt>
          <cx:pt idx="1373">376.67414150000002</cx:pt>
          <cx:pt idx="1374">376.3795897</cx:pt>
          <cx:pt idx="1375">376.2817</cx:pt>
          <cx:pt idx="1376">379.94380000000001</cx:pt>
          <cx:pt idx="1377">379.0283</cx:pt>
          <cx:pt idx="1378">379.32097779999998</cx:pt>
          <cx:pt idx="1379">379.36599389999998</cx:pt>
          <cx:pt idx="1380">379.38097679999998</cx:pt>
          <cx:pt idx="1381">379.4561387</cx:pt>
          <cx:pt idx="1382">379.50109479999998</cx:pt>
          <cx:pt idx="1383">379.94380000000001</cx:pt>
          <cx:pt idx="1384">378.11279999999999</cx:pt>
          <cx:pt idx="1385">377.49428979999999</cx:pt>
          <cx:pt idx="1386">377.22200379999998</cx:pt>
          <cx:pt idx="1387">377.19729999999998</cx:pt>
          <cx:pt idx="1388">379.0283</cx:pt>
          <cx:pt idx="1389">379.0283</cx:pt>
          <cx:pt idx="1390">379.0283</cx:pt>
          <cx:pt idx="1391">379.0283</cx:pt>
          <cx:pt idx="1392">379.0283</cx:pt>
          <cx:pt idx="1393">379.01436969999997</cx:pt>
          <cx:pt idx="1394">378.11279999999999</cx:pt>
          <cx:pt idx="1395">378.23092380000003</cx:pt>
          <cx:pt idx="1396">378.3877334</cx:pt>
          <cx:pt idx="1397">378.407984</cx:pt>
          <cx:pt idx="1398">378.585059</cx:pt>
          <cx:pt idx="1399">378.64423160000001</cx:pt>
          <cx:pt idx="1400">379.0283</cx:pt>
          <cx:pt idx="1401">380.85939999999999</cx:pt>
          <cx:pt idx="1402">377.19729999999998</cx:pt>
          <cx:pt idx="1403">379.94380000000001</cx:pt>
          <cx:pt idx="1404">379.31849010000002</cx:pt>
          <cx:pt idx="1405">379.0283</cx:pt>
          <cx:pt idx="1406">380.85939999999999</cx:pt>
          <cx:pt idx="1407">377.19729999999998</cx:pt>
          <cx:pt idx="1408">378.20423219999998</cx:pt>
          <cx:pt idx="1409">378.57059320000002</cx:pt>
          <cx:pt idx="1410">380.85939999999999</cx:pt>
          <cx:pt idx="1411">377.19729999999998</cx:pt>
          <cx:pt idx="1412">377.67505590000002</cx:pt>
          <cx:pt idx="1413">377.83391019999999</cx:pt>
          <cx:pt idx="1414">378.31102970000001</cx:pt>
          <cx:pt idx="1415">379.0283</cx:pt>
          <cx:pt idx="1416">379.0283</cx:pt>
          <cx:pt idx="1417">379.0283</cx:pt>
          <cx:pt idx="1418">379.0283</cx:pt>
          <cx:pt idx="1419">379.0283</cx:pt>
          <cx:pt idx="1420">379.0283</cx:pt>
          <cx:pt idx="1421">379.0283</cx:pt>
          <cx:pt idx="1422">379.0283</cx:pt>
          <cx:pt idx="1423">379.0283</cx:pt>
          <cx:pt idx="1424">379.0283</cx:pt>
          <cx:pt idx="1425">379.0283</cx:pt>
          <cx:pt idx="1426">379.0283</cx:pt>
          <cx:pt idx="1427">379.0283</cx:pt>
          <cx:pt idx="1428">379.0283</cx:pt>
          <cx:pt idx="1429">379.0283</cx:pt>
          <cx:pt idx="1430">379.0283</cx:pt>
          <cx:pt idx="1431">379.0283</cx:pt>
          <cx:pt idx="1432">379.0283</cx:pt>
          <cx:pt idx="1433">379.0283</cx:pt>
          <cx:pt idx="1434">379.0283</cx:pt>
          <cx:pt idx="1435">379.1418031</cx:pt>
          <cx:pt idx="1436">379.94380000000001</cx:pt>
          <cx:pt idx="1437">379.80625420000001</cx:pt>
          <cx:pt idx="1438">379.77591219999999</cx:pt>
          <cx:pt idx="1439">379.0283</cx:pt>
          <cx:pt idx="1440">379.0283</cx:pt>
          <cx:pt idx="1441">379.0283</cx:pt>
          <cx:pt idx="1442">379.0283</cx:pt>
          <cx:pt idx="1443">378.8099373</cx:pt>
          <cx:pt idx="1444">377.71064840000003</cx:pt>
          <cx:pt idx="1445">377.19729999999998</cx:pt>
          <cx:pt idx="1446">380.85939999999999</cx:pt>
          <cx:pt idx="1447">380.14726109999998</cx:pt>
          <cx:pt idx="1448">379.79139500000002</cx:pt>
          <cx:pt idx="1449">379.53707789999999</cx:pt>
          <cx:pt idx="1450">379.0276806</cx:pt>
          <cx:pt idx="1451">378.11279999999999</cx:pt>
          <cx:pt idx="1452">378.41802339999998</cx:pt>
          <cx:pt idx="1453">378.48834040000003</cx:pt>
          <cx:pt idx="1454">378.53539439999997</cx:pt>
          <cx:pt idx="1455">379.94380000000001</cx:pt>
          <cx:pt idx="1456">379.5847665</cx:pt>
          <cx:pt idx="1457">378.66927099999998</cx:pt>
          <cx:pt idx="1458">378.6513458</cx:pt>
          <cx:pt idx="1459">378.59715729999999</cx:pt>
          <cx:pt idx="1460">378.11279999999999</cx:pt>
          <cx:pt idx="1461">379.94380000000001</cx:pt>
          <cx:pt idx="1462">379.0283</cx:pt>
          <cx:pt idx="1463">382.69040000000001</cx:pt>
          <cx:pt idx="1464">379.0283</cx:pt>
          <cx:pt idx="1465">382.69040000000001</cx:pt>
          <cx:pt idx="1466">378.11279999999999</cx:pt>
          <cx:pt idx="1467">378.11279999999999</cx:pt>
          <cx:pt idx="1468">378.11279999999999</cx:pt>
          <cx:pt idx="1469">378.11279999999999</cx:pt>
          <cx:pt idx="1470">378.11279999999999</cx:pt>
          <cx:pt idx="1471">378.11279999999999</cx:pt>
          <cx:pt idx="1472">381.7749</cx:pt>
          <cx:pt idx="1473">380.9468632</cx:pt>
          <cx:pt idx="1474">380.90298280000002</cx:pt>
          <cx:pt idx="1475">380.77308570000002</cx:pt>
          <cx:pt idx="1476">378.11279999999999</cx:pt>
          <cx:pt idx="1477">379.94380000000001</cx:pt>
          <cx:pt idx="1478">379.94380000000001</cx:pt>
          <cx:pt idx="1479">379.94380000000001</cx:pt>
          <cx:pt idx="1480">379.0283</cx:pt>
          <cx:pt idx="1481">382.69040000000001</cx:pt>
          <cx:pt idx="1482">382.01567970000002</cx:pt>
          <cx:pt idx="1483">381.14560879999999</cx:pt>
          <cx:pt idx="1484">380.9547857</cx:pt>
          <cx:pt idx="1485">379.0283</cx:pt>
          <cx:pt idx="1486">381.48962519999998</cx:pt>
          <cx:pt idx="1487">381.7749</cx:pt>
          <cx:pt idx="1488">381.6842474</cx:pt>
          <cx:pt idx="1489">381.62993749999998</cx:pt>
          <cx:pt idx="1490">380.45149959999998</cx:pt>
          <cx:pt idx="1491">380.39677269999999</cx:pt>
          <cx:pt idx="1492">380.28801679999998</cx:pt>
          <cx:pt idx="1493">380.2519552</cx:pt>
          <cx:pt idx="1494">379.94380000000001</cx:pt>
          <cx:pt idx="1495">383.60590000000002</cx:pt>
          <cx:pt idx="1496">379.94380000000001</cx:pt>
          <cx:pt idx="1497">379.0283</cx:pt>
          <cx:pt idx="1498">382.69040000000001</cx:pt>
          <cx:pt idx="1499">382.36869100000001</cx:pt>
          <cx:pt idx="1500">382.27223120000002</cx:pt>
          <cx:pt idx="1501">382.14419650000002</cx:pt>
          <cx:pt idx="1502">380.85939999999999</cx:pt>
          <cx:pt idx="1503">380.5535304</cx:pt>
          <cx:pt idx="1504">380.35082940000001</cx:pt>
          <cx:pt idx="1505">379.94380000000001</cx:pt>
          <cx:pt idx="1506">383.60590000000002</cx:pt>
          <cx:pt idx="1507">381.968097</cx:pt>
          <cx:pt idx="1508">381.58237430000003</cx:pt>
          <cx:pt idx="1509">379.94380000000001</cx:pt>
          <cx:pt idx="1510">382.69040000000001</cx:pt>
          <cx:pt idx="1511">381.67318460000001</cx:pt>
          <cx:pt idx="1512">381.3878646</cx:pt>
          <cx:pt idx="1513">381.3050192</cx:pt>
          <cx:pt idx="1514">380.85939999999999</cx:pt>
          <cx:pt idx="1515">381.5422059</cx:pt>
          <cx:pt idx="1516">381.58007040000001</cx:pt>
          <cx:pt idx="1517">381.58750220000002</cx:pt>
          <cx:pt idx="1518">381.7749</cx:pt>
          <cx:pt idx="1519">381.72245850000002</cx:pt>
          <cx:pt idx="1520">381.67646789999998</cx:pt>
          <cx:pt idx="1521">381.6633645</cx:pt>
          <cx:pt idx="1522">381.56493239999998</cx:pt>
          <cx:pt idx="1523">381.56155439999998</cx:pt>
          <cx:pt idx="1524">381.55832900000001</cx:pt>
          <cx:pt idx="1525">381.4992858</cx:pt>
          <cx:pt idx="1526">381.48605279999998</cx:pt>
          <cx:pt idx="1527">381.38777490000001</cx:pt>
          <cx:pt idx="1528">381.3221284</cx:pt>
          <cx:pt idx="1529">381.31887669999998</cx:pt>
          <cx:pt idx="1530">381.3121979</cx:pt>
          <cx:pt idx="1531">381.30574869999998</cx:pt>
          <cx:pt idx="1532">381.1449447</cx:pt>
          <cx:pt idx="1533">381.13841839999998</cx:pt>
          <cx:pt idx="1534">381.05306510000003</cx:pt>
          <cx:pt idx="1535">380.96771009999998</cx:pt>
          <cx:pt idx="1536">380.94142620000002</cx:pt>
          <cx:pt idx="1537">380.85939999999999</cx:pt>
          <cx:pt idx="1538">381.7749</cx:pt>
          <cx:pt idx="1539">382.68898089999999</cx:pt>
          <cx:pt idx="1540">382.871083</cx:pt>
          <cx:pt idx="1541">383.1467538</cx:pt>
          <cx:pt idx="1542">383.60590000000002</cx:pt>
          <cx:pt idx="1543">381.7749</cx:pt>
          <cx:pt idx="1544">381.7749</cx:pt>
          <cx:pt idx="1545">381.7749</cx:pt>
          <cx:pt idx="1546">381.7749</cx:pt>
          <cx:pt idx="1547">381.7749</cx:pt>
          <cx:pt idx="1548">381.7749</cx:pt>
          <cx:pt idx="1549">380.85939999999999</cx:pt>
          <cx:pt idx="1550">382.69040000000001</cx:pt>
          <cx:pt idx="1551">382.1367022</cx:pt>
          <cx:pt idx="1552">382.11192089999997</cx:pt>
          <cx:pt idx="1553">382.06441640000003</cx:pt>
          <cx:pt idx="1554">381.7749</cx:pt>
          <cx:pt idx="1555">381.4111671</cx:pt>
          <cx:pt idx="1556">381.28613919999998</cx:pt>
          <cx:pt idx="1557">381.23565639999998</cx:pt>
          <cx:pt idx="1558">381.19789780000002</cx:pt>
          <cx:pt idx="1559">381.16023330000002</cx:pt>
          <cx:pt idx="1560">380.85939999999999</cx:pt>
          <cx:pt idx="1561">384.5215</cx:pt>
          <cx:pt idx="1562">380.85939999999999</cx:pt>
          <cx:pt idx="1563">381.02056750000003</cx:pt>
          <cx:pt idx="1564">381.06409530000002</cx:pt>
          <cx:pt idx="1565">381.0753583</cx:pt>
          <cx:pt idx="1566">381.09611230000002</cx:pt>
          <cx:pt idx="1567">381.63465339999999</cx:pt>
          <cx:pt idx="1568">381.6457441</cx:pt>
          <cx:pt idx="1569">381.7749</cx:pt>
          <cx:pt idx="1570">381.7749</cx:pt>
          <cx:pt idx="1571">381.7749</cx:pt>
          <cx:pt idx="1572">381.7749</cx:pt>
          <cx:pt idx="1573">381.7749</cx:pt>
          <cx:pt idx="1574">381.7749</cx:pt>
          <cx:pt idx="1575">381.31355380000002</cx:pt>
          <cx:pt idx="1576">380.85939999999999</cx:pt>
          <cx:pt idx="1577">382.69040000000001</cx:pt>
          <cx:pt idx="1578">382.25320579999999</cx:pt>
          <cx:pt idx="1579">382.08000340000001</cx:pt>
          <cx:pt idx="1580">382.04712410000002</cx:pt>
          <cx:pt idx="1581">381.98098169999997</cx:pt>
          <cx:pt idx="1582">381.7749</cx:pt>
          <cx:pt idx="1583">380.23666780000002</cx:pt>
          <cx:pt idx="1584">380.16127749999998</cx:pt>
          <cx:pt idx="1585">379.97992349999998</cx:pt>
          <cx:pt idx="1586">379.0283</cx:pt>
          <cx:pt idx="1587">382.69040000000001</cx:pt>
          <cx:pt idx="1588">381.7749</cx:pt>
          <cx:pt idx="1589">382.69040000000001</cx:pt>
          <cx:pt idx="1590">381.7749</cx:pt>
          <cx:pt idx="1591">381.7749</cx:pt>
          <cx:pt idx="1592">381.7749</cx:pt>
          <cx:pt idx="1593">381.7749</cx:pt>
          <cx:pt idx="1594">381.7749</cx:pt>
          <cx:pt idx="1595">381.7749</cx:pt>
          <cx:pt idx="1596">381.7749</cx:pt>
          <cx:pt idx="1597">381.7749</cx:pt>
          <cx:pt idx="1598">381.753151</cx:pt>
          <cx:pt idx="1599">381.40477490000001</cx:pt>
          <cx:pt idx="1600">380.85939999999999</cx:pt>
          <cx:pt idx="1601">382.69040000000001</cx:pt>
          <cx:pt idx="1602">382.37115510000001</cx:pt>
          <cx:pt idx="1603">382.29241020000001</cx:pt>
          <cx:pt idx="1604">382.06278229999998</cx:pt>
          <cx:pt idx="1605">381.7749</cx:pt>
          <cx:pt idx="1606">381.7749</cx:pt>
          <cx:pt idx="1607">381.7749</cx:pt>
          <cx:pt idx="1608">381.7749</cx:pt>
          <cx:pt idx="1609">381.7749</cx:pt>
          <cx:pt idx="1610">381.7749</cx:pt>
          <cx:pt idx="1611">381.7749</cx:pt>
          <cx:pt idx="1612">381.7749</cx:pt>
          <cx:pt idx="1613">381.7749</cx:pt>
          <cx:pt idx="1614">381.7749</cx:pt>
          <cx:pt idx="1615">381.7749</cx:pt>
          <cx:pt idx="1616">381.7749</cx:pt>
          <cx:pt idx="1617">381.7749</cx:pt>
          <cx:pt idx="1618">381.7749</cx:pt>
          <cx:pt idx="1619">381.7749</cx:pt>
          <cx:pt idx="1620">381.7749</cx:pt>
          <cx:pt idx="1621">380.85939999999999</cx:pt>
          <cx:pt idx="1622">380.96944380000002</cx:pt>
          <cx:pt idx="1623">381.0346601</cx:pt>
          <cx:pt idx="1624">381.3394821</cx:pt>
          <cx:pt idx="1625">381.53409699999997</cx:pt>
          <cx:pt idx="1626">381.5993024</cx:pt>
          <cx:pt idx="1627">381.64430399999998</cx:pt>
          <cx:pt idx="1628">381.70952039999997</cx:pt>
          <cx:pt idx="1629">381.7749</cx:pt>
          <cx:pt idx="1630">381.79774259999999</cx:pt>
          <cx:pt idx="1631">382.6446919</cx:pt>
          <cx:pt idx="1632">382.69040000000001</cx:pt>
          <cx:pt idx="1633">380.85939999999999</cx:pt>
          <cx:pt idx="1634">382.69040000000001</cx:pt>
          <cx:pt idx="1635">381.7749</cx:pt>
          <cx:pt idx="1636">379.94380000000001</cx:pt>
          <cx:pt idx="1637">383.60590000000002</cx:pt>
          <cx:pt idx="1638">379.94380000000001</cx:pt>
          <cx:pt idx="1639">383.60590000000002</cx:pt>
          <cx:pt idx="1640">381.7749</cx:pt>
          <cx:pt idx="1641">382.25361839999999</cx:pt>
          <cx:pt idx="1642">382.28448459999998</cx:pt>
          <cx:pt idx="1643">382.28999909999999</cx:pt>
          <cx:pt idx="1644">382.3105645</cx:pt>
          <cx:pt idx="1645">382.69040000000001</cx:pt>
          <cx:pt idx="1646">382.5004199</cx:pt>
          <cx:pt idx="1647">382.48635589999998</cx:pt>
          <cx:pt idx="1648">382.39477140000002</cx:pt>
          <cx:pt idx="1649">382.38754649999998</cx:pt>
          <cx:pt idx="1650">381.97206970000002</cx:pt>
          <cx:pt idx="1651">381.7749</cx:pt>
          <cx:pt idx="1652">381.7749</cx:pt>
          <cx:pt idx="1653">381.7749</cx:pt>
          <cx:pt idx="1654">381.7749</cx:pt>
          <cx:pt idx="1655">381.7749</cx:pt>
          <cx:pt idx="1656">381.7749</cx:pt>
          <cx:pt idx="1657">381.7749</cx:pt>
          <cx:pt idx="1658">381.7749</cx:pt>
          <cx:pt idx="1659">381.7749</cx:pt>
          <cx:pt idx="1660">381.7749</cx:pt>
          <cx:pt idx="1661">381.7749</cx:pt>
          <cx:pt idx="1662">381.7749</cx:pt>
          <cx:pt idx="1663">381.7749</cx:pt>
          <cx:pt idx="1664">381.7749</cx:pt>
          <cx:pt idx="1665">381.7749</cx:pt>
          <cx:pt idx="1666">381.7749</cx:pt>
          <cx:pt idx="1667">381.7749</cx:pt>
          <cx:pt idx="1668">381.7749</cx:pt>
          <cx:pt idx="1669">381.7749</cx:pt>
          <cx:pt idx="1670">381.7749</cx:pt>
          <cx:pt idx="1671">381.7749</cx:pt>
          <cx:pt idx="1672">381.7749</cx:pt>
          <cx:pt idx="1673">381.7749</cx:pt>
          <cx:pt idx="1674">381.7749</cx:pt>
          <cx:pt idx="1675">381.7749</cx:pt>
          <cx:pt idx="1676">381.7749</cx:pt>
          <cx:pt idx="1677">381.7749</cx:pt>
          <cx:pt idx="1678">381.7749</cx:pt>
          <cx:pt idx="1679">381.7749</cx:pt>
          <cx:pt idx="1680">381.7749</cx:pt>
          <cx:pt idx="1681">381.7749</cx:pt>
          <cx:pt idx="1682">381.7749</cx:pt>
          <cx:pt idx="1683">381.7749</cx:pt>
          <cx:pt idx="1684">381.7749</cx:pt>
          <cx:pt idx="1685">381.7749</cx:pt>
          <cx:pt idx="1686">381.7749</cx:pt>
          <cx:pt idx="1687">381.7749</cx:pt>
          <cx:pt idx="1688">381.7749</cx:pt>
          <cx:pt idx="1689">381.7749</cx:pt>
          <cx:pt idx="1690">381.7749</cx:pt>
          <cx:pt idx="1691">381.7749</cx:pt>
          <cx:pt idx="1692">381.7749</cx:pt>
          <cx:pt idx="1693">381.7749</cx:pt>
          <cx:pt idx="1694">381.7749</cx:pt>
          <cx:pt idx="1695">381.7749</cx:pt>
          <cx:pt idx="1696">381.7749</cx:pt>
          <cx:pt idx="1697">381.7749</cx:pt>
          <cx:pt idx="1698">381.7749</cx:pt>
          <cx:pt idx="1699">381.7749</cx:pt>
          <cx:pt idx="1700">381.7749</cx:pt>
          <cx:pt idx="1701">381.7749</cx:pt>
          <cx:pt idx="1702">381.7749</cx:pt>
          <cx:pt idx="1703">381.7749</cx:pt>
          <cx:pt idx="1704">381.7749</cx:pt>
          <cx:pt idx="1705">381.7749</cx:pt>
          <cx:pt idx="1706">381.7749</cx:pt>
          <cx:pt idx="1707">381.7749</cx:pt>
          <cx:pt idx="1708">381.7749</cx:pt>
          <cx:pt idx="1709">381.7749</cx:pt>
          <cx:pt idx="1710">381.7749</cx:pt>
          <cx:pt idx="1711">381.7749</cx:pt>
          <cx:pt idx="1712">381.7749</cx:pt>
          <cx:pt idx="1713">381.7749</cx:pt>
          <cx:pt idx="1714">381.7749</cx:pt>
          <cx:pt idx="1715">381.7749</cx:pt>
          <cx:pt idx="1716">381.7749</cx:pt>
          <cx:pt idx="1717">381.7749</cx:pt>
          <cx:pt idx="1718">381.7749</cx:pt>
          <cx:pt idx="1719">381.7749</cx:pt>
          <cx:pt idx="1720">381.7749</cx:pt>
          <cx:pt idx="1721">381.7749</cx:pt>
          <cx:pt idx="1722">381.7749</cx:pt>
          <cx:pt idx="1723">381.7749</cx:pt>
          <cx:pt idx="1724">381.7749</cx:pt>
          <cx:pt idx="1725">381.7749</cx:pt>
          <cx:pt idx="1726">381.7749</cx:pt>
          <cx:pt idx="1727">381.7749</cx:pt>
          <cx:pt idx="1728">381.7749</cx:pt>
          <cx:pt idx="1729">381.7749</cx:pt>
          <cx:pt idx="1730">381.7749</cx:pt>
          <cx:pt idx="1731">381.7749</cx:pt>
          <cx:pt idx="1732">381.7749</cx:pt>
          <cx:pt idx="1733">381.7749</cx:pt>
          <cx:pt idx="1734">381.7749</cx:pt>
          <cx:pt idx="1735">381.7749</cx:pt>
          <cx:pt idx="1736">381.7749</cx:pt>
          <cx:pt idx="1737">381.7749</cx:pt>
          <cx:pt idx="1738">381.7749</cx:pt>
          <cx:pt idx="1739">381.7749</cx:pt>
          <cx:pt idx="1740">381.7749</cx:pt>
          <cx:pt idx="1741">381.7749</cx:pt>
          <cx:pt idx="1742">381.7749</cx:pt>
          <cx:pt idx="1743">381.7749</cx:pt>
          <cx:pt idx="1744">381.7749</cx:pt>
          <cx:pt idx="1745">381.7749</cx:pt>
          <cx:pt idx="1746">381.7749</cx:pt>
          <cx:pt idx="1747">381.7749</cx:pt>
          <cx:pt idx="1748">381.4121591</cx:pt>
          <cx:pt idx="1749">381.04648839999999</cx:pt>
          <cx:pt idx="1750">380.67514139999997</cx:pt>
          <cx:pt idx="1751">380.31514709999999</cx:pt>
          <cx:pt idx="1752">379.94380000000001</cx:pt>
          <cx:pt idx="1753">380.8556969</cx:pt>
          <cx:pt idx="1754">381.7749</cx:pt>
          <cx:pt idx="1755">381.7749</cx:pt>
          <cx:pt idx="1756">381.7749</cx:pt>
          <cx:pt idx="1757">381.7749</cx:pt>
          <cx:pt idx="1758">381.7749</cx:pt>
          <cx:pt idx="1759">381.7749</cx:pt>
          <cx:pt idx="1760">381.7749</cx:pt>
          <cx:pt idx="1761">381.7749</cx:pt>
          <cx:pt idx="1762">381.7749</cx:pt>
          <cx:pt idx="1763">381.7749</cx:pt>
          <cx:pt idx="1764">381.7749</cx:pt>
          <cx:pt idx="1765">381.7749</cx:pt>
          <cx:pt idx="1766">381.7749</cx:pt>
          <cx:pt idx="1767">381.7749</cx:pt>
          <cx:pt idx="1768">381.7749</cx:pt>
          <cx:pt idx="1769">381.7749</cx:pt>
          <cx:pt idx="1770">381.7749</cx:pt>
          <cx:pt idx="1771">381.7749</cx:pt>
          <cx:pt idx="1772">381.7749</cx:pt>
          <cx:pt idx="1773">381.7749</cx:pt>
          <cx:pt idx="1774">381.7749</cx:pt>
          <cx:pt idx="1775">381.7749</cx:pt>
          <cx:pt idx="1776">381.7749</cx:pt>
          <cx:pt idx="1777">381.7749</cx:pt>
          <cx:pt idx="1778">381.7749</cx:pt>
          <cx:pt idx="1779">381.7749</cx:pt>
          <cx:pt idx="1780">381.7749</cx:pt>
          <cx:pt idx="1781">381.7749</cx:pt>
          <cx:pt idx="1782">381.7749</cx:pt>
          <cx:pt idx="1783">381.7749</cx:pt>
          <cx:pt idx="1784">381.7749</cx:pt>
          <cx:pt idx="1785">381.7749</cx:pt>
          <cx:pt idx="1786">381.7749</cx:pt>
          <cx:pt idx="1787">381.7749</cx:pt>
          <cx:pt idx="1788">381.7749</cx:pt>
          <cx:pt idx="1789">381.7749</cx:pt>
          <cx:pt idx="1790">381.7749</cx:pt>
          <cx:pt idx="1791">381.7749</cx:pt>
          <cx:pt idx="1792">381.7749</cx:pt>
          <cx:pt idx="1793">381.7749</cx:pt>
          <cx:pt idx="1794">381.7749</cx:pt>
          <cx:pt idx="1795">381.7749</cx:pt>
          <cx:pt idx="1796">381.7749</cx:pt>
          <cx:pt idx="1797">381.7749</cx:pt>
          <cx:pt idx="1798">381.7749</cx:pt>
          <cx:pt idx="1799">381.7749</cx:pt>
          <cx:pt idx="1800">381.7749</cx:pt>
          <cx:pt idx="1801">381.7749</cx:pt>
          <cx:pt idx="1802">381.7749</cx:pt>
          <cx:pt idx="1803">381.7749</cx:pt>
          <cx:pt idx="1804">381.7749</cx:pt>
          <cx:pt idx="1805">381.7749</cx:pt>
          <cx:pt idx="1806">381.7749</cx:pt>
          <cx:pt idx="1807">381.7749</cx:pt>
          <cx:pt idx="1808">381.7749</cx:pt>
          <cx:pt idx="1809">381.7749</cx:pt>
          <cx:pt idx="1810">381.7749</cx:pt>
          <cx:pt idx="1811">381.7749</cx:pt>
          <cx:pt idx="1812">381.7749</cx:pt>
          <cx:pt idx="1813">381.7749</cx:pt>
          <cx:pt idx="1814">381.7749</cx:pt>
          <cx:pt idx="1815">381.7749</cx:pt>
          <cx:pt idx="1816">381.7749</cx:pt>
          <cx:pt idx="1817">381.7749</cx:pt>
          <cx:pt idx="1818">381.7749</cx:pt>
          <cx:pt idx="1819">381.7749</cx:pt>
          <cx:pt idx="1820">381.7749</cx:pt>
          <cx:pt idx="1821">381.7749</cx:pt>
          <cx:pt idx="1822">381.7749</cx:pt>
          <cx:pt idx="1823">381.7749</cx:pt>
          <cx:pt idx="1824">381.7749</cx:pt>
          <cx:pt idx="1825">381.7749</cx:pt>
          <cx:pt idx="1826">381.7749</cx:pt>
          <cx:pt idx="1827">381.7749</cx:pt>
          <cx:pt idx="1828">381.7749</cx:pt>
          <cx:pt idx="1829">381.7749</cx:pt>
          <cx:pt idx="1830">381.7749</cx:pt>
          <cx:pt idx="1831">381.7749</cx:pt>
          <cx:pt idx="1832">381.7749</cx:pt>
          <cx:pt idx="1833">381.7749</cx:pt>
          <cx:pt idx="1834">381.7749</cx:pt>
          <cx:pt idx="1835">381.7749</cx:pt>
          <cx:pt idx="1836">381.7749</cx:pt>
          <cx:pt idx="1837">381.7749</cx:pt>
          <cx:pt idx="1838">381.7749</cx:pt>
          <cx:pt idx="1839">381.7749</cx:pt>
          <cx:pt idx="1840">381.7749</cx:pt>
          <cx:pt idx="1841">381.7749</cx:pt>
          <cx:pt idx="1842">381.7749</cx:pt>
          <cx:pt idx="1843">381.7749</cx:pt>
          <cx:pt idx="1844">381.7749</cx:pt>
          <cx:pt idx="1845">381.7749</cx:pt>
          <cx:pt idx="1846">381.7749</cx:pt>
          <cx:pt idx="1847">381.7749</cx:pt>
          <cx:pt idx="1848">381.7749</cx:pt>
          <cx:pt idx="1849">381.7749</cx:pt>
          <cx:pt idx="1850">381.7749</cx:pt>
          <cx:pt idx="1851">381.7749</cx:pt>
          <cx:pt idx="1852">381.7749</cx:pt>
          <cx:pt idx="1853">381.7749</cx:pt>
          <cx:pt idx="1854">381.7749</cx:pt>
          <cx:pt idx="1855">381.7749</cx:pt>
          <cx:pt idx="1856">381.7749</cx:pt>
          <cx:pt idx="1857">381.7749</cx:pt>
          <cx:pt idx="1858">381.7749</cx:pt>
          <cx:pt idx="1859">381.7749</cx:pt>
          <cx:pt idx="1860">381.7749</cx:pt>
          <cx:pt idx="1861">381.7749</cx:pt>
          <cx:pt idx="1862">381.7749</cx:pt>
          <cx:pt idx="1863">381.7749</cx:pt>
          <cx:pt idx="1864">381.7749</cx:pt>
          <cx:pt idx="1865">381.7749</cx:pt>
          <cx:pt idx="1866">381.7749</cx:pt>
          <cx:pt idx="1867">381.7749</cx:pt>
          <cx:pt idx="1868">381.7749</cx:pt>
          <cx:pt idx="1869">381.7749</cx:pt>
          <cx:pt idx="1870">381.7749</cx:pt>
          <cx:pt idx="1871">381.7749</cx:pt>
          <cx:pt idx="1872">381.7749</cx:pt>
          <cx:pt idx="1873">381.7749</cx:pt>
          <cx:pt idx="1874">381.7749</cx:pt>
          <cx:pt idx="1875">381.7749</cx:pt>
          <cx:pt idx="1876">381.7749</cx:pt>
          <cx:pt idx="1877">381.7749</cx:pt>
          <cx:pt idx="1878">381.7749</cx:pt>
          <cx:pt idx="1879">381.7749</cx:pt>
          <cx:pt idx="1880">381.7749</cx:pt>
          <cx:pt idx="1881">381.7749</cx:pt>
          <cx:pt idx="1882">381.7749</cx:pt>
          <cx:pt idx="1883">381.7749</cx:pt>
          <cx:pt idx="1884">381.7749</cx:pt>
          <cx:pt idx="1885">381.7749</cx:pt>
          <cx:pt idx="1886">381.7749</cx:pt>
          <cx:pt idx="1887">381.7749</cx:pt>
          <cx:pt idx="1888">381.7749</cx:pt>
          <cx:pt idx="1889">381.7749</cx:pt>
          <cx:pt idx="1890">381.7749</cx:pt>
          <cx:pt idx="1891">381.7749</cx:pt>
          <cx:pt idx="1892">381.7749</cx:pt>
          <cx:pt idx="1893">381.7749</cx:pt>
          <cx:pt idx="1894">381.7749</cx:pt>
          <cx:pt idx="1895">381.75443669999999</cx:pt>
          <cx:pt idx="1896">381.74392210000002</cx:pt>
          <cx:pt idx="1897">381.7337316</cx:pt>
          <cx:pt idx="1898">381.71318589999998</cx:pt>
          <cx:pt idx="1899">381.70299540000002</cx:pt>
          <cx:pt idx="1900">381.69255800000002</cx:pt>
          <cx:pt idx="1901">381.68244979999997</cx:pt>
          <cx:pt idx="1902">381.6412813</cx:pt>
          <cx:pt idx="1903">381.63100850000001</cx:pt>
          <cx:pt idx="1904">381.62057620000002</cx:pt>
          <cx:pt idx="1905">381.6001129</cx:pt>
          <cx:pt idx="1906">381.58968060000001</cx:pt>
          <cx:pt idx="1907">381.57956730000001</cx:pt>
          <cx:pt idx="1908">381.56921210000002</cx:pt>
          <cx:pt idx="1909">381.55886220000002</cx:pt>
          <cx:pt idx="1910">381.5486717</cx:pt>
          <cx:pt idx="1911">381.53823940000001</cx:pt>
          <cx:pt idx="1912">381.5176937</cx:pt>
          <cx:pt idx="1913">381.50750319999997</cx:pt>
          <cx:pt idx="1914">381.49706579999997</cx:pt>
          <cx:pt idx="1915">381.48695759999998</cx:pt>
          <cx:pt idx="1916">381.47668479999999</cx:pt>
          <cx:pt idx="1917">381.46632959999999</cx:pt>
          <cx:pt idx="1918">381.45606199999997</cx:pt>
          <cx:pt idx="1919">381.44578910000001</cx:pt>
          <cx:pt idx="1920">381.42508400000003</cx:pt>
          <cx:pt idx="1921">381.41497070000003</cx:pt>
          <cx:pt idx="1922">381.4044561</cx:pt>
          <cx:pt idx="1923">381.39105560000002</cx:pt>
          <cx:pt idx="1924">381.38391560000002</cx:pt>
          <cx:pt idx="1925">381.37380230000002</cx:pt>
          <cx:pt idx="1926">381.36336999999997</cx:pt>
          <cx:pt idx="1927">381.32227870000003</cx:pt>
          <cx:pt idx="1928">381.23978240000002</cx:pt>
          <cx:pt idx="1929">381.22959179999998</cx:pt>
          <cx:pt idx="1930">381.21947849999998</cx:pt>
          <cx:pt idx="1931">381.19885570000002</cx:pt>
          <cx:pt idx="1932">381.18842339999998</cx:pt>
          <cx:pt idx="1933">381.17831009999998</cx:pt>
          <cx:pt idx="1934">381.16803720000001</cx:pt>
          <cx:pt idx="1935">381.1474144</cx:pt>
          <cx:pt idx="1936">381.13714160000001</cx:pt>
          <cx:pt idx="1937">381.12663220000002</cx:pt>
          <cx:pt idx="1938">381.106246</cx:pt>
          <cx:pt idx="1939">381.09581370000001</cx:pt>
          <cx:pt idx="1940">381.08570040000001</cx:pt>
          <cx:pt idx="1941">381.0649181</cx:pt>
          <cx:pt idx="1942">381.05480469999998</cx:pt>
          <cx:pt idx="1943">381.04437250000001</cx:pt>
          <cx:pt idx="1944">381.02383200000003</cx:pt>
          <cx:pt idx="1945">381.0137186</cx:pt>
          <cx:pt idx="1946">381.00328630000001</cx:pt>
          <cx:pt idx="1947">380.982823</cx:pt>
          <cx:pt idx="1948">380.97239070000001</cx:pt>
          <cx:pt idx="1949">380.9622774</cx:pt>
          <cx:pt idx="1950">380.9414951</cx:pt>
          <cx:pt idx="1951">380.93138169999997</cx:pt>
          <cx:pt idx="1952">380.92110889999998</cx:pt>
          <cx:pt idx="1953">380.90048610000002</cx:pt>
          <cx:pt idx="1954">380.89005379999998</cx:pt>
          <cx:pt idx="1955">380.86950819999998</cx:pt>
          <cx:pt idx="1956">380.85939999999999</cx:pt>
          <cx:pt idx="1957">380.88562159999998</cx:pt>
          <cx:pt idx="1958">380.89868009999998</cx:pt>
          <cx:pt idx="1959">380.91203940000003</cx:pt>
          <cx:pt idx="1960">380.93805170000002</cx:pt>
          <cx:pt idx="1961">380.9643714</cx:pt>
          <cx:pt idx="1962">380.97712259999997</cx:pt>
          <cx:pt idx="1963">380.99038380000002</cx:pt>
          <cx:pt idx="1964">381.01639610000001</cx:pt>
          <cx:pt idx="1965">381.0296573</cx:pt>
          <cx:pt idx="1966">381.04251310000001</cx:pt>
          <cx:pt idx="1967">381.06872809999999</cx:pt>
          <cx:pt idx="1968">381.08178659999999</cx:pt>
          <cx:pt idx="1969">381.09484509999999</cx:pt>
          <cx:pt idx="1970">381.12096209999999</cx:pt>
          <cx:pt idx="1971">381.13422329999997</cx:pt>
          <cx:pt idx="1972">381.14717710000002</cx:pt>
          <cx:pt idx="1973">381.17349680000001</cx:pt>
          <cx:pt idx="1974">381.18645070000002</cx:pt>
          <cx:pt idx="1975">381.19950920000002</cx:pt>
          <cx:pt idx="1976">381.22562620000002</cx:pt>
          <cx:pt idx="1977">381.23867810000002</cx:pt>
          <cx:pt idx="1978">381.2518412</cx:pt>
          <cx:pt idx="1979">381.26510239999999</cx:pt>
          <cx:pt idx="1980">381.31732979999998</cx:pt>
          <cx:pt idx="1981">381.33049290000002</cx:pt>
          <cx:pt idx="1982">381.35670800000003</cx:pt>
          <cx:pt idx="1983">381.36089299999998</cx:pt>
          <cx:pt idx="1984">381.36945909999997</cx:pt>
          <cx:pt idx="1985">381.38261569999997</cx:pt>
          <cx:pt idx="1986">381.40873269999997</cx:pt>
          <cx:pt idx="1987">381.42179119999997</cx:pt>
          <cx:pt idx="1988">381.43505240000002</cx:pt>
          <cx:pt idx="1989">381.44800620000001</cx:pt>
          <cx:pt idx="1990">381.47412320000001</cx:pt>
          <cx:pt idx="1991">381.4873844</cx:pt>
          <cx:pt idx="1992">381.50024020000001</cx:pt>
          <cx:pt idx="1993">381.52645530000001</cx:pt>
          <cx:pt idx="1994">381.53971639999997</cx:pt>
          <cx:pt idx="1995">381.55257219999999</cx:pt>
          <cx:pt idx="1996">381.57878729999999</cx:pt>
          <cx:pt idx="1997">381.59184579999999</cx:pt>
          <cx:pt idx="1998">381.60510699999998</cx:pt>
          <cx:pt idx="1999">381.63121740000003</cx:pt>
          <cx:pt idx="2000">381.64417780000002</cx:pt>
          <cx:pt idx="2001">381.65722979999998</cx:pt>
          <cx:pt idx="2002">381.68334670000002</cx:pt>
          <cx:pt idx="2003">381.69671260000001</cx:pt>
          <cx:pt idx="2004">381.70956180000002</cx:pt>
          <cx:pt idx="2005">381.72282300000001</cx:pt>
          <cx:pt idx="2006">381.74873730000002</cx:pt>
          <cx:pt idx="2007">381.76179569999999</cx:pt>
          <cx:pt idx="2008">381.7880108</cx:pt>
          <cx:pt idx="2009">381.89257020000002</cx:pt>
          <cx:pt idx="2010">381.90583140000001</cx:pt>
          <cx:pt idx="2011">381.91879180000001</cx:pt>
          <cx:pt idx="2012">381.94490230000002</cx:pt>
          <cx:pt idx="2013">381.95816350000001</cx:pt>
          <cx:pt idx="2014">381.97112390000001</cx:pt>
          <cx:pt idx="2015">381.9841758</cx:pt>
          <cx:pt idx="2016">381.9972343</cx:pt>
          <cx:pt idx="2017">382.0102928</cx:pt>
          <cx:pt idx="2018">382.02345589999999</cx:pt>
          <cx:pt idx="2019">382.03661249999999</cx:pt>
          <cx:pt idx="2020">382.04956629999998</cx:pt>
          <cx:pt idx="2021">382.06282750000003</cx:pt>
          <cx:pt idx="2022">382.07568329999998</cx:pt>
          <cx:pt idx="2023">382.10189839999998</cx:pt>
          <cx:pt idx="2024">382.11495689999998</cx:pt>
          <cx:pt idx="2025">382.12801539999998</cx:pt>
          <cx:pt idx="2026">382.154335</cx:pt>
          <cx:pt idx="2027">382.16728890000002</cx:pt>
          <cx:pt idx="2028">382.18034740000002</cx:pt>
          <cx:pt idx="2029">382.20645780000001</cx:pt>
          <cx:pt idx="2030">382.21951630000001</cx:pt>
          <cx:pt idx="2031">382.2327775</cx:pt>
          <cx:pt idx="2032">382.24573789999999</cx:pt>
          <cx:pt idx="2033">382.25878990000001</cx:pt>
          <cx:pt idx="2034">382.2720511</cx:pt>
          <cx:pt idx="2035">382.2850115</cx:pt>
          <cx:pt idx="2036">382.33723889999999</cx:pt>
          <cx:pt idx="2037">382.35029739999999</cx:pt>
          <cx:pt idx="2038">382.40283210000001</cx:pt>
          <cx:pt idx="2039">382.41578600000003</cx:pt>
          <cx:pt idx="2040">382.42904720000001</cx:pt>
          <cx:pt idx="2041">382.45516409999999</cx:pt>
          <cx:pt idx="2042">382.46801340000002</cx:pt>
          <cx:pt idx="2043">382.4811765</cx:pt>
          <cx:pt idx="2044">382.5334039</cx:pt>
          <cx:pt idx="2045">382.559619</cx:pt>
          <cx:pt idx="2046">382.57288019999999</cx:pt>
          <cx:pt idx="2047">382.58573589999997</cx:pt>
          <cx:pt idx="2048">382.61185289999997</cx:pt>
          <cx:pt idx="2049">382.62500949999998</cx:pt>
          <cx:pt idx="2050">382.63827070000002</cx:pt>
          <cx:pt idx="2051">382.66438770000002</cx:pt>
          <cx:pt idx="2052">382.67734150000001</cx:pt>
          <cx:pt idx="2053">382.69040000000001</cx:pt>
          <cx:pt idx="2054">382.67837150000003</cx:pt>
          <cx:pt idx="2055">382.66615619999999</cx:pt>
          <cx:pt idx="2056">382.65432040000002</cx:pt>
          <cx:pt idx="2057">382.6421052</cx:pt>
          <cx:pt idx="2058">382.61795169999999</cx:pt>
          <cx:pt idx="2059">382.60611590000002</cx:pt>
          <cx:pt idx="2060">382.59390070000001</cx:pt>
          <cx:pt idx="2061">382.58196249999997</cx:pt>
          <cx:pt idx="2062">382.56993990000001</cx:pt>
          <cx:pt idx="2063">382.47343460000002</cx:pt>
          <cx:pt idx="2064">382.4613157</cx:pt>
          <cx:pt idx="2065">382.44947389999999</cx:pt>
          <cx:pt idx="2066">382.43725860000001</cx:pt>
          <cx:pt idx="2067">382.42542279999998</cx:pt>
          <cx:pt idx="2068">382.41320760000002</cx:pt>
          <cx:pt idx="2069">382.40117900000001</cx:pt>
          <cx:pt idx="2070">382.38924079999998</cx:pt>
          <cx:pt idx="2071">382.37721829999998</cx:pt>
          <cx:pt idx="2072">382.3651898</cx:pt>
          <cx:pt idx="2073">382.35297450000002</cx:pt>
          <cx:pt idx="2074">382.32901379999998</cx:pt>
          <cx:pt idx="2075">382.3169853</cx:pt>
          <cx:pt idx="2076">382.30495669999999</cx:pt>
          <cx:pt idx="2077">382.28080929999999</cx:pt>
          <cx:pt idx="2078">382.2687808</cx:pt>
          <cx:pt idx="2079">382.25656550000002</cx:pt>
          <cx:pt idx="2080">382.24472370000001</cx:pt>
          <cx:pt idx="2081">382.23250849999999</cx:pt>
          <cx:pt idx="2082">382.2205763</cx:pt>
          <cx:pt idx="2083">382.2085477</cx:pt>
          <cx:pt idx="2084">382.18449670000001</cx:pt>
          <cx:pt idx="2085">382.17237180000001</cx:pt>
          <cx:pt idx="2086">382.16025289999999</cx:pt>
          <cx:pt idx="2087">382.11223510000002</cx:pt>
          <cx:pt idx="2088">382.1083802</cx:pt>
          <cx:pt idx="2089">382.1001162</cx:pt>
          <cx:pt idx="2090">382.07587239999998</cx:pt>
          <cx:pt idx="2091">382.06403060000002</cx:pt>
          <cx:pt idx="2092">382.05181540000001</cx:pt>
          <cx:pt idx="2093">382.03988320000002</cx:pt>
          <cx:pt idx="2094">382.01582610000003</cx:pt>
          <cx:pt idx="2095">382.00361090000001</cx:pt>
          <cx:pt idx="2096">381.99177509999998</cx:pt>
          <cx:pt idx="2097">381.94338390000001</cx:pt>
          <cx:pt idx="2098">381.93144569999998</cx:pt>
          <cx:pt idx="2099">381.91941709999998</cx:pt>
          <cx:pt idx="2100">381.90739459999998</cx:pt>
          <cx:pt idx="2101">381.89517940000002</cx:pt>
          <cx:pt idx="2102">381.88333749999998</cx:pt>
          <cx:pt idx="2103">381.85900340000001</cx:pt>
          <cx:pt idx="2104">381.84716159999999</cx:pt>
          <cx:pt idx="2105">381.83494630000001</cx:pt>
          <cx:pt idx="2106">381.8231045</cx:pt>
          <cx:pt idx="2107">381.7989571</cx:pt>
          <cx:pt idx="2108">381.78674180000002</cx:pt>
          <cx:pt idx="2109">381.7749</cx:pt>
          <cx:pt idx="2110">381.73454720000001</cx:pt>
          <cx:pt idx="2111">381.69512950000001</cx:pt>
          <cx:pt idx="2112">381.65477670000001</cx:pt>
          <cx:pt idx="2113">381.6156575</cx:pt>
          <cx:pt idx="2114">381.53620530000001</cx:pt>
          <cx:pt idx="2115">381.496151</cx:pt>
          <cx:pt idx="2116">381.45579809999998</cx:pt>
          <cx:pt idx="2117">381.37634600000001</cx:pt>
          <cx:pt idx="2118">381.3372268</cx:pt>
          <cx:pt idx="2119">381.21710350000001</cx:pt>
          <cx:pt idx="2120">381.13763139999998</cx:pt>
          <cx:pt idx="2121">381.09789540000003</cx:pt>
          <cx:pt idx="2122">381.08547920000001</cx:pt>
          <cx:pt idx="2123">381.05847779999999</cx:pt>
          <cx:pt idx="2124">380.89923520000002</cx:pt>
          <cx:pt idx="2125">380.85888240000003</cx:pt>
          <cx:pt idx="2126">380.78004709999999</cx:pt>
          <cx:pt idx="2127">380.7396943</cx:pt>
          <cx:pt idx="2128">380.69963990000002</cx:pt>
          <cx:pt idx="2129">380.62018769999997</cx:pt>
          <cx:pt idx="2130">380.58106859999998</cx:pt>
          <cx:pt idx="2131">380.54071570000002</cx:pt>
          <cx:pt idx="2132">380.50068119999997</cx:pt>
          <cx:pt idx="2133">380.48762820000002</cx:pt>
          <cx:pt idx="2134">380.46156209999998</cx:pt>
          <cx:pt idx="2135">380.42182600000001</cx:pt>
          <cx:pt idx="2136">380.38147320000002</cx:pt>
          <cx:pt idx="2137">380.342354</cx:pt>
          <cx:pt idx="2138">380.30200120000001</cx:pt>
          <cx:pt idx="2139">380.26258350000001</cx:pt>
          <cx:pt idx="2140">380.22223070000001</cx:pt>
          <cx:pt idx="2141">380.18313139999998</cx:pt>
          <cx:pt idx="2142">380.103341</cx:pt>
          <cx:pt idx="2143">380.06298809999998</cx:pt>
          <cx:pt idx="2144">380.02388889999997</cx:pt>
          <cx:pt idx="2145">379.94380000000001</cx:pt>
          <cx:pt idx="2146">380.30766890000001</cx:pt>
          <cx:pt idx="2147">380.68017079999998</cx:pt>
          <cx:pt idx="2148">381.7749</cx:pt>
          <cx:pt idx="2149">381.7749</cx:pt>
          <cx:pt idx="2150">381.7749</cx:pt>
          <cx:pt idx="2151">381.7749</cx:pt>
          <cx:pt idx="2152">381.7749</cx:pt>
          <cx:pt idx="2153">381.7749</cx:pt>
          <cx:pt idx="2154">381.7749</cx:pt>
          <cx:pt idx="2155">381.7749</cx:pt>
          <cx:pt idx="2156">381.7749</cx:pt>
          <cx:pt idx="2157">381.7749</cx:pt>
          <cx:pt idx="2158">381.7749</cx:pt>
          <cx:pt idx="2159">381.7749</cx:pt>
          <cx:pt idx="2160">381.7749</cx:pt>
          <cx:pt idx="2161">381.7749</cx:pt>
          <cx:pt idx="2162">381.7749</cx:pt>
          <cx:pt idx="2163">381.7749</cx:pt>
          <cx:pt idx="2164">381.7749</cx:pt>
          <cx:pt idx="2165">381.7749</cx:pt>
          <cx:pt idx="2166">381.7749</cx:pt>
          <cx:pt idx="2167">381.7749</cx:pt>
          <cx:pt idx="2168">381.7749</cx:pt>
          <cx:pt idx="2169">381.7749</cx:pt>
          <cx:pt idx="2170">381.7749</cx:pt>
          <cx:pt idx="2171">381.7749</cx:pt>
          <cx:pt idx="2172">381.7749</cx:pt>
          <cx:pt idx="2173">381.7749</cx:pt>
          <cx:pt idx="2174">381.7749</cx:pt>
          <cx:pt idx="2175">381.7749</cx:pt>
          <cx:pt idx="2176">381.7749</cx:pt>
          <cx:pt idx="2177">381.7749</cx:pt>
          <cx:pt idx="2178">381.7749</cx:pt>
          <cx:pt idx="2179">381.7749</cx:pt>
          <cx:pt idx="2180">381.7749</cx:pt>
          <cx:pt idx="2181">381.7749</cx:pt>
          <cx:pt idx="2182">381.7749</cx:pt>
          <cx:pt idx="2183">381.7749</cx:pt>
          <cx:pt idx="2184">381.7749</cx:pt>
          <cx:pt idx="2185">381.7749</cx:pt>
          <cx:pt idx="2186">381.7749</cx:pt>
          <cx:pt idx="2187">381.7749</cx:pt>
          <cx:pt idx="2188">381.7749</cx:pt>
          <cx:pt idx="2189">381.7749</cx:pt>
          <cx:pt idx="2190">381.7749</cx:pt>
          <cx:pt idx="2191">381.7749</cx:pt>
          <cx:pt idx="2192">381.7749</cx:pt>
          <cx:pt idx="2193">381.7749</cx:pt>
          <cx:pt idx="2194">381.7749</cx:pt>
          <cx:pt idx="2195">381.7749</cx:pt>
          <cx:pt idx="2196">381.7749</cx:pt>
          <cx:pt idx="2197">381.7749</cx:pt>
          <cx:pt idx="2198">381.7749</cx:pt>
          <cx:pt idx="2199">381.7749</cx:pt>
          <cx:pt idx="2200">381.7749</cx:pt>
          <cx:pt idx="2201">381.7749</cx:pt>
          <cx:pt idx="2202">381.7749</cx:pt>
          <cx:pt idx="2203">381.7749</cx:pt>
          <cx:pt idx="2204">381.7749</cx:pt>
          <cx:pt idx="2205">381.7749</cx:pt>
          <cx:pt idx="2206">381.7749</cx:pt>
          <cx:pt idx="2207">381.7749</cx:pt>
          <cx:pt idx="2208">381.7749</cx:pt>
          <cx:pt idx="2209">381.7749</cx:pt>
          <cx:pt idx="2210">381.7749</cx:pt>
          <cx:pt idx="2211">381.7749</cx:pt>
          <cx:pt idx="2212">381.7749</cx:pt>
          <cx:pt idx="2213">381.7749</cx:pt>
          <cx:pt idx="2214">381.7749</cx:pt>
          <cx:pt idx="2215">381.7749</cx:pt>
          <cx:pt idx="2216">381.7749</cx:pt>
          <cx:pt idx="2217">381.7749</cx:pt>
          <cx:pt idx="2218">381.7749</cx:pt>
          <cx:pt idx="2219">381.7749</cx:pt>
          <cx:pt idx="2220">381.7749</cx:pt>
          <cx:pt idx="2221">381.7749</cx:pt>
          <cx:pt idx="2222">381.7749</cx:pt>
          <cx:pt idx="2223">381.7749</cx:pt>
          <cx:pt idx="2224">381.7749</cx:pt>
          <cx:pt idx="2225">381.7749</cx:pt>
          <cx:pt idx="2226">381.7749</cx:pt>
          <cx:pt idx="2227">381.7749</cx:pt>
          <cx:pt idx="2228">381.7749</cx:pt>
          <cx:pt idx="2229">381.7749</cx:pt>
          <cx:pt idx="2230">381.7749</cx:pt>
          <cx:pt idx="2231">381.7749</cx:pt>
          <cx:pt idx="2232">381.7749</cx:pt>
          <cx:pt idx="2233">381.7749</cx:pt>
          <cx:pt idx="2234">381.7749</cx:pt>
          <cx:pt idx="2235">381.7749</cx:pt>
          <cx:pt idx="2236">381.7749</cx:pt>
          <cx:pt idx="2237">381.7749</cx:pt>
          <cx:pt idx="2238">381.7749</cx:pt>
          <cx:pt idx="2239">381.7749</cx:pt>
          <cx:pt idx="2240">381.7749</cx:pt>
          <cx:pt idx="2241">381.7749</cx:pt>
          <cx:pt idx="2242">381.7749</cx:pt>
          <cx:pt idx="2243">381.7749</cx:pt>
          <cx:pt idx="2244">381.7749</cx:pt>
          <cx:pt idx="2245">381.7749</cx:pt>
          <cx:pt idx="2246">381.7749</cx:pt>
          <cx:pt idx="2247">381.7749</cx:pt>
          <cx:pt idx="2248">381.7749</cx:pt>
          <cx:pt idx="2249">381.7749</cx:pt>
          <cx:pt idx="2250">381.7749</cx:pt>
          <cx:pt idx="2251">381.7749</cx:pt>
          <cx:pt idx="2252">381.7749</cx:pt>
          <cx:pt idx="2253">381.7749</cx:pt>
          <cx:pt idx="2254">381.7749</cx:pt>
          <cx:pt idx="2255">381.7749</cx:pt>
          <cx:pt idx="2256">381.7749</cx:pt>
          <cx:pt idx="2257">381.7749</cx:pt>
          <cx:pt idx="2258">381.7749</cx:pt>
          <cx:pt idx="2259">381.7749</cx:pt>
          <cx:pt idx="2260">381.7749</cx:pt>
          <cx:pt idx="2261">381.7749</cx:pt>
          <cx:pt idx="2262">381.7749</cx:pt>
          <cx:pt idx="2263">381.7749</cx:pt>
          <cx:pt idx="2264">381.7749</cx:pt>
          <cx:pt idx="2265">381.745183</cx:pt>
          <cx:pt idx="2266">381.59733629999999</cx:pt>
          <cx:pt idx="2267">381.33203880000002</cx:pt>
          <cx:pt idx="2268">381.30210039999997</cx:pt>
          <cx:pt idx="2269">381.27307730000001</cx:pt>
          <cx:pt idx="2270">381.24291740000001</cx:pt>
          <cx:pt idx="2271">381.21389429999999</cx:pt>
          <cx:pt idx="2272">381.12546680000003</cx:pt>
          <cx:pt idx="2273">381.00708600000002</cx:pt>
          <cx:pt idx="2274">380.9179646</cx:pt>
          <cx:pt idx="2275">380.74109470000002</cx:pt>
          <cx:pt idx="2276">380.62340790000002</cx:pt>
          <cx:pt idx="2277">380.53452270000002</cx:pt>
          <cx:pt idx="2278">380.38735500000001</cx:pt>
          <cx:pt idx="2279">379.94380000000001</cx:pt>
          <cx:pt idx="2280">383.60590000000002</cx:pt>
          <cx:pt idx="2281">383.37667479999999</cx:pt>
          <cx:pt idx="2282">383.09127960000001</cx:pt>
          <cx:pt idx="2283">382.97579519999999</cx:pt>
          <cx:pt idx="2284">382.69040000000001</cx:pt>
          <cx:pt idx="2285">383.90899739999998</cx:pt>
          <cx:pt idx="2286">384.5215</cx:pt>
          <cx:pt idx="2287">382.69040000000001</cx:pt>
          <cx:pt idx="2288">382.64802270000001</cx:pt>
          <cx:pt idx="2289">382.60564119999998</cx:pt>
          <cx:pt idx="2290">382.5632597</cx:pt>
          <cx:pt idx="2291">382.4954917</cx:pt>
          <cx:pt idx="2292">382.47843310000002</cx:pt>
          <cx:pt idx="2293">382.06303070000001</cx:pt>
          <cx:pt idx="2294">382.01225340000002</cx:pt>
          <cx:pt idx="2295">381.94455319999997</cx:pt>
          <cx:pt idx="2296">381.92749459999999</cx:pt>
          <cx:pt idx="2297">381.8767173</cx:pt>
          <cx:pt idx="2298">381.84279939999999</cx:pt>
          <cx:pt idx="2299">381.80055349999998</cx:pt>
          <cx:pt idx="2300">381.7749</cx:pt>
          <cx:pt idx="2301">381.7749</cx:pt>
          <cx:pt idx="2302">381.7749</cx:pt>
          <cx:pt idx="2303">381.7749</cx:pt>
          <cx:pt idx="2304">381.7749</cx:pt>
          <cx:pt idx="2305">381.87354749999997</cx:pt>
          <cx:pt idx="2306">382.0471182</cx:pt>
          <cx:pt idx="2307">382.19577629999998</cx:pt>
          <cx:pt idx="2308">382.21971109999998</cx:pt>
          <cx:pt idx="2309">382.26972169999999</cx:pt>
          <cx:pt idx="2310">382.39366539999997</cx:pt>
          <cx:pt idx="2311">382.61665260000001</cx:pt>
          <cx:pt idx="2312">382.69040000000001</cx:pt>
          <cx:pt idx="2313">382.16487760000001</cx:pt>
          <cx:pt idx="2314">381.96122969999999</cx:pt>
          <cx:pt idx="2315">381.7749</cx:pt>
          <cx:pt idx="2316">382.29774579999997</cx:pt>
          <cx:pt idx="2317">382.38613620000001</cx:pt>
          <cx:pt idx="2318">382.47252170000002</cx:pt>
          <cx:pt idx="2319">382.64655670000002</cx:pt>
          <cx:pt idx="2320">383.0824068</cx:pt>
          <cx:pt idx="2321">383.25648539999997</cx:pt>
          <cx:pt idx="2322">383.3455295</cx:pt>
          <cx:pt idx="2323">383.43121769999999</cx:pt>
          <cx:pt idx="2324">383.51825700000001</cx:pt>
          <cx:pt idx="2325">383.60525259999997</cx:pt>
          <cx:pt idx="2326">383.69364300000001</cx:pt>
          <cx:pt idx="2327">383.78068230000002</cx:pt>
          <cx:pt idx="2328">383.86772159999998</cx:pt>
          <cx:pt idx="2329">383.9547609</cx:pt>
          <cx:pt idx="2330">384.12949320000001</cx:pt>
          <cx:pt idx="2331">384.47830399999998</cx:pt>
          <cx:pt idx="2332">384.56399219999997</cx:pt>
          <cx:pt idx="2333">384.65303640000002</cx:pt>
          <cx:pt idx="2334">384.91345680000001</cx:pt>
          <cx:pt idx="2335">385.08818910000002</cx:pt>
          <cx:pt idx="2336">385.174531</cx:pt>
          <cx:pt idx="2337">385.2622677</cx:pt>
          <cx:pt idx="2338">385.2629215</cx:pt>
          <cx:pt idx="2339">385.34860959999997</cx:pt>
          <cx:pt idx="2340">385.43700000000001</cx:pt>
          <cx:pt idx="2341">381.80424090000002</cx:pt>
          <cx:pt idx="2342">381.7749</cx:pt>
          <cx:pt idx="2343">381.74466660000002</cx:pt>
          <cx:pt idx="2344">381.71394470000001</cx:pt>
          <cx:pt idx="2345">381.59182049999998</cx:pt>
          <cx:pt idx="2346">381.53110939999999</cx:pt>
          <cx:pt idx="2347">380.79851680000002</cx:pt>
          <cx:pt idx="2348">380.64589969999997</cx:pt>
          <cx:pt idx="2349">380.6154373</cx:pt>
          <cx:pt idx="2350">380.58448659999999</cx:pt>
          <cx:pt idx="2351">380.55423789999998</cx:pt>
          <cx:pt idx="2352">380.40139190000002</cx:pt>
          <cx:pt idx="2353">380.37115840000001</cx:pt>
          <cx:pt idx="2354">380.15760130000001</cx:pt>
          <cx:pt idx="2355">380.09640180000002</cx:pt>
          <cx:pt idx="2356">379.97427759999999</cx:pt>
          <cx:pt idx="2357">379.94380000000001</cx:pt>
          <cx:pt idx="2358">380.85935000000001</cx:pt>
          <cx:pt idx="2359">381.7749</cx:pt>
          <cx:pt idx="2360">381.79103149999997</cx:pt>
          <cx:pt idx="2361">381.88546050000002</cx:pt>
          <cx:pt idx="2362">381.9328605</cx:pt>
          <cx:pt idx="2363">381.98013420000001</cx:pt>
          <cx:pt idx="2364">381.99602099999998</cx:pt>
          <cx:pt idx="2365">382.02741579999997</cx:pt>
          <cx:pt idx="2366">382.09057630000001</cx:pt>
          <cx:pt idx="2367">382.12221579999999</cx:pt>
          <cx:pt idx="2368">382.13797629999999</cx:pt>
          <cx:pt idx="2369">382.18525</cx:pt>
          <cx:pt idx="2370">382.23277630000001</cx:pt>
          <cx:pt idx="2371">382.29581050000002</cx:pt>
          <cx:pt idx="2372">382.37484999999998</cx:pt>
          <cx:pt idx="2373">382.46940530000001</cx:pt>
          <cx:pt idx="2374">382.54832629999999</cx:pt>
          <cx:pt idx="2375">382.62723949999997</cx:pt>
          <cx:pt idx="2376">382.69040000000001</cx:pt>
          <cx:pt idx="2377">382.58803360000002</cx:pt>
          <cx:pt idx="2378">382.38497910000001</cx:pt>
          <cx:pt idx="2379">381.97876819999999</cx:pt>
          <cx:pt idx="2380">381.7749</cx:pt>
          <cx:pt idx="2381">381.7749</cx:pt>
          <cx:pt idx="2382">381.7749</cx:pt>
          <cx:pt idx="2383">381.7749</cx:pt>
          <cx:pt idx="2384">381.7749</cx:pt>
          <cx:pt idx="2385">381.7749</cx:pt>
          <cx:pt idx="2386">381.7749</cx:pt>
          <cx:pt idx="2387">381.7749</cx:pt>
          <cx:pt idx="2388">381.7749</cx:pt>
          <cx:pt idx="2389">381.7749</cx:pt>
          <cx:pt idx="2390">381.7749</cx:pt>
          <cx:pt idx="2391">381.7749</cx:pt>
          <cx:pt idx="2392">381.7749</cx:pt>
          <cx:pt idx="2393">381.7749</cx:pt>
          <cx:pt idx="2394">381.7749</cx:pt>
          <cx:pt idx="2395">381.7749</cx:pt>
          <cx:pt idx="2396">381.7749</cx:pt>
          <cx:pt idx="2397">381.7749</cx:pt>
          <cx:pt idx="2398">381.7749</cx:pt>
          <cx:pt idx="2399">381.7749</cx:pt>
          <cx:pt idx="2400">381.7749</cx:pt>
          <cx:pt idx="2401">381.7749</cx:pt>
          <cx:pt idx="2402">381.9276969</cx:pt>
          <cx:pt idx="2403">383.60590000000002</cx:pt>
          <cx:pt idx="2404">381.7749</cx:pt>
          <cx:pt idx="2405">382.35382049999998</cx:pt>
          <cx:pt idx="2406">382.69040000000001</cx:pt>
          <cx:pt idx="2407">382.6987871</cx:pt>
          <cx:pt idx="2408">382.72375099999999</cx:pt>
          <cx:pt idx="2409">382.74917269999997</cx:pt>
          <cx:pt idx="2410">382.7911039</cx:pt>
          <cx:pt idx="2411">382.799554</cx:pt>
          <cx:pt idx="2412">382.83309819999999</cx:pt>
          <cx:pt idx="2413">382.89193390000003</cx:pt>
          <cx:pt idx="2414">382.91709520000001</cx:pt>
          <cx:pt idx="2415">382.9339324</cx:pt>
          <cx:pt idx="2416">382.9507696</cx:pt>
          <cx:pt idx="2417">382.9674766</cx:pt>
          <cx:pt idx="2418">383.00947500000001</cx:pt>
          <cx:pt idx="2419">383.0346993</cx:pt>
          <cx:pt idx="2420">383.10205230000003</cx:pt>
          <cx:pt idx="2421">383.12707920000003</cx:pt>
          <cx:pt idx="2422">383.19430190000003</cx:pt>
          <cx:pt idx="2423">383.22804350000001</cx:pt>
          <cx:pt idx="2424">383.37912879999999</cx:pt>
          <cx:pt idx="2425">383.38744869999999</cx:pt>
          <cx:pt idx="2426">383.40428589999999</cx:pt>
          <cx:pt idx="2427">383.67304259999997</cx:pt>
          <cx:pt idx="2428">384.5215</cx:pt>
          <cx:pt idx="2429">380.85939999999999</cx:pt>
          <cx:pt idx="2430">381.7749</cx:pt>
          <cx:pt idx="2431">379.94380000000001</cx:pt>
          <cx:pt idx="2432">382.69040000000001</cx:pt>
          <cx:pt idx="2433">380.85939999999999</cx:pt>
          <cx:pt idx="2434">381.7749</cx:pt>
          <cx:pt idx="2435">381.7749</cx:pt>
          <cx:pt idx="2436">381.7749</cx:pt>
          <cx:pt idx="2437">379.94380000000001</cx:pt>
          <cx:pt idx="2438">381.7749</cx:pt>
          <cx:pt idx="2439">381.67902099999998</cx:pt>
          <cx:pt idx="2440">379.94380000000001</cx:pt>
          <cx:pt idx="2441">383.60590000000002</cx:pt>
          <cx:pt idx="2442">379.94380000000001</cx:pt>
          <cx:pt idx="2443">380.85939999999999</cx:pt>
          <cx:pt idx="2444">380.85939999999999</cx:pt>
          <cx:pt idx="2445">380.85939999999999</cx:pt>
          <cx:pt idx="2446">380.85939999999999</cx:pt>
          <cx:pt idx="2447">381.7749</cx:pt>
          <cx:pt idx="2448">380.3997708</cx:pt>
          <cx:pt idx="2449">379.0283</cx:pt>
          <cx:pt idx="2450">382.69040000000001</cx:pt>
          <cx:pt idx="2451">382.69040000000001</cx:pt>
          <cx:pt idx="2452">382.69040000000001</cx:pt>
          <cx:pt idx="2453">382.69040000000001</cx:pt>
          <cx:pt idx="2454">382.69040000000001</cx:pt>
          <cx:pt idx="2455">382.69040000000001</cx:pt>
          <cx:pt idx="2456">382.69040000000001</cx:pt>
          <cx:pt idx="2457">382.69040000000001</cx:pt>
          <cx:pt idx="2458">382.69040000000001</cx:pt>
          <cx:pt idx="2459">382.69040000000001</cx:pt>
          <cx:pt idx="2460">382.69040000000001</cx:pt>
          <cx:pt idx="2461">379.0283</cx:pt>
          <cx:pt idx="2462">379.04258110000001</cx:pt>
          <cx:pt idx="2463">379.05720100000002</cx:pt>
          <cx:pt idx="2464">379.07159739999997</cx:pt>
          <cx:pt idx="2465">379.1146713</cx:pt>
          <cx:pt idx="2466">379.12906779999997</cx:pt>
          <cx:pt idx="2467">379.15796879999999</cx:pt>
          <cx:pt idx="2468">379.17258870000001</cx:pt>
          <cx:pt idx="2469">379.25907539999997</cx:pt>
          <cx:pt idx="2470">379.35995129999998</cx:pt>
          <cx:pt idx="2471">379.46082719999998</cx:pt>
          <cx:pt idx="2472">379.4897282</cx:pt>
          <cx:pt idx="2473">379.51840570000002</cx:pt>
          <cx:pt idx="2474">379.5329175</cx:pt>
          <cx:pt idx="2475">379.56159500000001</cx:pt>
          <cx:pt idx="2476">379.59049599999997</cx:pt>
          <cx:pt idx="2477">379.6196276</cx:pt>
          <cx:pt idx="2478">379.64818980000001</cx:pt>
          <cx:pt idx="2479">379.66269440000002</cx:pt>
          <cx:pt idx="2480">379.67709079999997</cx:pt>
          <cx:pt idx="2481">379.69148719999998</cx:pt>
          <cx:pt idx="2482">379.69160260000001</cx:pt>
          <cx:pt idx="2483">379.70588359999999</cx:pt>
          <cx:pt idx="2484">379.7635775</cx:pt>
          <cx:pt idx="2485">379.82137949999998</cx:pt>
          <cx:pt idx="2486">379.82149479999998</cx:pt>
          <cx:pt idx="2487">379.83566050000002</cx:pt>
          <cx:pt idx="2488">379.85005699999999</cx:pt>
          <cx:pt idx="2489">379.8644534</cx:pt>
          <cx:pt idx="2490">379.89324620000002</cx:pt>
          <cx:pt idx="2491">379.93665179999999</cx:pt>
          <cx:pt idx="2492">379.96544460000001</cx:pt>
          <cx:pt idx="2493">379.97984109999999</cx:pt>
          <cx:pt idx="2494">379.99423030000003</cx:pt>
          <cx:pt idx="2495">380.00862669999998</cx:pt>
          <cx:pt idx="2496">380.00874210000001</cx:pt>
          <cx:pt idx="2497">380.03775839999997</cx:pt>
          <cx:pt idx="2498">380.05203949999998</cx:pt>
          <cx:pt idx="2499">380.06643589999999</cx:pt>
          <cx:pt idx="2500">380.0808323</cx:pt>
          <cx:pt idx="2501">380.09522149999998</cx:pt>
          <cx:pt idx="2502">380.10950980000001</cx:pt>
          <cx:pt idx="2503">380.13851899999997</cx:pt>
          <cx:pt idx="2504">380.15291539999998</cx:pt>
          <cx:pt idx="2505">380.16719649999999</cx:pt>
          <cx:pt idx="2506">380.21049390000002</cx:pt>
          <cx:pt idx="2507">380.22500559999997</cx:pt>
          <cx:pt idx="2508">380.26841839999997</cx:pt>
          <cx:pt idx="2509">380.29709589999999</cx:pt>
          <cx:pt idx="2510">380.3257734</cx:pt>
          <cx:pt idx="2511">380.3547825</cx:pt>
          <cx:pt idx="2512">380.38346009999998</cx:pt>
          <cx:pt idx="2513">380.41236830000003</cx:pt>
          <cx:pt idx="2514">380.42675750000001</cx:pt>
          <cx:pt idx="2515">380.47028560000001</cx:pt>
          <cx:pt idx="2516">380.49896310000003</cx:pt>
          <cx:pt idx="2517">380.51324419999997</cx:pt>
          <cx:pt idx="2518">380.52764059999998</cx:pt>
          <cx:pt idx="2519">380.5422605</cx:pt>
          <cx:pt idx="2520">380.57093800000001</cx:pt>
          <cx:pt idx="2521">380.61412009999998</cx:pt>
          <cx:pt idx="2522">380.62863179999999</cx:pt>
          <cx:pt idx="2523">380.67192929999999</cx:pt>
          <cx:pt idx="2524">380.70094560000001</cx:pt>
          <cx:pt idx="2525">380.71511129999999</cx:pt>
          <cx:pt idx="2526">380.74401230000001</cx:pt>
          <cx:pt idx="2527">380.75830059999998</cx:pt>
          <cx:pt idx="2528">380.85939999999999</cx:pt>
          <cx:pt idx="2529">380.85939999999999</cx:pt>
          <cx:pt idx="2530">380.85939999999999</cx:pt>
          <cx:pt idx="2531">380.85939999999999</cx:pt>
          <cx:pt idx="2532">380.85939999999999</cx:pt>
          <cx:pt idx="2533">380.85939999999999</cx:pt>
          <cx:pt idx="2534">380.85939999999999</cx:pt>
          <cx:pt idx="2535">380.85939999999999</cx:pt>
          <cx:pt idx="2536">380.85939999999999</cx:pt>
          <cx:pt idx="2537">380.85939999999999</cx:pt>
          <cx:pt idx="2538">380.85939999999999</cx:pt>
          <cx:pt idx="2539">380.85939999999999</cx:pt>
          <cx:pt idx="2540">380.85939999999999</cx:pt>
          <cx:pt idx="2541">380.85939999999999</cx:pt>
          <cx:pt idx="2542">380.85939999999999</cx:pt>
          <cx:pt idx="2543">380.85939999999999</cx:pt>
          <cx:pt idx="2544">380.85939999999999</cx:pt>
          <cx:pt idx="2545">380.85939999999999</cx:pt>
          <cx:pt idx="2546">380.85939999999999</cx:pt>
          <cx:pt idx="2547">380.85939999999999</cx:pt>
          <cx:pt idx="2548">380.85939999999999</cx:pt>
          <cx:pt idx="2549">380.85939999999999</cx:pt>
          <cx:pt idx="2550">380.85939999999999</cx:pt>
          <cx:pt idx="2551">380.85939999999999</cx:pt>
          <cx:pt idx="2552">380.85939999999999</cx:pt>
          <cx:pt idx="2553">380.85939999999999</cx:pt>
          <cx:pt idx="2554">380.85939999999999</cx:pt>
          <cx:pt idx="2555">380.85939999999999</cx:pt>
          <cx:pt idx="2556">380.85939999999999</cx:pt>
          <cx:pt idx="2557">380.85939999999999</cx:pt>
          <cx:pt idx="2558">380.85939999999999</cx:pt>
          <cx:pt idx="2559">380.85939999999999</cx:pt>
          <cx:pt idx="2560">380.85939999999999</cx:pt>
          <cx:pt idx="2561">380.85939999999999</cx:pt>
          <cx:pt idx="2562">380.85939999999999</cx:pt>
          <cx:pt idx="2563">380.84247349999998</cx:pt>
          <cx:pt idx="2564">380.81695230000003</cx:pt>
          <cx:pt idx="2565">380.74066010000001</cx:pt>
          <cx:pt idx="2566">380.6814215</cx:pt>
          <cx:pt idx="2567">380.65596820000002</cx:pt>
          <cx:pt idx="2568">380.65590040000001</cx:pt>
          <cx:pt idx="2569">380.63891030000002</cx:pt>
          <cx:pt idx="2570">380.6135883</cx:pt>
          <cx:pt idx="2571">380.60512929999999</cx:pt>
          <cx:pt idx="2572">380.58807139999999</cx:pt>
          <cx:pt idx="2573">380.57114489999998</cx:pt>
          <cx:pt idx="2574">380.56274939999997</cx:pt>
          <cx:pt idx="2575">380.55428619999998</cx:pt>
          <cx:pt idx="2576">380.54569149999998</cx:pt>
          <cx:pt idx="2577">380.53729609999999</cx:pt>
          <cx:pt idx="2578">380.53722829999998</cx:pt>
          <cx:pt idx="2579">380.52883279999998</cx:pt>
          <cx:pt idx="2580">380.52030600000001</cx:pt>
          <cx:pt idx="2581">380.50337949999999</cx:pt>
          <cx:pt idx="2582">380.48645299999998</cx:pt>
          <cx:pt idx="2583">380.40169750000001</cx:pt>
          <cx:pt idx="2584">380.39317060000002</cx:pt>
          <cx:pt idx="2585">380.3593176</cx:pt>
          <cx:pt idx="2586">380.34153500000002</cx:pt>
          <cx:pt idx="2587">380.30834729999998</cx:pt>
          <cx:pt idx="2588">380.28295759999997</cx:pt>
          <cx:pt idx="2589">380.23218229999998</cx:pt>
          <cx:pt idx="2590">380.16428550000001</cx:pt>
          <cx:pt idx="2591">380.15589</cx:pt>
          <cx:pt idx="2592">380.14742680000001</cx:pt>
          <cx:pt idx="2593">380.1388321</cx:pt>
          <cx:pt idx="2594">380.13003830000002</cx:pt>
          <cx:pt idx="2595">380.1219734</cx:pt>
          <cx:pt idx="2596">380.11351020000001</cx:pt>
          <cx:pt idx="2597">380.09658789999997</cx:pt>
          <cx:pt idx="2598">380.06253989999999</cx:pt>
          <cx:pt idx="2599">380.05420800000002</cx:pt>
          <cx:pt idx="2600">380.03721789999997</cx:pt>
          <cx:pt idx="2601">380.02875469999998</cx:pt>
          <cx:pt idx="2602">380.01169679999998</cx:pt>
          <cx:pt idx="2603">379.98637480000002</cx:pt>
          <cx:pt idx="2604">379.96085790000001</cx:pt>
          <cx:pt idx="2605">379.94386359999999</cx:pt>
          <cx:pt idx="2606">379.94380000000001</cx:pt>
          <cx:pt idx="2607">380.09462430000002</cx:pt>
          <cx:pt idx="2608">380.39687959999998</cx:pt>
          <cx:pt idx="2609">380.4737705</cx:pt>
          <cx:pt idx="2610">380.85939999999999</cx:pt>
          <cx:pt idx="2611">380.85939999999999</cx:pt>
          <cx:pt idx="2612">380.85939999999999</cx:pt>
          <cx:pt idx="2613">380.85939999999999</cx:pt>
          <cx:pt idx="2614">380.85939999999999</cx:pt>
          <cx:pt idx="2615">380.85939999999999</cx:pt>
          <cx:pt idx="2616">380.85939999999999</cx:pt>
          <cx:pt idx="2617">380.85939999999999</cx:pt>
          <cx:pt idx="2618">380.85939999999999</cx:pt>
          <cx:pt idx="2619">380.85939999999999</cx:pt>
          <cx:pt idx="2620">380.85939999999999</cx:pt>
          <cx:pt idx="2621">380.85939999999999</cx:pt>
          <cx:pt idx="2622">380.85939999999999</cx:pt>
          <cx:pt idx="2623">380.85939999999999</cx:pt>
          <cx:pt idx="2624">380.85939999999999</cx:pt>
          <cx:pt idx="2625">380.85939999999999</cx:pt>
          <cx:pt idx="2626">380.85939999999999</cx:pt>
          <cx:pt idx="2627">380.85939999999999</cx:pt>
          <cx:pt idx="2628">380.85939999999999</cx:pt>
          <cx:pt idx="2629">380.85939999999999</cx:pt>
          <cx:pt idx="2630">380.85939999999999</cx:pt>
          <cx:pt idx="2631">380.85939999999999</cx:pt>
          <cx:pt idx="2632">380.85939999999999</cx:pt>
          <cx:pt idx="2633">380.85939999999999</cx:pt>
          <cx:pt idx="2634">380.85939999999999</cx:pt>
          <cx:pt idx="2635">380.85939999999999</cx:pt>
          <cx:pt idx="2636">380.85939999999999</cx:pt>
          <cx:pt idx="2637">380.85939999999999</cx:pt>
          <cx:pt idx="2638">380.85939999999999</cx:pt>
          <cx:pt idx="2639">380.85939999999999</cx:pt>
          <cx:pt idx="2640">380.85939999999999</cx:pt>
          <cx:pt idx="2641">380.85939999999999</cx:pt>
          <cx:pt idx="2642">380.85939999999999</cx:pt>
          <cx:pt idx="2643">380.85939999999999</cx:pt>
          <cx:pt idx="2644">380.85939999999999</cx:pt>
          <cx:pt idx="2645">380.85939999999999</cx:pt>
          <cx:pt idx="2646">380.85939999999999</cx:pt>
          <cx:pt idx="2647">380.85939999999999</cx:pt>
          <cx:pt idx="2648">380.85939999999999</cx:pt>
          <cx:pt idx="2649">380.85939999999999</cx:pt>
          <cx:pt idx="2650">380.85939999999999</cx:pt>
          <cx:pt idx="2651">380.85939999999999</cx:pt>
          <cx:pt idx="2652">380.85939999999999</cx:pt>
          <cx:pt idx="2653">380.85939999999999</cx:pt>
          <cx:pt idx="2654">380.85939999999999</cx:pt>
          <cx:pt idx="2655">380.85939999999999</cx:pt>
          <cx:pt idx="2656">380.85939999999999</cx:pt>
          <cx:pt idx="2657">380.85939999999999</cx:pt>
          <cx:pt idx="2658">380.85939999999999</cx:pt>
          <cx:pt idx="2659">380.85939999999999</cx:pt>
          <cx:pt idx="2660">380.85939999999999</cx:pt>
          <cx:pt idx="2661">380.85939999999999</cx:pt>
          <cx:pt idx="2662">380.85939999999999</cx:pt>
          <cx:pt idx="2663">380.85939999999999</cx:pt>
          <cx:pt idx="2664">380.85939999999999</cx:pt>
          <cx:pt idx="2665">380.85939999999999</cx:pt>
          <cx:pt idx="2666">380.85939999999999</cx:pt>
          <cx:pt idx="2667">380.85939999999999</cx:pt>
          <cx:pt idx="2668">380.85939999999999</cx:pt>
          <cx:pt idx="2669">380.85939999999999</cx:pt>
          <cx:pt idx="2670">380.85939999999999</cx:pt>
          <cx:pt idx="2671">380.85939999999999</cx:pt>
          <cx:pt idx="2672">380.85939999999999</cx:pt>
          <cx:pt idx="2673">380.85939999999999</cx:pt>
          <cx:pt idx="2674">380.85939999999999</cx:pt>
          <cx:pt idx="2675">380.85939999999999</cx:pt>
          <cx:pt idx="2676">380.85939999999999</cx:pt>
          <cx:pt idx="2677">380.85939999999999</cx:pt>
          <cx:pt idx="2678">380.85939999999999</cx:pt>
          <cx:pt idx="2679">380.85939999999999</cx:pt>
          <cx:pt idx="2680">380.79496369999998</cx:pt>
          <cx:pt idx="2681">380.78209570000001</cx:pt>
          <cx:pt idx="2682">380.76872520000001</cx:pt>
          <cx:pt idx="2683">380.75626319999998</cx:pt>
          <cx:pt idx="2684">380.74349840000002</cx:pt>
          <cx:pt idx="2685">380.73052730000001</cx:pt>
          <cx:pt idx="2686">380.7176594</cx:pt>
          <cx:pt idx="2687">380.70479790000002</cx:pt>
          <cx:pt idx="2688">380.69182690000002</cx:pt>
          <cx:pt idx="2689">380.62729389999998</cx:pt>
          <cx:pt idx="2690">380.56285759999997</cx:pt>
          <cx:pt idx="2691">380.48575949999997</cx:pt>
          <cx:pt idx="2692">380.4727949</cx:pt>
          <cx:pt idx="2693">380.446956</cx:pt>
          <cx:pt idx="2694">380.4211234</cx:pt>
          <cx:pt idx="2695">380.39498809999998</cx:pt>
          <cx:pt idx="2696">380.38231990000003</cx:pt>
          <cx:pt idx="2697">380.35679019999998</cx:pt>
          <cx:pt idx="2698">380.34392229999997</cx:pt>
          <cx:pt idx="2699">380.3305517</cx:pt>
          <cx:pt idx="2700">380.31778689999999</cx:pt>
          <cx:pt idx="2701">380.15061969999999</cx:pt>
          <cx:pt idx="2702">380.11191930000001</cx:pt>
          <cx:pt idx="2703">379.90574880000003</cx:pt>
          <cx:pt idx="2704">379.80261849999999</cx:pt>
          <cx:pt idx="2705">379.63464579999999</cx:pt>
          <cx:pt idx="2706">379.62168120000001</cx:pt>
          <cx:pt idx="2707">379.59644800000001</cx:pt>
          <cx:pt idx="2708">379.58358010000001</cx:pt>
          <cx:pt idx="2709">379.5448796</cx:pt>
          <cx:pt idx="2710">379.51924680000002</cx:pt>
          <cx:pt idx="2711">379.50587630000001</cx:pt>
          <cx:pt idx="2712">379.46747870000002</cx:pt>
          <cx:pt idx="2713">379.45451409999998</cx:pt>
          <cx:pt idx="2714">379.42847540000002</cx:pt>
          <cx:pt idx="2715">379.41551079999999</cx:pt>
          <cx:pt idx="2716">379.38967179999997</cx:pt>
          <cx:pt idx="2717">379.37701010000001</cx:pt>
          <cx:pt idx="2718">379.3643419</cx:pt>
          <cx:pt idx="2719">379.2866381</cx:pt>
          <cx:pt idx="2720">379.27417609999998</cx:pt>
          <cx:pt idx="2721">379.24804080000001</cx:pt>
          <cx:pt idx="2722">379.22271080000002</cx:pt>
          <cx:pt idx="2723">379.20984290000001</cx:pt>
          <cx:pt idx="2724">379.19657549999999</cx:pt>
          <cx:pt idx="2725">379.18390729999999</cx:pt>
          <cx:pt idx="2726">379.17123909999998</cx:pt>
          <cx:pt idx="2727">379.1577719</cx:pt>
          <cx:pt idx="2728">379.1454066</cx:pt>
          <cx:pt idx="2729">379.13193940000002</cx:pt>
          <cx:pt idx="2730">379.11927120000001</cx:pt>
          <cx:pt idx="2731">379.10660949999999</cx:pt>
          <cx:pt idx="2732">379.09383819999999</cx:pt>
          <cx:pt idx="2733">379.06770280000001</cx:pt>
          <cx:pt idx="2734">379.0283</cx:pt>
          <cx:pt idx="2735">382.69040000000001</cx:pt>
          <cx:pt idx="2736">381.6263687</cx:pt>
          <cx:pt idx="2737">379.94380000000001</cx:pt>
          <cx:pt idx="2738">380.14065840000001</cx:pt>
          <cx:pt idx="2739">380.43079239999997</cx:pt>
          <cx:pt idx="2740">380.46523120000001</cx:pt>
          <cx:pt idx="2741">380.47725350000002</cx:pt>
          <cx:pt idx="2742">380.68576919999998</cx:pt>
          <cx:pt idx="2743">380.69716</cx:pt>
          <cx:pt idx="2744">380.70854489999999</cx:pt>
          <cx:pt idx="2745">380.73223030000003</cx:pt>
          <cx:pt idx="2746">380.74361520000002</cx:pt>
          <cx:pt idx="2747">380.76639669999997</cx:pt>
          <cx:pt idx="2748">380.77841319999999</cx:pt>
          <cx:pt idx="2749">380.81285200000002</cx:pt>
          <cx:pt idx="2750">380.85939999999999</cx:pt>
          <cx:pt idx="2751">380.92774489999999</cx:pt>
          <cx:pt idx="2752">380.96020870000001</cx:pt>
          <cx:pt idx="2753">380.99531159999998</cx:pt>
          <cx:pt idx="2754">381.06181249999997</cx:pt>
          <cx:pt idx="2755">381.13069869999998</cx:pt>
          <cx:pt idx="2756">381.1971997</cx:pt>
          <cx:pt idx="2757">381.23098299999998</cx:pt>
          <cx:pt idx="2758">381.29880350000002</cx:pt>
          <cx:pt idx="2759">381.33390630000002</cx:pt>
          <cx:pt idx="2760">381.33522590000001</cx:pt>
          <cx:pt idx="2761">381.40040729999998</cx:pt>
          <cx:pt idx="2762">381.4336662</cx:pt>
          <cx:pt idx="2763">381.46770329999998</cx:pt>
          <cx:pt idx="2764">381.50280620000001</cx:pt>
          <cx:pt idx="2765">381.5693071</cx:pt>
          <cx:pt idx="2766">381.63687379999999</cx:pt>
          <cx:pt idx="2767">381.67197670000002</cx:pt>
          <cx:pt idx="2768">381.67354999999998</cx:pt>
          <cx:pt idx="2769">381.70521869999999</cx:pt>
          <cx:pt idx="2770">381.77358049999998</cx:pt>
          <cx:pt idx="2771">381.7749</cx:pt>
          <cx:pt idx="2772">381.06128519999999</cx:pt>
          <cx:pt idx="2773">380.98274040000001</cx:pt>
          <cx:pt idx="2774">380.89924159999998</cx:pt>
          <cx:pt idx="2775">380.82069689999997</cx:pt>
          <cx:pt idx="2776">380.74219199999999</cx:pt>
          <cx:pt idx="2777">380.58074779999998</cx:pt>
          <cx:pt idx="2778">380.41934350000002</cx:pt>
          <cx:pt idx="2779">380.34079869999999</cx:pt>
          <cx:pt idx="2780">380.26229389999997</cx:pt>
          <cx:pt idx="2781">380.1837491</cx:pt>
          <cx:pt idx="2782">379.94380000000001</cx:pt>
          <cx:pt idx="2783">380.1783393</cx:pt>
          <cx:pt idx="2784">380.18947830000002</cx:pt>
          <cx:pt idx="2785">380.24519579999998</cx:pt>
          <cx:pt idx="2786">380.41357060000001</cx:pt>
          <cx:pt idx="2787">380.42410690000003</cx:pt>
          <cx:pt idx="2788">380.55791490000001</cx:pt>
          <cx:pt idx="2789">380.58046080000003</cx:pt>
          <cx:pt idx="2790">380.68049450000001</cx:pt>
          <cx:pt idx="2791">380.81491080000001</cx:pt>
          <cx:pt idx="2792">380.83685400000002</cx:pt>
          <cx:pt idx="2793">380.85939999999999</cx:pt>
          <cx:pt idx="2794">380.85939999999999</cx:pt>
          <cx:pt idx="2795">380.85939999999999</cx:pt>
          <cx:pt idx="2796">380.85939999999999</cx:pt>
          <cx:pt idx="2797">380.85939999999999</cx:pt>
          <cx:pt idx="2798">380.85939999999999</cx:pt>
          <cx:pt idx="2799">380.85939999999999</cx:pt>
          <cx:pt idx="2800">380.85939999999999</cx:pt>
          <cx:pt idx="2801">380.85939999999999</cx:pt>
          <cx:pt idx="2802">380.85939999999999</cx:pt>
          <cx:pt idx="2803">380.85939999999999</cx:pt>
          <cx:pt idx="2804">380.85939999999999</cx:pt>
          <cx:pt idx="2805">380.85939999999999</cx:pt>
          <cx:pt idx="2806">380.85939999999999</cx:pt>
          <cx:pt idx="2807">380.85939999999999</cx:pt>
          <cx:pt idx="2808">380.85939999999999</cx:pt>
          <cx:pt idx="2809">380.85939999999999</cx:pt>
          <cx:pt idx="2810">380.85939999999999</cx:pt>
          <cx:pt idx="2811">380.85939999999999</cx:pt>
          <cx:pt idx="2812">380.85939999999999</cx:pt>
          <cx:pt idx="2813">380.85939999999999</cx:pt>
          <cx:pt idx="2814">380.85939999999999</cx:pt>
          <cx:pt idx="2815">380.85939999999999</cx:pt>
          <cx:pt idx="2816">380.85939999999999</cx:pt>
          <cx:pt idx="2817">380.85939999999999</cx:pt>
          <cx:pt idx="2818">380.85939999999999</cx:pt>
          <cx:pt idx="2819">380.85939999999999</cx:pt>
          <cx:pt idx="2820">380.85939999999999</cx:pt>
          <cx:pt idx="2821">380.85939999999999</cx:pt>
          <cx:pt idx="2822">380.85939999999999</cx:pt>
          <cx:pt idx="2823">380.85939999999999</cx:pt>
          <cx:pt idx="2824">380.85939999999999</cx:pt>
          <cx:pt idx="2825">380.85939999999999</cx:pt>
          <cx:pt idx="2826">380.85939999999999</cx:pt>
          <cx:pt idx="2827">380.85939999999999</cx:pt>
          <cx:pt idx="2828">380.85939999999999</cx:pt>
          <cx:pt idx="2829">380.85939999999999</cx:pt>
          <cx:pt idx="2830">380.85939999999999</cx:pt>
          <cx:pt idx="2831">380.85939999999999</cx:pt>
          <cx:pt idx="2832">380.85939999999999</cx:pt>
          <cx:pt idx="2833">380.85939999999999</cx:pt>
          <cx:pt idx="2834">380.85939999999999</cx:pt>
          <cx:pt idx="2835">380.85939999999999</cx:pt>
          <cx:pt idx="2836">380.85939999999999</cx:pt>
          <cx:pt idx="2837">380.85939999999999</cx:pt>
          <cx:pt idx="2838">380.85939999999999</cx:pt>
          <cx:pt idx="2839">380.85939999999999</cx:pt>
          <cx:pt idx="2840">380.85939999999999</cx:pt>
          <cx:pt idx="2841">380.85939999999999</cx:pt>
          <cx:pt idx="2842">380.85939999999999</cx:pt>
          <cx:pt idx="2843">380.85939999999999</cx:pt>
          <cx:pt idx="2844">380.85939999999999</cx:pt>
          <cx:pt idx="2845">380.85939999999999</cx:pt>
          <cx:pt idx="2846">380.85939999999999</cx:pt>
          <cx:pt idx="2847">380.85939999999999</cx:pt>
          <cx:pt idx="2848">380.85939999999999</cx:pt>
          <cx:pt idx="2849">380.85939999999999</cx:pt>
          <cx:pt idx="2850">380.85939999999999</cx:pt>
          <cx:pt idx="2851">381.40499519999997</cx:pt>
          <cx:pt idx="2852">382.26290829999999</cx:pt>
          <cx:pt idx="2853">382.62423769999998</cx:pt>
          <cx:pt idx="2854">382.69040000000001</cx:pt>
          <cx:pt idx="2855">380.85939999999999</cx:pt>
          <cx:pt idx="2856">381.02008380000001</cx:pt>
          <cx:pt idx="2857">381.25900159999998</cx:pt>
          <cx:pt idx="2858">382.13198399999999</cx:pt>
          <cx:pt idx="2859">382.69040000000001</cx:pt>
          <cx:pt idx="2860">382.4275265</cx:pt>
          <cx:pt idx="2861">381.90381230000003</cx:pt>
          <cx:pt idx="2862">381.7749</cx:pt>
          <cx:pt idx="2863">381.7749</cx:pt>
          <cx:pt idx="2864">381.7749</cx:pt>
          <cx:pt idx="2865">381.7749</cx:pt>
          <cx:pt idx="2866">381.7749</cx:pt>
          <cx:pt idx="2867">381.7749</cx:pt>
          <cx:pt idx="2868">381.7749</cx:pt>
          <cx:pt idx="2869">381.7749</cx:pt>
          <cx:pt idx="2870">381.7749</cx:pt>
          <cx:pt idx="2871">381.7749</cx:pt>
          <cx:pt idx="2872">381.7749</cx:pt>
          <cx:pt idx="2873">381.7749</cx:pt>
          <cx:pt idx="2874">381.7749</cx:pt>
          <cx:pt idx="2875">381.7749</cx:pt>
          <cx:pt idx="2876">381.7749</cx:pt>
          <cx:pt idx="2877">381.7749</cx:pt>
          <cx:pt idx="2878">381.7749</cx:pt>
          <cx:pt idx="2879">381.7749</cx:pt>
          <cx:pt idx="2880">381.7749</cx:pt>
          <cx:pt idx="2881">381.7749</cx:pt>
          <cx:pt idx="2882">381.7749</cx:pt>
          <cx:pt idx="2883">381.7749</cx:pt>
          <cx:pt idx="2884">381.7749</cx:pt>
          <cx:pt idx="2885">381.7749</cx:pt>
          <cx:pt idx="2886">381.7749</cx:pt>
          <cx:pt idx="2887">381.7749</cx:pt>
          <cx:pt idx="2888">381.7749</cx:pt>
          <cx:pt idx="2889">381.7749</cx:pt>
          <cx:pt idx="2890">381.7749</cx:pt>
          <cx:pt idx="2891">381.7749</cx:pt>
          <cx:pt idx="2892">381.7749</cx:pt>
          <cx:pt idx="2893">381.7749</cx:pt>
          <cx:pt idx="2894">381.7749</cx:pt>
          <cx:pt idx="2895">381.7749</cx:pt>
          <cx:pt idx="2896">381.7749</cx:pt>
          <cx:pt idx="2897">381.7749</cx:pt>
          <cx:pt idx="2898">381.7749</cx:pt>
          <cx:pt idx="2899">381.7749</cx:pt>
          <cx:pt idx="2900">381.7749</cx:pt>
          <cx:pt idx="2901">381.7749</cx:pt>
          <cx:pt idx="2902">381.7749</cx:pt>
          <cx:pt idx="2903">381.7749</cx:pt>
          <cx:pt idx="2904">381.7749</cx:pt>
          <cx:pt idx="2905">381.7749</cx:pt>
          <cx:pt idx="2906">381.7749</cx:pt>
          <cx:pt idx="2907">381.7749</cx:pt>
          <cx:pt idx="2908">381.7749</cx:pt>
          <cx:pt idx="2909">381.7749</cx:pt>
          <cx:pt idx="2910">381.7749</cx:pt>
          <cx:pt idx="2911">381.7749</cx:pt>
          <cx:pt idx="2912">382.08786170000002</cx:pt>
          <cx:pt idx="2913">382.0882264</cx:pt>
          <cx:pt idx="2914">382.12227619999999</cx:pt>
          <cx:pt idx="2915">382.13365900000002</cx:pt>
          <cx:pt idx="2916">382.14521539999998</cx:pt>
          <cx:pt idx="2917">382.15704970000002</cx:pt>
          <cx:pt idx="2918">382.18089209999999</cx:pt>
          <cx:pt idx="2919">382.62093979999997</cx:pt>
          <cx:pt idx="2920">382.64324790000001</cx:pt>
          <cx:pt idx="2921">382.69040000000001</cx:pt>
          <cx:pt idx="2922">379.0283</cx:pt>
          <cx:pt idx="2923">381.52882929999998</cx:pt>
          <cx:pt idx="2924">381.7749</cx:pt>
          <cx:pt idx="2925">381.7749</cx:pt>
          <cx:pt idx="2926">381.7749</cx:pt>
          <cx:pt idx="2927">381.7749</cx:pt>
          <cx:pt idx="2928">381.7749</cx:pt>
          <cx:pt idx="2929">381.7749</cx:pt>
          <cx:pt idx="2930">381.7749</cx:pt>
          <cx:pt idx="2931">381.7749</cx:pt>
          <cx:pt idx="2932">381.7749</cx:pt>
          <cx:pt idx="2933">381.7749</cx:pt>
          <cx:pt idx="2934">381.7749</cx:pt>
          <cx:pt idx="2935">381.7749</cx:pt>
          <cx:pt idx="2936">381.7749</cx:pt>
          <cx:pt idx="2937">381.7749</cx:pt>
          <cx:pt idx="2938">381.7749</cx:pt>
          <cx:pt idx="2939">381.7749</cx:pt>
          <cx:pt idx="2940">381.7749</cx:pt>
          <cx:pt idx="2941">381.7749</cx:pt>
          <cx:pt idx="2942">381.7749</cx:pt>
          <cx:pt idx="2943">381.7749</cx:pt>
          <cx:pt idx="2944">381.7749</cx:pt>
          <cx:pt idx="2945">381.7749</cx:pt>
          <cx:pt idx="2946">381.7749</cx:pt>
          <cx:pt idx="2947">381.7749</cx:pt>
          <cx:pt idx="2948">381.7749</cx:pt>
          <cx:pt idx="2949">381.7749</cx:pt>
          <cx:pt idx="2950">381.7749</cx:pt>
          <cx:pt idx="2951">381.7749</cx:pt>
          <cx:pt idx="2952">381.7749</cx:pt>
          <cx:pt idx="2953">381.7749</cx:pt>
          <cx:pt idx="2954">381.7749</cx:pt>
          <cx:pt idx="2955">381.7749</cx:pt>
          <cx:pt idx="2956">381.7749</cx:pt>
          <cx:pt idx="2957">381.7749</cx:pt>
          <cx:pt idx="2958">381.7749</cx:pt>
          <cx:pt idx="2959">381.7749</cx:pt>
          <cx:pt idx="2960">381.7749</cx:pt>
          <cx:pt idx="2961">381.7749</cx:pt>
          <cx:pt idx="2962">381.7749</cx:pt>
          <cx:pt idx="2963">381.7749</cx:pt>
          <cx:pt idx="2964">381.7749</cx:pt>
          <cx:pt idx="2965">381.7749</cx:pt>
          <cx:pt idx="2966">381.7749</cx:pt>
          <cx:pt idx="2967">381.7749</cx:pt>
          <cx:pt idx="2968">381.7749</cx:pt>
          <cx:pt idx="2969">381.7749</cx:pt>
          <cx:pt idx="2970">381.7749</cx:pt>
          <cx:pt idx="2971">381.7749</cx:pt>
          <cx:pt idx="2972">381.7749</cx:pt>
          <cx:pt idx="2973">381.7749</cx:pt>
          <cx:pt idx="2974">381.7749</cx:pt>
          <cx:pt idx="2975">381.7749</cx:pt>
          <cx:pt idx="2976">381.7749</cx:pt>
          <cx:pt idx="2977">381.7749</cx:pt>
          <cx:pt idx="2978">381.7749</cx:pt>
          <cx:pt idx="2979">381.7749</cx:pt>
          <cx:pt idx="2980">381.7749</cx:pt>
          <cx:pt idx="2981">381.7749</cx:pt>
          <cx:pt idx="2982">381.7749</cx:pt>
          <cx:pt idx="2983">381.7749</cx:pt>
          <cx:pt idx="2984">381.7749</cx:pt>
          <cx:pt idx="2985">381.7749</cx:pt>
          <cx:pt idx="2986">381.7749</cx:pt>
          <cx:pt idx="2987">381.7749</cx:pt>
          <cx:pt idx="2988">381.7749</cx:pt>
          <cx:pt idx="2989">381.7749</cx:pt>
          <cx:pt idx="2990">381.7749</cx:pt>
          <cx:pt idx="2991">381.7749</cx:pt>
          <cx:pt idx="2992">381.7749</cx:pt>
          <cx:pt idx="2993">381.7749</cx:pt>
          <cx:pt idx="2994">382.25822310000001</cx:pt>
          <cx:pt idx="2995">382.45288219999998</cx:pt>
          <cx:pt idx="2996">382.64228930000002</cx:pt>
          <cx:pt idx="2997">382.73851070000001</cx:pt>
          <cx:pt idx="2998">382.73928160000003</cx:pt>
          <cx:pt idx="2999">382.83699660000002</cx:pt>
          <cx:pt idx="3000">383.12638340000001</cx:pt>
          <cx:pt idx="3001">383.1301416</cx:pt>
          <cx:pt idx="3002">383.31579049999999</cx:pt>
          <cx:pt idx="3003">383.51044960000002</cx:pt>
          <cx:pt idx="3004">383.60590000000002</cx:pt>
          <cx:pt idx="3005">383.47146770000001</cx:pt>
          <cx:pt idx="3006">383.40107979999999</cx:pt>
          <cx:pt idx="3007">383.33442339999999</cx:pt>
          <cx:pt idx="3008">383.26773300000002</cx:pt>
          <cx:pt idx="3009">383.19999109999998</cx:pt>
          <cx:pt idx="3010">383.13068870000001</cx:pt>
          <cx:pt idx="3011">383.0639984</cx:pt>
          <cx:pt idx="3012">382.99361049999999</cx:pt>
          <cx:pt idx="3013">382.92695409999999</cx:pt>
          <cx:pt idx="3014">382.86026370000002</cx:pt>
          <cx:pt idx="3015">382.65652899999998</cx:pt>
          <cx:pt idx="3016">382.51945080000002</cx:pt>
          <cx:pt idx="3017">382.45279440000002</cx:pt>
          <cx:pt idx="3018">382.18131779999999</cx:pt>
          <cx:pt idx="3019">381.90560090000002</cx:pt>
          <cx:pt idx="3020">381.7749</cx:pt>
          <cx:pt idx="3021">381.74222889999999</cx:pt>
          <cx:pt idx="3022">381.72338020000001</cx:pt>
          <cx:pt idx="3023">381.6716606</cx:pt>
          <cx:pt idx="3024">381.6201891</cx:pt>
          <cx:pt idx="3025">381.57470080000002</cx:pt>
          <cx:pt idx="3026">381.51071510000003</cx:pt>
          <cx:pt idx="3027">381.50402939999998</cx:pt>
          <cx:pt idx="3028">381.4976982</cx:pt>
          <cx:pt idx="3029">381.4846781</cx:pt>
          <cx:pt idx="3030">381.4783468</cx:pt>
          <cx:pt idx="3031">381.47201239999998</cx:pt>
          <cx:pt idx="3032">381.44577559999999</cx:pt>
          <cx:pt idx="3033">381.41395829999999</cx:pt>
          <cx:pt idx="3034">381.40068689999998</cx:pt>
          <cx:pt idx="3035">381.3557528</cx:pt>
          <cx:pt idx="3036">381.34308709999999</cx:pt>
          <cx:pt idx="3037">381.33006699999999</cx:pt>
          <cx:pt idx="3038">381.32373580000001</cx:pt>
          <cx:pt idx="3039">381.31740129999997</cx:pt>
          <cx:pt idx="3040">381.3107157</cx:pt>
          <cx:pt idx="3041">381.29799839999998</cx:pt>
          <cx:pt idx="3042">381.27869859999998</cx:pt>
          <cx:pt idx="3043">381.27201300000002</cx:pt>
          <cx:pt idx="3044">381.25266160000001</cx:pt>
          <cx:pt idx="3045">381.22064460000001</cx:pt>
          <cx:pt idx="3046">381.21431009999998</cx:pt>
          <cx:pt idx="3047">381.20762439999999</cx:pt>
          <cx:pt idx="3048">381.19495869999997</cx:pt>
          <cx:pt idx="3049">381.18194190000003</cx:pt>
          <cx:pt idx="3050">381.17560739999999</cx:pt>
          <cx:pt idx="3051">381.168722</cx:pt>
          <cx:pt idx="3052">381.1173536</cx:pt>
          <cx:pt idx="3053">381.11101910000002</cx:pt>
          <cx:pt idx="3054">381.10468470000001</cx:pt>
          <cx:pt idx="3055">381.09166779999998</cx:pt>
          <cx:pt idx="3056">381.07865090000001</cx:pt>
          <cx:pt idx="3057">381.06598200000002</cx:pt>
          <cx:pt idx="3058">381.05296509999999</cx:pt>
          <cx:pt idx="3059">381.04663060000001</cx:pt>
          <cx:pt idx="3060">381.02727929999998</cx:pt>
          <cx:pt idx="3061">381.02094799999998</cx:pt>
          <cx:pt idx="3062">381.00792790000003</cx:pt>
          <cx:pt idx="3063">381.00154509999999</cx:pt>
          <cx:pt idx="3064">380.994911</cx:pt>
          <cx:pt idx="3065">380.97555970000002</cx:pt>
          <cx:pt idx="3066">380.96942819999998</cx:pt>
          <cx:pt idx="3067">380.96274249999999</cx:pt>
          <cx:pt idx="3068">380.95007679999998</cx:pt>
          <cx:pt idx="3069">380.93072230000001</cx:pt>
          <cx:pt idx="3070">380.9240398</cx:pt>
          <cx:pt idx="3071">380.9238368</cx:pt>
          <cx:pt idx="3072">380.91137090000001</cx:pt>
          <cx:pt idx="3073">380.89835399999998</cx:pt>
          <cx:pt idx="3074">380.89201960000003</cx:pt>
          <cx:pt idx="3075">380.88533710000002</cx:pt>
          <cx:pt idx="3076">380.87266820000002</cx:pt>
          <cx:pt idx="3077">380.8596513</cx:pt>
          <cx:pt idx="3078">380.85939999999999</cx:pt>
          <cx:pt idx="3079">381.2795701</cx:pt>
          <cx:pt idx="3080">381.92594389999999</cx:pt>
          <cx:pt idx="3081">382.15041680000002</cx:pt>
          <cx:pt idx="3082">382.36309820000002</cx:pt>
          <cx:pt idx="3083">382.57567130000001</cx:pt>
          <cx:pt idx="3084">382.80014419999998</cx:pt>
          <cx:pt idx="3085">383.22539870000003</cx:pt>
          <cx:pt idx="3086">383.8802106</cx:pt>
          <cx:pt idx="3087">384.30546509999999</cx:pt>
          <cx:pt idx="3088">384.5215</cx:pt>
          <cx:pt idx="3089">384.36858100000001</cx:pt>
          <cx:pt idx="3090">384.28949019999999</cx:pt>
          <cx:pt idx="3091">384.214518</cx:pt>
          <cx:pt idx="3092">384.13954569999999</cx:pt>
          <cx:pt idx="3093">383.98548269999998</cx:pt>
          <cx:pt idx="3094">383.83141970000003</cx:pt>
          <cx:pt idx="3095">383.82962739999999</cx:pt>
          <cx:pt idx="3096">383.68147520000002</cx:pt>
          <cx:pt idx="3097">383.60238440000001</cx:pt>
          <cx:pt idx="3098">383.52741220000001</cx:pt>
          <cx:pt idx="3099">383.37632359999998</cx:pt>
          <cx:pt idx="3100">383.2234047</cx:pt>
          <cx:pt idx="3101">382.99436939999998</cx:pt>
          <cx:pt idx="3102">382.91943529999998</cx:pt>
          <cx:pt idx="3103">382.76533410000002</cx:pt>
          <cx:pt idx="3104">382.69040000000001</cx:pt>
          <cx:pt idx="3105">382.69040000000001</cx:pt>
          <cx:pt idx="3106">382.69040000000001</cx:pt>
          <cx:pt idx="3107">382.69040000000001</cx:pt>
          <cx:pt idx="3108">382.69040000000001</cx:pt>
          <cx:pt idx="3109">382.69040000000001</cx:pt>
          <cx:pt idx="3110">382.69040000000001</cx:pt>
          <cx:pt idx="3111">382.69040000000001</cx:pt>
          <cx:pt idx="3112">382.69040000000001</cx:pt>
          <cx:pt idx="3113">382.69040000000001</cx:pt>
          <cx:pt idx="3114">382.69040000000001</cx:pt>
          <cx:pt idx="3115">382.69040000000001</cx:pt>
          <cx:pt idx="3116">382.69040000000001</cx:pt>
          <cx:pt idx="3117">382.69040000000001</cx:pt>
          <cx:pt idx="3118">382.69040000000001</cx:pt>
          <cx:pt idx="3119">382.69040000000001</cx:pt>
          <cx:pt idx="3120">382.69040000000001</cx:pt>
          <cx:pt idx="3121">382.69040000000001</cx:pt>
          <cx:pt idx="3122">382.69040000000001</cx:pt>
          <cx:pt idx="3123">382.69040000000001</cx:pt>
          <cx:pt idx="3124">382.69040000000001</cx:pt>
          <cx:pt idx="3125">382.69040000000001</cx:pt>
          <cx:pt idx="3126">382.69040000000001</cx:pt>
          <cx:pt idx="3127">382.69040000000001</cx:pt>
          <cx:pt idx="3128">382.69040000000001</cx:pt>
          <cx:pt idx="3129">382.69040000000001</cx:pt>
          <cx:pt idx="3130">382.69040000000001</cx:pt>
          <cx:pt idx="3131">382.69040000000001</cx:pt>
          <cx:pt idx="3132">382.69040000000001</cx:pt>
          <cx:pt idx="3133">382.69040000000001</cx:pt>
          <cx:pt idx="3134">382.69040000000001</cx:pt>
          <cx:pt idx="3135">382.69040000000001</cx:pt>
          <cx:pt idx="3136">382.69040000000001</cx:pt>
          <cx:pt idx="3137">382.69040000000001</cx:pt>
          <cx:pt idx="3138">382.69040000000001</cx:pt>
          <cx:pt idx="3139">382.69040000000001</cx:pt>
          <cx:pt idx="3140">382.69040000000001</cx:pt>
          <cx:pt idx="3141">382.69040000000001</cx:pt>
          <cx:pt idx="3142">382.69040000000001</cx:pt>
          <cx:pt idx="3143">382.69040000000001</cx:pt>
          <cx:pt idx="3144">382.69040000000001</cx:pt>
          <cx:pt idx="3145">382.69040000000001</cx:pt>
          <cx:pt idx="3146">382.69040000000001</cx:pt>
          <cx:pt idx="3147">382.69040000000001</cx:pt>
          <cx:pt idx="3148">382.69040000000001</cx:pt>
          <cx:pt idx="3149">382.69040000000001</cx:pt>
          <cx:pt idx="3150">382.69040000000001</cx:pt>
          <cx:pt idx="3151">382.69040000000001</cx:pt>
          <cx:pt idx="3152">382.69040000000001</cx:pt>
          <cx:pt idx="3153">382.69040000000001</cx:pt>
          <cx:pt idx="3154">382.69040000000001</cx:pt>
          <cx:pt idx="3155">382.69040000000001</cx:pt>
          <cx:pt idx="3156">382.69040000000001</cx:pt>
          <cx:pt idx="3157">382.69040000000001</cx:pt>
          <cx:pt idx="3158">382.69040000000001</cx:pt>
          <cx:pt idx="3159">382.69040000000001</cx:pt>
          <cx:pt idx="3160">382.68516060000002</cx:pt>
          <cx:pt idx="3161">382.67970739999998</cx:pt>
          <cx:pt idx="3162">382.67394910000002</cx:pt>
          <cx:pt idx="3163">382.6572817</cx:pt>
          <cx:pt idx="3164">382.64061420000002</cx:pt>
          <cx:pt idx="3165">382.64043939999999</cx:pt>
          <cx:pt idx="3166">382.63528880000001</cx:pt>
          <cx:pt idx="3167">382.63524439999998</cx:pt>
          <cx:pt idx="3168">382.62407730000001</cx:pt>
          <cx:pt idx="3169">382.612863</cx:pt>
          <cx:pt idx="3170">382.60740989999999</cx:pt>
          <cx:pt idx="3171">382.59619559999999</cx:pt>
          <cx:pt idx="3172">382.58528660000002</cx:pt>
          <cx:pt idx="3173">382.5686192</cx:pt>
          <cx:pt idx="3174">382.55740489999999</cx:pt>
          <cx:pt idx="3175">382.55186570000001</cx:pt>
          <cx:pt idx="3176">382.54640979999999</cx:pt>
          <cx:pt idx="3177">382.52974239999998</cx:pt>
          <cx:pt idx="3178">382.4964076</cx:pt>
          <cx:pt idx="3179">382.4851961</cx:pt>
          <cx:pt idx="3180">382.47428430000002</cx:pt>
          <cx:pt idx="3181">382.46878679999998</cx:pt>
          <cx:pt idx="3182">382.45211940000002</cx:pt>
          <cx:pt idx="3183">382.44090790000001</cx:pt>
          <cx:pt idx="3184">382.435452</cx:pt>
          <cx:pt idx="3185">382.42969360000001</cx:pt>
          <cx:pt idx="3186">382.4242405</cx:pt>
          <cx:pt idx="3187">382.41878459999998</cx:pt>
          <cx:pt idx="3188">382.40757309999998</cx:pt>
          <cx:pt idx="3189">382.40211720000002</cx:pt>
          <cx:pt idx="3190">382.39635879999997</cx:pt>
          <cx:pt idx="3191">382.39090290000001</cx:pt>
          <cx:pt idx="3192">382.31869419999998</cx:pt>
          <cx:pt idx="3193">382.30778240000001</cx:pt>
          <cx:pt idx="3194">382.2965264</cx:pt>
          <cx:pt idx="3195">382.28561739999998</cx:pt>
          <cx:pt idx="3196">382.27440589999998</cx:pt>
          <cx:pt idx="3197">382.25773850000002</cx:pt>
          <cx:pt idx="3198">382.24652420000001</cx:pt>
          <cx:pt idx="3199">382.23561519999998</cx:pt>
          <cx:pt idx="3200">382.22440369999998</cx:pt>
          <cx:pt idx="3201">382.21881739999998</cx:pt>
          <cx:pt idx="3202">382.20790840000001</cx:pt>
          <cx:pt idx="3203">382.1966941</cx:pt>
          <cx:pt idx="3204">382.19124099999999</cx:pt>
          <cx:pt idx="3205">382.18002669999998</cx:pt>
          <cx:pt idx="3206">382.15790620000001</cx:pt>
          <cx:pt idx="3207">382.1412388</cx:pt>
          <cx:pt idx="3208">382.12457139999998</cx:pt>
          <cx:pt idx="3209">382.02473900000001</cx:pt>
          <cx:pt idx="3210">382.00807159999999</cx:pt>
          <cx:pt idx="3211">382.0023132</cx:pt>
          <cx:pt idx="3212">382.00218280000001</cx:pt>
          <cx:pt idx="3213">381.99685729999999</cx:pt>
          <cx:pt idx="3214">381.99140419999998</cx:pt>
          <cx:pt idx="3215">381.98564579999999</cx:pt>
          <cx:pt idx="3216">381.98018990000003</cx:pt>
          <cx:pt idx="3217">381.95256910000001</cx:pt>
          <cx:pt idx="3218">381.83035530000001</cx:pt>
          <cx:pt idx="3219">381.8249022</cx:pt>
          <cx:pt idx="3220">381.81901340000002</cx:pt>
          <cx:pt idx="3221">381.81368789999999</cx:pt>
          <cx:pt idx="3222">381.80247639999999</cx:pt>
          <cx:pt idx="3223">381.79156740000002</cx:pt>
          <cx:pt idx="3224">381.7861115</cx:pt>
          <cx:pt idx="3225">381.78018109999999</cx:pt>
          <cx:pt idx="3226">381.7749</cx:pt>
          <cx:pt idx="3227">381.88669340000001</cx:pt>
          <cx:pt idx="3228">382.11642130000001</cx:pt>
          <cx:pt idx="3229">382.56973599999998</cx:pt>
          <cx:pt idx="3230">382.69040000000001</cx:pt>
          <cx:pt idx="3231">382.72698109999999</cx:pt>
          <cx:pt idx="3232">382.84034810000003</cx:pt>
          <cx:pt idx="3233">382.88110610000001</cx:pt>
          <cx:pt idx="3234">382.91742019999998</cx:pt>
          <cx:pt idx="3235">382.99447320000002</cx:pt>
          <cx:pt idx="3236">383.10902270000003</cx:pt>
          <cx:pt idx="3237">383.14651930000002</cx:pt>
          <cx:pt idx="3238">383.2235723</cx:pt>
          <cx:pt idx="3239">383.22446869999999</cx:pt>
          <cx:pt idx="3240">383.2610689</cx:pt>
          <cx:pt idx="3241">383.33812180000001</cx:pt>
          <cx:pt idx="3242">383.37561840000001</cx:pt>
          <cx:pt idx="3243">383.52764550000001</cx:pt>
          <cx:pt idx="3244">383.56514199999998</cx:pt>
          <cx:pt idx="3245">383.56544719999999</cx:pt>
          <cx:pt idx="3246">383.60471749999999</cx:pt>
          <cx:pt idx="3247">383.60590000000002</cx:pt>
          <cx:pt idx="3248">382.70901629999997</cx:pt>
          <cx:pt idx="3249">381.7749</cx:pt>
          <cx:pt idx="3250">381.91056680000003</cx:pt>
          <cx:pt idx="3251">381.9510689</cx:pt>
          <cx:pt idx="3252">382.05945860000003</cx:pt>
          <cx:pt idx="3253">382.1001708</cx:pt>
          <cx:pt idx="3254">382.11423639999998</cx:pt>
          <cx:pt idx="3255">382.14088989999999</cx:pt>
          <cx:pt idx="3256">382.15494869999998</cx:pt>
          <cx:pt idx="3257">382.16827540000003</cx:pt>
          <cx:pt idx="3258">382.18160210000002</cx:pt>
          <cx:pt idx="3259">382.35798790000001</cx:pt>
          <cx:pt idx="3260">382.38569200000001</cx:pt>
          <cx:pt idx="3261">382.53489569999999</cx:pt>
          <cx:pt idx="3262">382.54758520000001</cx:pt>
          <cx:pt idx="3263">382.58830419999998</cx:pt>
          <cx:pt idx="3264">382.6430752</cx:pt>
          <cx:pt idx="3265">382.65640200000001</cx:pt>
          <cx:pt idx="3266">382.72397100000001</cx:pt>
          <cx:pt idx="3267">382.75136329999998</cx:pt>
          <cx:pt idx="3268">382.76468319999998</cx:pt>
          <cx:pt idx="3269">382.77800989999997</cx:pt>
          <cx:pt idx="3270">382.79207550000001</cx:pt>
          <cx:pt idx="3271">382.8054022</cx:pt>
          <cx:pt idx="3272">382.83278780000001</cx:pt>
          <cx:pt idx="3273">382.90025509999998</cx:pt>
          <cx:pt idx="3274">382.96835290000001</cx:pt>
          <cx:pt idx="3275">382.98167960000001</cx:pt>
          <cx:pt idx="3276">383.00906509999999</cx:pt>
          <cx:pt idx="3277">383.02239179999998</cx:pt>
          <cx:pt idx="3278">383.02292060000002</cx:pt>
          <cx:pt idx="3279">383.03571849999997</cx:pt>
          <cx:pt idx="3280">383.10423659999998</cx:pt>
          <cx:pt idx="3281">383.29405750000001</cx:pt>
          <cx:pt idx="3282">383.3069572</cx:pt>
          <cx:pt idx="3283">383.33434269999998</cx:pt>
          <cx:pt idx="3284">383.34766939999997</cx:pt>
          <cx:pt idx="3285">383.36098939999999</cx:pt>
          <cx:pt idx="3286">383.41608580000002</cx:pt>
          <cx:pt idx="3287">383.44242059999999</cx:pt>
          <cx:pt idx="3288">383.45647939999998</cx:pt>
          <cx:pt idx="3289">383.46980619999999</cx:pt>
          <cx:pt idx="3290">383.48334299999999</cx:pt>
          <cx:pt idx="3291">383.49666300000001</cx:pt>
          <cx:pt idx="3292">383.51072850000003</cx:pt>
          <cx:pt idx="3293">383.53737519999999</cx:pt>
          <cx:pt idx="3294">383.56518779999999</cx:pt>
          <cx:pt idx="3295">383.57808740000002</cx:pt>
          <cx:pt idx="3296">383.59141410000001</cx:pt>
          <cx:pt idx="3297">383.60547969999999</cx:pt>
          <cx:pt idx="3298">383.60590000000002</cx:pt>
          <cx:pt idx="3299">383.58715530000001</cx:pt>
          <cx:pt idx="3300">383.54738200000003</cx:pt>
          <cx:pt idx="3301">383.52802700000001</cx:pt>
          <cx:pt idx="3302">383.52725909999998</cx:pt>
          <cx:pt idx="3303">383.50868179999998</cx:pt>
          <cx:pt idx="3304">383.40962259999998</cx:pt>
          <cx:pt idx="3305">383.39026760000002</cx:pt>
          <cx:pt idx="3306">383.37092239999998</cx:pt>
          <cx:pt idx="3307">383.35049429999998</cx:pt>
          <cx:pt idx="3308">383.29136590000002</cx:pt>
          <cx:pt idx="3309">383.2720109</cx:pt>
          <cx:pt idx="3310">383.03626539999999</cx:pt>
          <cx:pt idx="3311">383.01583729999999</cx:pt>
          <cx:pt idx="3312">382.97713709999999</cx:pt>
          <cx:pt idx="3313">382.95670890000002</cx:pt>
          <cx:pt idx="3314">382.93735390000001</cx:pt>
          <cx:pt idx="3315">382.93658599999998</cx:pt>
          <cx:pt idx="3316">382.89742310000003</cx:pt>
          <cx:pt idx="3317">382.87745760000001</cx:pt>
          <cx:pt idx="3318">382.83937759999998</cx:pt>
          <cx:pt idx="3319">382.79959450000001</cx:pt>
          <cx:pt idx="3320">382.75982119999998</cx:pt>
          <cx:pt idx="3321">382.70069280000001</cx:pt>
          <cx:pt idx="3322">382.66198279999998</cx:pt>
          <cx:pt idx="3323">382.64156450000002</cx:pt>
          <cx:pt idx="3324">382.62220939999997</cx:pt>
          <cx:pt idx="3325">382.6214415</cx:pt>
          <cx:pt idx="3326">382.58320400000002</cx:pt>
          <cx:pt idx="3327">382.56277590000002</cx:pt>
          <cx:pt idx="3328">382.5434209</cx:pt>
          <cx:pt idx="3329">382.52407570000003</cx:pt>
          <cx:pt idx="3330">382.5036475</cx:pt>
          <cx:pt idx="3331">382.48429249999998</cx:pt>
          <cx:pt idx="3332">382.44559229999999</cx:pt>
          <cx:pt idx="3333">382.44543479999999</cx:pt>
          <cx:pt idx="3334">382.42516419999998</cx:pt>
          <cx:pt idx="3335">382.42455380000001</cx:pt>
          <cx:pt idx="3336">382.38646390000002</cx:pt>
          <cx:pt idx="3337">382.36603580000002</cx:pt>
          <cx:pt idx="3338">382.34576520000002</cx:pt>
          <cx:pt idx="3339">382.32733560000003</cx:pt>
          <cx:pt idx="3340">382.3067499</cx:pt>
          <cx:pt idx="3341">382.24870449999997</cx:pt>
          <cx:pt idx="3342">382.22827640000003</cx:pt>
          <cx:pt idx="3343">382.20892140000001</cx:pt>
          <cx:pt idx="3344">382.18957619999998</cx:pt>
          <cx:pt idx="3345">382.14979299999999</cx:pt>
          <cx:pt idx="3346">382.13044780000001</cx:pt>
          <cx:pt idx="3347">382.05089140000001</cx:pt>
          <cx:pt idx="3348">382.01187609999999</cx:pt>
          <cx:pt idx="3349">381.95197990000003</cx:pt>
          <cx:pt idx="3350">381.93340260000002</cx:pt>
          <cx:pt idx="3351">381.9126693</cx:pt>
          <cx:pt idx="3352">381.89361939999998</cx:pt>
          <cx:pt idx="3353">381.7749</cx:pt>
          <cx:pt idx="3354">381.83382110000002</cx:pt>
          <cx:pt idx="3355">381.90322759999998</cx:pt>
          <cx:pt idx="3356">381.90848770000002</cx:pt>
          <cx:pt idx="3357">381.91930500000001</cx:pt>
          <cx:pt idx="3358">381.9245651</cx:pt>
          <cx:pt idx="3359">381.9298278</cx:pt>
          <cx:pt idx="3360">381.93538239999998</cx:pt>
          <cx:pt idx="3361">381.94064250000002</cx:pt>
          <cx:pt idx="3362">381.94590529999999</cx:pt>
          <cx:pt idx="3363">381.95125100000001</cx:pt>
          <cx:pt idx="3364">381.98340589999998</cx:pt>
          <cx:pt idx="3365">381.99442929999998</cx:pt>
          <cx:pt idx="3366">382.00503780000003</cx:pt>
          <cx:pt idx="3367">382.01556069999998</cx:pt>
          <cx:pt idx="3368">382.0424956</cx:pt>
          <cx:pt idx="3369">382.04775840000002</cx:pt>
          <cx:pt idx="3370">382.06383579999999</cx:pt>
          <cx:pt idx="3371">382.09047889999999</cx:pt>
          <cx:pt idx="3372">382.09603079999999</cx:pt>
          <cx:pt idx="3373">382.10655630000002</cx:pt>
          <cx:pt idx="3374">382.11185920000003</cx:pt>
          <cx:pt idx="3375">382.11753959999999</cx:pt>
          <cx:pt idx="3376">382.1226739</cx:pt>
          <cx:pt idx="3377">382.13328239999998</cx:pt>
          <cx:pt idx="3378">382.13875130000002</cx:pt>
          <cx:pt idx="3379">382.1548287</cx:pt>
          <cx:pt idx="3380">382.16009150000002</cx:pt>
          <cx:pt idx="3381">382.17616889999999</cx:pt>
          <cx:pt idx="3382">382.18172349999998</cx:pt>
          <cx:pt idx="3383">382.1869835</cx:pt>
          <cx:pt idx="3384">382.19232929999998</cx:pt>
          <cx:pt idx="3385">382.20314660000003</cx:pt>
          <cx:pt idx="3386">382.20840670000001</cx:pt>
          <cx:pt idx="3387">382.21366949999998</cx:pt>
          <cx:pt idx="3388">382.21893230000001</cx:pt>
          <cx:pt idx="3389">382.33677710000001</cx:pt>
          <cx:pt idx="3390">382.37427769999999</cx:pt>
          <cx:pt idx="3391">382.39561789999999</cx:pt>
          <cx:pt idx="3392">382.40129560000003</cx:pt>
          <cx:pt idx="3393">382.40643249999999</cx:pt>
          <cx:pt idx="3394">382.41169530000002</cx:pt>
          <cx:pt idx="3395">382.43307570000002</cx:pt>
          <cx:pt idx="3396">382.43863019999998</cx:pt>
          <cx:pt idx="3397">382.50302290000002</cx:pt>
          <cx:pt idx="3398">382.55096329999998</cx:pt>
          <cx:pt idx="3399">382.55121500000001</cx:pt>
          <cx:pt idx="3400">382.56704079999997</cx:pt>
          <cx:pt idx="3401">382.57785539999998</cx:pt>
          <cx:pt idx="3402">382.57798120000001</cx:pt>
          <cx:pt idx="3403">382.5883809</cx:pt>
          <cx:pt idx="3404">382.59368389999997</cx:pt>
          <cx:pt idx="3405">382.60449849999998</cx:pt>
          <cx:pt idx="3406">382.6097613</cx:pt>
          <cx:pt idx="3407">382.62057590000001</cx:pt>
          <cx:pt idx="3408">382.62583869999997</cx:pt>
          <cx:pt idx="3409">382.63139330000001</cx:pt>
          <cx:pt idx="3410">382.64747069999999</cx:pt>
          <cx:pt idx="3411">382.65273079999997</cx:pt>
          <cx:pt idx="3412">382.66354810000001</cx:pt>
          <cx:pt idx="3413">382.6688082</cx:pt>
          <cx:pt idx="3414">382.67432259999998</cx:pt>
          <cx:pt idx="3415">382.67941669999999</cx:pt>
          <cx:pt idx="3416">382.68497129999997</cx:pt>
          <cx:pt idx="3417">382.69040000000001</cx:pt>
          <cx:pt idx="3418">382.78717790000002</cx:pt>
          <cx:pt idx="3419">382.89270299999998</cx:pt>
          <cx:pt idx="3420">383.09261579999998</cx:pt>
          <cx:pt idx="3421">383.19259770000002</cx:pt>
          <cx:pt idx="3422">383.39805369999999</cx:pt>
          <cx:pt idx="3423">383.60350979999998</cx:pt>
          <cx:pt idx="3424">383.60590000000002</cx:pt>
          <cx:pt idx="3425">383.59665319999999</cx:pt>
          <cx:pt idx="3426">383.5871798</cx:pt>
          <cx:pt idx="3427">383.57710900000001</cx:pt>
          <cx:pt idx="3428">383.55816720000001</cx:pt>
          <cx:pt idx="3429">383.53907120000002</cx:pt>
          <cx:pt idx="3430">383.52922690000003</cx:pt>
          <cx:pt idx="3431">383.51975349999998</cx:pt>
          <cx:pt idx="3432">383.50028650000002</cx:pt>
          <cx:pt idx="3433">383.4808147</cx:pt>
          <cx:pt idx="3434">383.47134620000003</cx:pt>
          <cx:pt idx="3435">383.46187279999998</cx:pt>
          <cx:pt idx="3436">383.44240580000002</cx:pt>
          <cx:pt idx="3437">383.43278309999999</cx:pt>
          <cx:pt idx="3438">383.42330980000003</cx:pt>
          <cx:pt idx="3439">383.39436949999998</cx:pt>
          <cx:pt idx="3440">383.3749024</cx:pt>
          <cx:pt idx="3441">383.3559558</cx:pt>
          <cx:pt idx="3442">383.33648879999998</cx:pt>
          <cx:pt idx="3443">383.30754839999997</cx:pt>
          <cx:pt idx="3444">383.24959059999998</cx:pt>
          <cx:pt idx="3445">383.21118180000002</cx:pt>
          <cx:pt idx="3446">383.19170989999998</cx:pt>
          <cx:pt idx="3447">383.17276809999998</cx:pt>
          <cx:pt idx="3448">383.16276959999999</cx:pt>
          <cx:pt idx="3449">383.12420650000001</cx:pt>
          <cx:pt idx="3450">383.11473799999999</cx:pt>
          <cx:pt idx="3451">383.07632430000001</cx:pt>
          <cx:pt idx="3452">383.06685099999999</cx:pt>
          <cx:pt idx="3453">383.01844360000001</cx:pt>
          <cx:pt idx="3454">382.99889949999999</cx:pt>
          <cx:pt idx="3455">382.96048580000001</cx:pt>
          <cx:pt idx="3456">382.93154550000003</cx:pt>
          <cx:pt idx="3457">382.922077</cx:pt>
          <cx:pt idx="3458">382.90260510000002</cx:pt>
          <cx:pt idx="3459">382.89313659999999</cx:pt>
          <cx:pt idx="3460">382.87366479999997</cx:pt>
          <cx:pt idx="3461">382.84510030000001</cx:pt>
          <cx:pt idx="3462">382.82563329999999</cx:pt>
          <cx:pt idx="3463">382.8161599</cx:pt>
          <cx:pt idx="3464">382.80616140000001</cx:pt>
          <cx:pt idx="3465">382.7582792</cx:pt>
          <cx:pt idx="3466">382.71986559999999</cx:pt>
          <cx:pt idx="3467">382.71024770000002</cx:pt>
          <cx:pt idx="3468">382.69077579999998</cx:pt>
          <cx:pt idx="3469">382.69040000000001</cx:pt>
          <cx:pt idx="3470">382.69040000000001</cx:pt>
          <cx:pt idx="3471">382.69040000000001</cx:pt>
          <cx:pt idx="3472">382.69040000000001</cx:pt>
          <cx:pt idx="3473">382.69040000000001</cx:pt>
          <cx:pt idx="3474">382.69040000000001</cx:pt>
          <cx:pt idx="3475">382.69040000000001</cx:pt>
          <cx:pt idx="3476">382.69040000000001</cx:pt>
          <cx:pt idx="3477">382.69040000000001</cx:pt>
          <cx:pt idx="3478">382.69040000000001</cx:pt>
          <cx:pt idx="3479">382.69040000000001</cx:pt>
          <cx:pt idx="3480">382.69040000000001</cx:pt>
          <cx:pt idx="3481">382.69040000000001</cx:pt>
          <cx:pt idx="3482">382.69040000000001</cx:pt>
          <cx:pt idx="3483">382.69040000000001</cx:pt>
          <cx:pt idx="3484">382.69040000000001</cx:pt>
          <cx:pt idx="3485">382.69040000000001</cx:pt>
          <cx:pt idx="3486">382.69040000000001</cx:pt>
          <cx:pt idx="3487">382.69040000000001</cx:pt>
          <cx:pt idx="3488">382.69040000000001</cx:pt>
          <cx:pt idx="3489">382.71992690000002</cx:pt>
          <cx:pt idx="3490">382.72087299999998</cx:pt>
          <cx:pt idx="3491">382.74991169999998</cx:pt>
          <cx:pt idx="3492">382.81180380000001</cx:pt>
          <cx:pt idx="3493">382.84180370000001</cx:pt>
          <cx:pt idx="3494">382.87178849999998</cx:pt>
          <cx:pt idx="3495">382.96343639999998</cx:pt>
          <cx:pt idx="3496">383.08674760000002</cx:pt>
          <cx:pt idx="3497">383.5449873</cx:pt>
          <cx:pt idx="3498">383.78732179999997</cx:pt>
          <cx:pt idx="3499">384.03322700000001</cx:pt>
          <cx:pt idx="3500">384.52171079999999</cx:pt>
          <cx:pt idx="3501">384.55193969999999</cx:pt>
          <cx:pt idx="3502">384.70285510000002</cx:pt>
          <cx:pt idx="3503">385.31487900000002</cx:pt>
          <cx:pt idx="3504">385.43700000000001</cx:pt>
          <cx:pt idx="3505">381.7749</cx:pt>
          <cx:pt idx="3506">381.7945555</cx:pt>
          <cx:pt idx="3507">381.85724900000002</cx:pt>
          <cx:pt idx="3508">381.87770610000001</cx:pt>
          <cx:pt idx="3509">381.94023299999998</cx:pt>
          <cx:pt idx="3510">382.00276000000002</cx:pt>
          <cx:pt idx="3511">382.02436219999998</cx:pt>
          <cx:pt idx="3512">382.06528689999999</cx:pt>
          <cx:pt idx="3513">382.10735670000003</cx:pt>
          <cx:pt idx="3514">382.14844790000001</cx:pt>
          <cx:pt idx="3515">382.19050729999998</cx:pt>
          <cx:pt idx="3516">382.23257710000001</cx:pt>
          <cx:pt idx="3517">382.2530342</cx:pt>
          <cx:pt idx="3518">382.37825470000001</cx:pt>
          <cx:pt idx="3519">382.4191793</cx:pt>
          <cx:pt idx="3520">382.44094819999998</cx:pt>
          <cx:pt idx="3521">382.48187280000002</cx:pt>
          <cx:pt idx="3522">382.54439969999999</cx:pt>
          <cx:pt idx="3523">382.56485679999997</cx:pt>
          <cx:pt idx="3524">382.62738380000002</cx:pt>
          <cx:pt idx="3525">382.6694536</cx:pt>
          <cx:pt idx="3526">382.71151300000002</cx:pt>
          <cx:pt idx="3527">382.73262599999998</cx:pt>
          <cx:pt idx="3528">382.75260420000001</cx:pt>
          <cx:pt idx="3529">382.94084090000001</cx:pt>
          <cx:pt idx="3530">382.96162070000003</cx:pt>
          <cx:pt idx="3531">383.377228</cx:pt>
          <cx:pt idx="3532">383.60590000000002</cx:pt>
          <cx:pt idx="3533">383.60590000000002</cx:pt>
          <cx:pt idx="3534">383.60590000000002</cx:pt>
          <cx:pt idx="3535">383.60590000000002</cx:pt>
          <cx:pt idx="3536">383.60590000000002</cx:pt>
          <cx:pt idx="3537">383.60590000000002</cx:pt>
          <cx:pt idx="3538">383.60590000000002</cx:pt>
          <cx:pt idx="3539">383.60590000000002</cx:pt>
          <cx:pt idx="3540">383.60590000000002</cx:pt>
          <cx:pt idx="3541">383.60590000000002</cx:pt>
          <cx:pt idx="3542">383.60590000000002</cx:pt>
          <cx:pt idx="3543">383.60590000000002</cx:pt>
          <cx:pt idx="3544">383.60590000000002</cx:pt>
          <cx:pt idx="3545">383.60590000000002</cx:pt>
          <cx:pt idx="3546">383.60590000000002</cx:pt>
          <cx:pt idx="3547">383.60590000000002</cx:pt>
          <cx:pt idx="3548">383.60590000000002</cx:pt>
          <cx:pt idx="3549">383.60590000000002</cx:pt>
          <cx:pt idx="3550">383.60590000000002</cx:pt>
          <cx:pt idx="3551">383.60590000000002</cx:pt>
          <cx:pt idx="3552">383.60590000000002</cx:pt>
          <cx:pt idx="3553">383.60590000000002</cx:pt>
          <cx:pt idx="3554">383.60590000000002</cx:pt>
          <cx:pt idx="3555">383.60590000000002</cx:pt>
          <cx:pt idx="3556">383.60590000000002</cx:pt>
          <cx:pt idx="3557">383.60590000000002</cx:pt>
          <cx:pt idx="3558">383.60590000000002</cx:pt>
          <cx:pt idx="3559">383.60590000000002</cx:pt>
          <cx:pt idx="3560">383.60590000000002</cx:pt>
          <cx:pt idx="3561">383.60590000000002</cx:pt>
          <cx:pt idx="3562">383.60590000000002</cx:pt>
          <cx:pt idx="3563">383.60590000000002</cx:pt>
          <cx:pt idx="3564">383.60590000000002</cx:pt>
          <cx:pt idx="3565">383.60590000000002</cx:pt>
          <cx:pt idx="3566">383.13175819999998</cx:pt>
          <cx:pt idx="3567">383.06510609999998</cx:pt>
          <cx:pt idx="3568">382.92971690000002</cx:pt>
          <cx:pt idx="3569">382.86123409999999</cx:pt>
          <cx:pt idx="3570">382.79273430000001</cx:pt>
          <cx:pt idx="3571">382.72609920000002</cx:pt>
          <cx:pt idx="3572">382.69092549999999</cx:pt>
          <cx:pt idx="3573">382.69040000000001</cx:pt>
          <cx:pt idx="3574">382.71895999999998</cx:pt>
          <cx:pt idx="3575">382.71989029999997</cx:pt>
          <cx:pt idx="3576">382.7786347</cx:pt>
          <cx:pt idx="3577">382.83692129999997</cx:pt>
          <cx:pt idx="3578">382.8380732</cx:pt>
          <cx:pt idx="3579">383.33889210000001</cx:pt>
          <cx:pt idx="3580">383.36792459999998</cx:pt>
          <cx:pt idx="3581">383.45661719999998</cx:pt>
          <cx:pt idx="3582">383.51627710000002</cx:pt>
          <cx:pt idx="3583">383.54530970000002</cx:pt>
          <cx:pt idx="3584">383.57595190000001</cx:pt>
          <cx:pt idx="3585">383.60496970000003</cx:pt>
          <cx:pt idx="3586">383.60590000000002</cx:pt>
          <cx:pt idx="3587">383.60211170000002</cx:pt>
          <cx:pt idx="3588">383.58201969999999</cx:pt>
          <cx:pt idx="3589">383.54639830000002</cx:pt>
          <cx:pt idx="3590">383.5422059</cx:pt>
          <cx:pt idx="3591">383.4984187</cx:pt>
          <cx:pt idx="3592">383.48255089999998</cx:pt>
          <cx:pt idx="3593">383.44286260000001</cx:pt>
          <cx:pt idx="3594">383.43071939999999</cx:pt>
          <cx:pt idx="3595">383.39901170000002</cx:pt>
          <cx:pt idx="3596">383.39488299999999</cx:pt>
          <cx:pt idx="3597">383.39485109999998</cx:pt>
          <cx:pt idx="3598">383.39096929999999</cx:pt>
          <cx:pt idx="3599">383.3870556</cx:pt>
          <cx:pt idx="3600">383.38693219999999</cx:pt>
          <cx:pt idx="3601">383.37901319999997</cx:pt>
          <cx:pt idx="3602">383.3433301</cx:pt>
          <cx:pt idx="3603">383.31128200000001</cx:pt>
          <cx:pt idx="3604">383.3033949</cx:pt>
          <cx:pt idx="3605">383.2994812</cx:pt>
          <cx:pt idx="3606">383.2955675</cx:pt>
          <cx:pt idx="3607">383.18389580000002</cx:pt>
          <cx:pt idx="3608">383.17613210000002</cx:pt>
          <cx:pt idx="3609">383.1719377</cx:pt>
          <cx:pt idx="3610">383.1281505</cx:pt>
          <cx:pt idx="3611">383.08455049999998</cx:pt>
          <cx:pt idx="3612">383.04054430000002</cx:pt>
          <cx:pt idx="3613">383.03657090000002</cx:pt>
          <cx:pt idx="3614">382.98880830000002</cx:pt>
          <cx:pt idx="3615">382.94899450000003</cx:pt>
          <cx:pt idx="3616">382.94502110000002</cx:pt>
          <cx:pt idx="3617">382.94116910000002</cx:pt>
          <cx:pt idx="3618">382.93318840000001</cx:pt>
          <cx:pt idx="3619">382.92927470000001</cx:pt>
          <cx:pt idx="3620">382.92123229999999</cx:pt>
          <cx:pt idx="3621">382.91706979999998</cx:pt>
          <cx:pt idx="3622">382.91318799999999</cx:pt>
          <cx:pt idx="3623">382.90927629999999</cx:pt>
          <cx:pt idx="3624">382.90918269999997</cx:pt>
          <cx:pt idx="3625">382.90123190000003</cx:pt>
          <cx:pt idx="3626">382.89340650000003</cx:pt>
          <cx:pt idx="3627">382.8853641</cx:pt>
          <cx:pt idx="3628">382.86949429999999</cx:pt>
          <cx:pt idx="3629">382.86145199999999</cx:pt>
          <cx:pt idx="3630">382.85350110000002</cx:pt>
          <cx:pt idx="3631">382.84958740000002</cx:pt>
          <cx:pt idx="3632">382.84154510000002</cx:pt>
          <cx:pt idx="3633">382.81375109999999</cx:pt>
          <cx:pt idx="3634">382.80983739999999</cx:pt>
          <cx:pt idx="3635">382.80570870000003</cx:pt>
          <cx:pt idx="3636">382.80166960000003</cx:pt>
          <cx:pt idx="3637">382.7976324</cx:pt>
          <cx:pt idx="3638">382.78983890000001</cx:pt>
          <cx:pt idx="3639">382.78179449999999</cx:pt>
          <cx:pt idx="3640">382.77788279999999</cx:pt>
          <cx:pt idx="3641">382.7700256</cx:pt>
          <cx:pt idx="3642">382.76589489999998</cx:pt>
          <cx:pt idx="3643">382.75393880000001</cx:pt>
          <cx:pt idx="3644">382.74198269999999</cx:pt>
          <cx:pt idx="3645">382.7340638</cx:pt>
          <cx:pt idx="3646">382.7262384</cx:pt>
          <cx:pt idx="3647">382.72210769999998</cx:pt>
          <cx:pt idx="3648">382.71422059999998</cx:pt>
          <cx:pt idx="3649">382.71030689999998</cx:pt>
          <cx:pt idx="3650">382.70617620000002</cx:pt>
          <cx:pt idx="3651">382.70611450000001</cx:pt>
          <cx:pt idx="3652">382.69816370000001</cx:pt>
          <cx:pt idx="3653">382.69431370000001</cx:pt>
          <cx:pt idx="3654">382.69040000000001</cx:pt>
          <cx:pt idx="3655">380.85939999999999</cx:pt>
          <cx:pt idx="3656">384.5215</cx:pt>
          <cx:pt idx="3657">382.69211610000002</cx:pt>
          <cx:pt idx="3658">382.69040000000001</cx:pt>
          <cx:pt idx="3659">382.69040000000001</cx:pt>
          <cx:pt idx="3660">382.69040000000001</cx:pt>
          <cx:pt idx="3661">382.69040000000001</cx:pt>
          <cx:pt idx="3662">382.69040000000001</cx:pt>
          <cx:pt idx="3663">382.69040000000001</cx:pt>
          <cx:pt idx="3664">382.69040000000001</cx:pt>
          <cx:pt idx="3665">382.69040000000001</cx:pt>
          <cx:pt idx="3666">382.69040000000001</cx:pt>
          <cx:pt idx="3667">382.69040000000001</cx:pt>
          <cx:pt idx="3668">382.69040000000001</cx:pt>
          <cx:pt idx="3669">382.69040000000001</cx:pt>
          <cx:pt idx="3670">382.69040000000001</cx:pt>
          <cx:pt idx="3671">382.69040000000001</cx:pt>
          <cx:pt idx="3672">382.69040000000001</cx:pt>
          <cx:pt idx="3673">382.69040000000001</cx:pt>
          <cx:pt idx="3674">382.69040000000001</cx:pt>
          <cx:pt idx="3675">382.69040000000001</cx:pt>
          <cx:pt idx="3676">382.69040000000001</cx:pt>
          <cx:pt idx="3677">382.69040000000001</cx:pt>
          <cx:pt idx="3678">382.69040000000001</cx:pt>
          <cx:pt idx="3679">382.69040000000001</cx:pt>
          <cx:pt idx="3680">382.69040000000001</cx:pt>
          <cx:pt idx="3681">382.69040000000001</cx:pt>
          <cx:pt idx="3682">382.69040000000001</cx:pt>
          <cx:pt idx="3683">382.69040000000001</cx:pt>
          <cx:pt idx="3684">382.69040000000001</cx:pt>
          <cx:pt idx="3685">382.69040000000001</cx:pt>
          <cx:pt idx="3686">382.69040000000001</cx:pt>
          <cx:pt idx="3687">382.69040000000001</cx:pt>
          <cx:pt idx="3688">382.69040000000001</cx:pt>
          <cx:pt idx="3689">382.69040000000001</cx:pt>
          <cx:pt idx="3690">382.69040000000001</cx:pt>
          <cx:pt idx="3691">382.69040000000001</cx:pt>
          <cx:pt idx="3692">382.69040000000001</cx:pt>
          <cx:pt idx="3693">382.69040000000001</cx:pt>
          <cx:pt idx="3694">382.69040000000001</cx:pt>
          <cx:pt idx="3695">382.69040000000001</cx:pt>
          <cx:pt idx="3696">382.69040000000001</cx:pt>
          <cx:pt idx="3697">382.69040000000001</cx:pt>
          <cx:pt idx="3698">382.69040000000001</cx:pt>
          <cx:pt idx="3699">382.69040000000001</cx:pt>
          <cx:pt idx="3700">382.69040000000001</cx:pt>
          <cx:pt idx="3701">382.69040000000001</cx:pt>
          <cx:pt idx="3702">382.69040000000001</cx:pt>
          <cx:pt idx="3703">382.69040000000001</cx:pt>
          <cx:pt idx="3704">382.69040000000001</cx:pt>
          <cx:pt idx="3705">382.69040000000001</cx:pt>
          <cx:pt idx="3706">382.69040000000001</cx:pt>
          <cx:pt idx="3707">382.69040000000001</cx:pt>
          <cx:pt idx="3708">382.69040000000001</cx:pt>
          <cx:pt idx="3709">382.69040000000001</cx:pt>
          <cx:pt idx="3710">382.69040000000001</cx:pt>
          <cx:pt idx="3711">382.69040000000001</cx:pt>
          <cx:pt idx="3712">382.69040000000001</cx:pt>
          <cx:pt idx="3713">382.69040000000001</cx:pt>
          <cx:pt idx="3714">382.69040000000001</cx:pt>
          <cx:pt idx="3715">382.69040000000001</cx:pt>
          <cx:pt idx="3716">382.69040000000001</cx:pt>
          <cx:pt idx="3717">382.69040000000001</cx:pt>
          <cx:pt idx="3718">382.69040000000001</cx:pt>
          <cx:pt idx="3719">382.67566499999998</cx:pt>
          <cx:pt idx="3720">382.57410429999999</cx:pt>
          <cx:pt idx="3721">382.42936309999999</cx:pt>
          <cx:pt idx="3722">382.40000220000002</cx:pt>
          <cx:pt idx="3723">382.39977699999997</cx:pt>
          <cx:pt idx="3724">382.38526719999999</cx:pt>
          <cx:pt idx="3725">382.37121530000002</cx:pt>
          <cx:pt idx="3726">382.2985577</cx:pt>
          <cx:pt idx="3727">382.269204</cx:pt>
          <cx:pt idx="3728">382.21128140000002</cx:pt>
          <cx:pt idx="3729">382.18192770000002</cx:pt>
          <cx:pt idx="3730">381.92020789999998</cx:pt>
          <cx:pt idx="3731">381.81898860000001</cx:pt>
          <cx:pt idx="3732">381.81842189999998</cx:pt>
          <cx:pt idx="3733">381.8038032</cx:pt>
          <cx:pt idx="3734">381.78963499999998</cx:pt>
          <cx:pt idx="3735">381.7749</cx:pt>
          <cx:pt idx="3736">382.1952915</cx:pt>
          <cx:pt idx="3737">382.6124069</cx:pt>
          <cx:pt idx="3738">382.8316911</cx:pt>
          <cx:pt idx="3739">383.03945620000002</cx:pt>
          <cx:pt idx="3740">383.45488080000001</cx:pt>
          <cx:pt idx="3741">383.67416489999999</cx:pt>
          <cx:pt idx="3742">384.31045879999999</cx:pt>
          <cx:pt idx="3743">384.5215</cx:pt>
          <cx:pt idx="3744">382.03700090000001</cx:pt>
          <cx:pt idx="3745">381.7749</cx:pt>
          <cx:pt idx="3746">382.68756200000001</cx:pt>
          <cx:pt idx="3747">382.69040000000001</cx:pt>
          <cx:pt idx="3748">382.72974959999999</cx:pt>
          <cx:pt idx="3749">382.73103140000001</cx:pt>
          <cx:pt idx="3750">382.7697503</cx:pt>
          <cx:pt idx="3751">382.81196870000002</cx:pt>
          <cx:pt idx="3752">382.97321269999998</cx:pt>
          <cx:pt idx="3753">383.13793579999998</cx:pt>
          <cx:pt idx="3754">383.17793649999999</cx:pt>
          <cx:pt idx="3755">383.29917970000002</cx:pt>
          <cx:pt idx="3756">383.38137840000002</cx:pt>
          <cx:pt idx="3757">383.38202949999999</cx:pt>
          <cx:pt idx="3758">383.42137910000002</cx:pt>
          <cx:pt idx="3759">383.46390280000003</cx:pt>
          <cx:pt idx="3760">383.50357789999998</cx:pt>
          <cx:pt idx="3761">383.54484009999999</cx:pt>
          <cx:pt idx="3762">383.62610289999998</cx:pt>
          <cx:pt idx="3763">383.70608399999998</cx:pt>
          <cx:pt idx="3764">383.78830310000001</cx:pt>
          <cx:pt idx="3765">383.8282835</cx:pt>
          <cx:pt idx="3766">383.91050259999997</cx:pt>
          <cx:pt idx="3767">383.9504829</cx:pt>
          <cx:pt idx="3768">384.15520679999997</cx:pt>
          <cx:pt idx="3769">384.48086860000001</cx:pt>
          <cx:pt idx="3770">384.5215</cx:pt>
          <cx:pt idx="3771">383.60590000000002</cx:pt>
          <cx:pt idx="3772">383.60590000000002</cx:pt>
          <cx:pt idx="3773">383.60590000000002</cx:pt>
          <cx:pt idx="3774">383.60590000000002</cx:pt>
          <cx:pt idx="3775">383.60590000000002</cx:pt>
          <cx:pt idx="3776">383.60590000000002</cx:pt>
          <cx:pt idx="3777">383.60590000000002</cx:pt>
          <cx:pt idx="3778">383.60590000000002</cx:pt>
          <cx:pt idx="3779">383.60590000000002</cx:pt>
          <cx:pt idx="3780">383.60590000000002</cx:pt>
          <cx:pt idx="3781">383.60590000000002</cx:pt>
          <cx:pt idx="3782">383.60590000000002</cx:pt>
          <cx:pt idx="3783">383.60590000000002</cx:pt>
          <cx:pt idx="3784">383.60590000000002</cx:pt>
          <cx:pt idx="3785">383.60590000000002</cx:pt>
          <cx:pt idx="3786">383.60590000000002</cx:pt>
          <cx:pt idx="3787">383.60590000000002</cx:pt>
          <cx:pt idx="3788">383.60590000000002</cx:pt>
          <cx:pt idx="3789">383.60590000000002</cx:pt>
          <cx:pt idx="3790">383.60590000000002</cx:pt>
          <cx:pt idx="3791">383.60590000000002</cx:pt>
          <cx:pt idx="3792">383.60590000000002</cx:pt>
          <cx:pt idx="3793">383.60590000000002</cx:pt>
          <cx:pt idx="3794">383.60590000000002</cx:pt>
          <cx:pt idx="3795">383.60590000000002</cx:pt>
          <cx:pt idx="3796">383.60590000000002</cx:pt>
          <cx:pt idx="3797">383.60590000000002</cx:pt>
          <cx:pt idx="3798">383.60590000000002</cx:pt>
          <cx:pt idx="3799">383.60590000000002</cx:pt>
          <cx:pt idx="3800">383.06751309999999</cx:pt>
          <cx:pt idx="3801">381.88327729999997</cx:pt>
          <cx:pt idx="3802">381.7749</cx:pt>
          <cx:pt idx="3803">384.5215</cx:pt>
          <cx:pt idx="3804">380.85939999999999</cx:pt>
          <cx:pt idx="3805">381.45006130000002</cx:pt>
          <cx:pt idx="3806">384.5215</cx:pt>
          <cx:pt idx="3807">384.5215</cx:pt>
          <cx:pt idx="3808">384.5215</cx:pt>
          <cx:pt idx="3809">384.5215</cx:pt>
          <cx:pt idx="3810">382.69040000000001</cx:pt>
          <cx:pt idx="3811">382.69040000000001</cx:pt>
          <cx:pt idx="3812">382.69040000000001</cx:pt>
          <cx:pt idx="3813">382.69040000000001</cx:pt>
          <cx:pt idx="3814">382.69040000000001</cx:pt>
          <cx:pt idx="3815">382.69040000000001</cx:pt>
          <cx:pt idx="3816">382.69040000000001</cx:pt>
          <cx:pt idx="3817">382.69040000000001</cx:pt>
          <cx:pt idx="3818">382.69040000000001</cx:pt>
          <cx:pt idx="3819">382.69040000000001</cx:pt>
          <cx:pt idx="3820">382.69040000000001</cx:pt>
          <cx:pt idx="3821">382.69040000000001</cx:pt>
          <cx:pt idx="3822">382.69040000000001</cx:pt>
          <cx:pt idx="3823">382.69040000000001</cx:pt>
          <cx:pt idx="3824">382.69040000000001</cx:pt>
          <cx:pt idx="3825">382.69040000000001</cx:pt>
          <cx:pt idx="3826">382.69040000000001</cx:pt>
          <cx:pt idx="3827">382.69040000000001</cx:pt>
          <cx:pt idx="3828">382.69040000000001</cx:pt>
          <cx:pt idx="3829">382.69040000000001</cx:pt>
          <cx:pt idx="3830">382.69040000000001</cx:pt>
          <cx:pt idx="3831">382.69040000000001</cx:pt>
          <cx:pt idx="3832">382.69040000000001</cx:pt>
          <cx:pt idx="3833">382.69040000000001</cx:pt>
          <cx:pt idx="3834">382.69040000000001</cx:pt>
          <cx:pt idx="3835">382.69040000000001</cx:pt>
          <cx:pt idx="3836">382.69040000000001</cx:pt>
          <cx:pt idx="3837">382.69040000000001</cx:pt>
          <cx:pt idx="3838">382.69040000000001</cx:pt>
          <cx:pt idx="3839">382.69040000000001</cx:pt>
          <cx:pt idx="3840">382.69040000000001</cx:pt>
          <cx:pt idx="3841">382.69040000000001</cx:pt>
          <cx:pt idx="3842">382.69040000000001</cx:pt>
          <cx:pt idx="3843">382.69040000000001</cx:pt>
          <cx:pt idx="3844">382.69040000000001</cx:pt>
          <cx:pt idx="3845">382.69040000000001</cx:pt>
          <cx:pt idx="3846">382.69040000000001</cx:pt>
          <cx:pt idx="3847">382.69040000000001</cx:pt>
          <cx:pt idx="3848">382.69040000000001</cx:pt>
          <cx:pt idx="3849">382.69040000000001</cx:pt>
          <cx:pt idx="3850">382.69040000000001</cx:pt>
          <cx:pt idx="3851">382.69040000000001</cx:pt>
          <cx:pt idx="3852">382.69040000000001</cx:pt>
          <cx:pt idx="3853">382.69040000000001</cx:pt>
          <cx:pt idx="3854">382.69040000000001</cx:pt>
          <cx:pt idx="3855">382.69040000000001</cx:pt>
          <cx:pt idx="3856">382.69040000000001</cx:pt>
          <cx:pt idx="3857">382.69040000000001</cx:pt>
          <cx:pt idx="3858">382.69040000000001</cx:pt>
          <cx:pt idx="3859">382.69040000000001</cx:pt>
          <cx:pt idx="3860">382.69040000000001</cx:pt>
          <cx:pt idx="3861">382.69040000000001</cx:pt>
          <cx:pt idx="3862">382.69040000000001</cx:pt>
          <cx:pt idx="3863">382.69040000000001</cx:pt>
          <cx:pt idx="3864">382.69040000000001</cx:pt>
          <cx:pt idx="3865">382.69040000000001</cx:pt>
          <cx:pt idx="3866">382.69040000000001</cx:pt>
          <cx:pt idx="3867">382.69040000000001</cx:pt>
          <cx:pt idx="3868">382.69040000000001</cx:pt>
          <cx:pt idx="3869">380.85939999999999</cx:pt>
          <cx:pt idx="3870">382.69040000000001</cx:pt>
          <cx:pt idx="3871">382.69040000000001</cx:pt>
          <cx:pt idx="3872">382.69040000000001</cx:pt>
          <cx:pt idx="3873">382.69040000000001</cx:pt>
          <cx:pt idx="3874">382.69040000000001</cx:pt>
          <cx:pt idx="3875">382.69040000000001</cx:pt>
          <cx:pt idx="3876">382.69040000000001</cx:pt>
          <cx:pt idx="3877">382.69040000000001</cx:pt>
          <cx:pt idx="3878">382.69040000000001</cx:pt>
          <cx:pt idx="3879">382.69040000000001</cx:pt>
          <cx:pt idx="3880">382.69040000000001</cx:pt>
          <cx:pt idx="3881">382.69040000000001</cx:pt>
          <cx:pt idx="3882">382.69040000000001</cx:pt>
          <cx:pt idx="3883">382.69040000000001</cx:pt>
          <cx:pt idx="3884">382.69040000000001</cx:pt>
          <cx:pt idx="3885">382.69040000000001</cx:pt>
          <cx:pt idx="3886">382.69040000000001</cx:pt>
          <cx:pt idx="3887">382.69040000000001</cx:pt>
          <cx:pt idx="3888">382.69040000000001</cx:pt>
          <cx:pt idx="3889">382.69040000000001</cx:pt>
          <cx:pt idx="3890">382.69040000000001</cx:pt>
          <cx:pt idx="3891">382.69040000000001</cx:pt>
          <cx:pt idx="3892">382.69040000000001</cx:pt>
          <cx:pt idx="3893">382.69040000000001</cx:pt>
          <cx:pt idx="3894">382.69040000000001</cx:pt>
          <cx:pt idx="3895">382.69040000000001</cx:pt>
          <cx:pt idx="3896">382.69040000000001</cx:pt>
          <cx:pt idx="3897">382.69040000000001</cx:pt>
          <cx:pt idx="3898">382.69040000000001</cx:pt>
          <cx:pt idx="3899">382.69040000000001</cx:pt>
          <cx:pt idx="3900">382.69040000000001</cx:pt>
          <cx:pt idx="3901">382.69040000000001</cx:pt>
          <cx:pt idx="3902">382.69040000000001</cx:pt>
          <cx:pt idx="3903">382.69040000000001</cx:pt>
          <cx:pt idx="3904">382.69040000000001</cx:pt>
          <cx:pt idx="3905">382.69040000000001</cx:pt>
          <cx:pt idx="3906">382.69040000000001</cx:pt>
          <cx:pt idx="3907">382.69040000000001</cx:pt>
          <cx:pt idx="3908">382.69040000000001</cx:pt>
          <cx:pt idx="3909">382.69040000000001</cx:pt>
          <cx:pt idx="3910">382.69040000000001</cx:pt>
          <cx:pt idx="3911">382.69040000000001</cx:pt>
          <cx:pt idx="3912">382.69040000000001</cx:pt>
          <cx:pt idx="3913">382.69040000000001</cx:pt>
          <cx:pt idx="3914">382.69040000000001</cx:pt>
          <cx:pt idx="3915">382.69040000000001</cx:pt>
          <cx:pt idx="3916">382.69040000000001</cx:pt>
          <cx:pt idx="3917">382.69040000000001</cx:pt>
          <cx:pt idx="3918">382.69040000000001</cx:pt>
          <cx:pt idx="3919">382.69040000000001</cx:pt>
          <cx:pt idx="3920">382.69040000000001</cx:pt>
          <cx:pt idx="3921">382.69040000000001</cx:pt>
          <cx:pt idx="3922">382.69040000000001</cx:pt>
          <cx:pt idx="3923">382.69040000000001</cx:pt>
          <cx:pt idx="3924">382.69040000000001</cx:pt>
          <cx:pt idx="3925">382.69040000000001</cx:pt>
          <cx:pt idx="3926">382.69040000000001</cx:pt>
          <cx:pt idx="3927">382.69040000000001</cx:pt>
          <cx:pt idx="3928">382.69040000000001</cx:pt>
          <cx:pt idx="3929">382.69040000000001</cx:pt>
          <cx:pt idx="3930">382.69040000000001</cx:pt>
          <cx:pt idx="3931">382.69040000000001</cx:pt>
          <cx:pt idx="3932">382.69040000000001</cx:pt>
          <cx:pt idx="3933">382.69040000000001</cx:pt>
          <cx:pt idx="3934">382.69040000000001</cx:pt>
          <cx:pt idx="3935">382.69040000000001</cx:pt>
          <cx:pt idx="3936">382.69040000000001</cx:pt>
          <cx:pt idx="3937">382.69040000000001</cx:pt>
          <cx:pt idx="3938">382.69040000000001</cx:pt>
          <cx:pt idx="3939">382.69040000000001</cx:pt>
          <cx:pt idx="3940">382.69040000000001</cx:pt>
          <cx:pt idx="3941">382.69040000000001</cx:pt>
          <cx:pt idx="3942">382.69040000000001</cx:pt>
          <cx:pt idx="3943">382.69040000000001</cx:pt>
          <cx:pt idx="3944">382.69040000000001</cx:pt>
          <cx:pt idx="3945">382.69040000000001</cx:pt>
          <cx:pt idx="3946">382.69040000000001</cx:pt>
          <cx:pt idx="3947">382.69040000000001</cx:pt>
          <cx:pt idx="3948">382.69040000000001</cx:pt>
          <cx:pt idx="3949">382.69040000000001</cx:pt>
          <cx:pt idx="3950">382.69040000000001</cx:pt>
          <cx:pt idx="3951">382.69040000000001</cx:pt>
          <cx:pt idx="3952">382.69040000000001</cx:pt>
          <cx:pt idx="3953">382.69040000000001</cx:pt>
          <cx:pt idx="3954">382.69040000000001</cx:pt>
          <cx:pt idx="3955">382.69040000000001</cx:pt>
          <cx:pt idx="3956">382.69040000000001</cx:pt>
          <cx:pt idx="3957">382.69040000000001</cx:pt>
          <cx:pt idx="3958">382.69040000000001</cx:pt>
          <cx:pt idx="3959">382.69040000000001</cx:pt>
          <cx:pt idx="3960">382.69040000000001</cx:pt>
          <cx:pt idx="3961">382.69040000000001</cx:pt>
          <cx:pt idx="3962">382.69040000000001</cx:pt>
          <cx:pt idx="3963">382.69040000000001</cx:pt>
          <cx:pt idx="3964">382.69040000000001</cx:pt>
          <cx:pt idx="3965">382.69040000000001</cx:pt>
          <cx:pt idx="3966">382.69040000000001</cx:pt>
          <cx:pt idx="3967">382.69040000000001</cx:pt>
          <cx:pt idx="3968">382.69040000000001</cx:pt>
          <cx:pt idx="3969">382.69040000000001</cx:pt>
          <cx:pt idx="3970">382.69040000000001</cx:pt>
          <cx:pt idx="3971">382.69040000000001</cx:pt>
          <cx:pt idx="3972">382.69040000000001</cx:pt>
          <cx:pt idx="3973">382.69040000000001</cx:pt>
          <cx:pt idx="3974">382.69040000000001</cx:pt>
          <cx:pt idx="3975">382.69040000000001</cx:pt>
          <cx:pt idx="3976">382.69040000000001</cx:pt>
          <cx:pt idx="3977">382.69040000000001</cx:pt>
          <cx:pt idx="3978">382.69040000000001</cx:pt>
          <cx:pt idx="3979">382.69040000000001</cx:pt>
          <cx:pt idx="3980">382.69040000000001</cx:pt>
          <cx:pt idx="3981">382.69040000000001</cx:pt>
          <cx:pt idx="3982">382.69040000000001</cx:pt>
          <cx:pt idx="3983">382.69040000000001</cx:pt>
          <cx:pt idx="3984">382.69040000000001</cx:pt>
          <cx:pt idx="3985">382.69040000000001</cx:pt>
          <cx:pt idx="3986">382.69040000000001</cx:pt>
          <cx:pt idx="3987">382.69040000000001</cx:pt>
          <cx:pt idx="3988">382.69040000000001</cx:pt>
          <cx:pt idx="3989">382.69040000000001</cx:pt>
          <cx:pt idx="3990">382.69040000000001</cx:pt>
          <cx:pt idx="3991">382.69040000000001</cx:pt>
          <cx:pt idx="3992">382.69040000000001</cx:pt>
          <cx:pt idx="3993">382.69040000000001</cx:pt>
          <cx:pt idx="3994">382.69040000000001</cx:pt>
          <cx:pt idx="3995">382.69040000000001</cx:pt>
          <cx:pt idx="3996">382.69040000000001</cx:pt>
          <cx:pt idx="3997">382.69040000000001</cx:pt>
          <cx:pt idx="3998">382.69040000000001</cx:pt>
          <cx:pt idx="3999">382.69040000000001</cx:pt>
          <cx:pt idx="4000">382.69040000000001</cx:pt>
          <cx:pt idx="4001">382.69040000000001</cx:pt>
          <cx:pt idx="4002">382.69040000000001</cx:pt>
          <cx:pt idx="4003">382.69040000000001</cx:pt>
          <cx:pt idx="4004">382.69040000000001</cx:pt>
          <cx:pt idx="4005">382.69040000000001</cx:pt>
          <cx:pt idx="4006">382.69040000000001</cx:pt>
          <cx:pt idx="4007">382.77347589999999</cx:pt>
          <cx:pt idx="4008">383.60590000000002</cx:pt>
          <cx:pt idx="4009">383.60590000000002</cx:pt>
          <cx:pt idx="4010">383.60590000000002</cx:pt>
          <cx:pt idx="4011">383.60590000000002</cx:pt>
          <cx:pt idx="4012">383.60590000000002</cx:pt>
          <cx:pt idx="4013">383.60590000000002</cx:pt>
          <cx:pt idx="4014">383.60590000000002</cx:pt>
          <cx:pt idx="4015">383.60590000000002</cx:pt>
          <cx:pt idx="4016">383.60590000000002</cx:pt>
          <cx:pt idx="4017">383.60590000000002</cx:pt>
          <cx:pt idx="4018">383.60590000000002</cx:pt>
          <cx:pt idx="4019">383.60590000000002</cx:pt>
          <cx:pt idx="4020">383.60590000000002</cx:pt>
          <cx:pt idx="4021">383.60590000000002</cx:pt>
          <cx:pt idx="4022">383.60590000000002</cx:pt>
          <cx:pt idx="4023">383.60590000000002</cx:pt>
          <cx:pt idx="4024">383.60590000000002</cx:pt>
          <cx:pt idx="4025">383.60590000000002</cx:pt>
          <cx:pt idx="4026">383.60590000000002</cx:pt>
          <cx:pt idx="4027">383.60590000000002</cx:pt>
          <cx:pt idx="4028">383.60590000000002</cx:pt>
          <cx:pt idx="4029">383.60590000000002</cx:pt>
          <cx:pt idx="4030">383.60590000000002</cx:pt>
          <cx:pt idx="4031">383.60590000000002</cx:pt>
          <cx:pt idx="4032">383.60590000000002</cx:pt>
          <cx:pt idx="4033">383.60590000000002</cx:pt>
          <cx:pt idx="4034">383.60590000000002</cx:pt>
          <cx:pt idx="4035">383.60590000000002</cx:pt>
          <cx:pt idx="4036">383.60590000000002</cx:pt>
          <cx:pt idx="4037">383.60590000000002</cx:pt>
          <cx:pt idx="4038">383.60590000000002</cx:pt>
          <cx:pt idx="4039">383.60590000000002</cx:pt>
          <cx:pt idx="4040">383.60590000000002</cx:pt>
          <cx:pt idx="4041">383.60590000000002</cx:pt>
          <cx:pt idx="4042">383.60590000000002</cx:pt>
          <cx:pt idx="4043">383.60590000000002</cx:pt>
          <cx:pt idx="4044">383.58710400000001</cx:pt>
          <cx:pt idx="4045">383.4563824</cx:pt>
          <cx:pt idx="4046">383.4383057</cx:pt>
          <cx:pt idx="4047">383.41878109999999</cx:pt>
          <cx:pt idx="4048">383.40070450000002</cx:pt>
          <cx:pt idx="4049">383.3629631</cx:pt>
          <cx:pt idx="4050">383.34445670000002</cx:pt>
          <cx:pt idx="4051">383.32609050000002</cx:pt>
          <cx:pt idx="4052">383.26984270000003</cx:pt>
          <cx:pt idx="4053">383.2514764</cx:pt>
          <cx:pt idx="4054">383.2320919</cx:pt>
          <cx:pt idx="4055">383.2137257</cx:pt>
          <cx:pt idx="4056">383.21343610000002</cx:pt>
          <cx:pt idx="4057">383.17598429999998</cx:pt>
          <cx:pt idx="4058">383.15761800000001</cx:pt>
          <cx:pt idx="4059">383.13926120000002</cx:pt>
          <cx:pt idx="4060">383.12031569999999</cx:pt>
          <cx:pt idx="4061">383.10194949999999</cx:pt>
          <cx:pt idx="4062">383.10137029999999</cx:pt>
          <cx:pt idx="4063">383.08256499999999</cx:pt>
          <cx:pt idx="4064">383.06420809999997</cx:pt>
          <cx:pt idx="4065">383.02733549999999</cx:pt>
          <cx:pt idx="4066">383.00795099999999</cx:pt>
          <cx:pt idx="4067">382.98944460000001</cx:pt>
          <cx:pt idx="4068">382.97107829999999</cx:pt>
          <cx:pt idx="4069">382.89617470000002</cx:pt>
          <cx:pt idx="4070">382.89588509999999</cx:pt>
          <cx:pt idx="4071">382.8400671</cx:pt>
          <cx:pt idx="4072">382.8217009</cx:pt>
          <cx:pt idx="4073">382.80231629999997</cx:pt>
          <cx:pt idx="4074">382.78395940000001</cx:pt>
          <cx:pt idx="4075">382.76559320000001</cx:pt>
          <cx:pt idx="4076">382.74708679999998</cx:pt>
          <cx:pt idx="4077">382.70934540000002</cx:pt>
          <cx:pt idx="4078">382.69097920000002</cx:pt>
          <cx:pt idx="4079">382.69040000000001</cx:pt>
          <cx:pt idx="4080">382.69040000000001</cx:pt>
          <cx:pt idx="4081">382.69040000000001</cx:pt>
          <cx:pt idx="4082">382.69040000000001</cx:pt>
          <cx:pt idx="4083">382.69040000000001</cx:pt>
          <cx:pt idx="4084">382.69040000000001</cx:pt>
          <cx:pt idx="4085">382.69040000000001</cx:pt>
          <cx:pt idx="4086">382.69040000000001</cx:pt>
          <cx:pt idx="4087">382.69040000000001</cx:pt>
          <cx:pt idx="4088">382.69040000000001</cx:pt>
          <cx:pt idx="4089">382.69040000000001</cx:pt>
          <cx:pt idx="4090">382.69040000000001</cx:pt>
          <cx:pt idx="4091">382.69040000000001</cx:pt>
          <cx:pt idx="4092">382.69040000000001</cx:pt>
          <cx:pt idx="4093">382.69040000000001</cx:pt>
          <cx:pt idx="4094">382.69040000000001</cx:pt>
          <cx:pt idx="4095">382.69040000000001</cx:pt>
          <cx:pt idx="4096">382.69040000000001</cx:pt>
          <cx:pt idx="4097">382.69040000000001</cx:pt>
          <cx:pt idx="4098">382.69040000000001</cx:pt>
          <cx:pt idx="4099">382.69040000000001</cx:pt>
          <cx:pt idx="4100">382.69040000000001</cx:pt>
          <cx:pt idx="4101">382.69040000000001</cx:pt>
          <cx:pt idx="4102">382.69040000000001</cx:pt>
          <cx:pt idx="4103">382.69040000000001</cx:pt>
          <cx:pt idx="4104">382.69040000000001</cx:pt>
          <cx:pt idx="4105">382.69040000000001</cx:pt>
          <cx:pt idx="4106">382.69040000000001</cx:pt>
          <cx:pt idx="4107">382.69040000000001</cx:pt>
          <cx:pt idx="4108">382.69040000000001</cx:pt>
          <cx:pt idx="4109">382.69040000000001</cx:pt>
          <cx:pt idx="4110">382.69040000000001</cx:pt>
          <cx:pt idx="4111">382.69040000000001</cx:pt>
          <cx:pt idx="4112">382.69040000000001</cx:pt>
          <cx:pt idx="4113">382.69040000000001</cx:pt>
          <cx:pt idx="4114">382.69040000000001</cx:pt>
          <cx:pt idx="4115">382.69040000000001</cx:pt>
          <cx:pt idx="4116">382.69040000000001</cx:pt>
          <cx:pt idx="4117">382.69040000000001</cx:pt>
          <cx:pt idx="4118">382.69040000000001</cx:pt>
          <cx:pt idx="4119">382.69040000000001</cx:pt>
          <cx:pt idx="4120">382.69040000000001</cx:pt>
          <cx:pt idx="4121">382.69040000000001</cx:pt>
          <cx:pt idx="4122">382.69040000000001</cx:pt>
          <cx:pt idx="4123">382.69040000000001</cx:pt>
          <cx:pt idx="4124">382.69040000000001</cx:pt>
          <cx:pt idx="4125">382.69040000000001</cx:pt>
          <cx:pt idx="4126">382.69040000000001</cx:pt>
          <cx:pt idx="4127">382.69040000000001</cx:pt>
          <cx:pt idx="4128">382.69040000000001</cx:pt>
          <cx:pt idx="4129">382.69040000000001</cx:pt>
          <cx:pt idx="4130">383.30574419999999</cx:pt>
          <cx:pt idx="4131">383.36904879999997</cx:pt>
          <cx:pt idx="4132">383.52707329999998</cx:pt>
          <cx:pt idx="4133">383.55848079999998</cx:pt>
          <cx:pt idx="4134">383.6057816</cx:pt>
          <cx:pt idx="4135">383.60590000000002</cx:pt>
          <cx:pt idx="4136">383.7572705</cx:pt>
          <cx:pt idx="4137">383.75845229999999</cx:pt>
          <cx:pt idx="4138">383.79682389999999</cx:pt>
          <cx:pt idx="4139">383.8726522</cx:pt>
          <cx:pt idx="4140">383.90982289999999</cx:pt>
          <cx:pt idx="4141">383.91100469999998</cx:pt>
          <cx:pt idx="4142">384.25476689999999</cx:pt>
          <cx:pt idx="4143">384.44477590000002</cx:pt>
          <cx:pt idx="4144">384.5215</cx:pt>
          <cx:pt idx="4145">380.85939999999999</cx:pt>
          <cx:pt idx="4146">380.96710969999998</cx:pt>
          <cx:pt idx="4147">381.13866969999998</cx:pt>
          <cx:pt idx="4148">381.20402790000003</cx:pt>
          <cx:pt idx="4149">381.3335811</cx:pt>
          <cx:pt idx="4150">381.35441220000001</cx:pt>
          <cx:pt idx="4151">381.37558790000003</cx:pt>
          <cx:pt idx="4152">381.39792690000002</cx:pt>
          <cx:pt idx="4153">381.59166429999999</cx:pt>
          <cx:pt idx="4154">381.61350779999998</cx:pt>
          <cx:pt idx="4155">381.63468349999999</cx:pt>
          <cx:pt idx="4156">381.67753040000002</cx:pt>
          <cx:pt idx="4157">381.6998802</cx:pt>
          <cx:pt idx="4158">381.74255479999999</cx:pt>
          <cx:pt idx="4159">381.78490620000002</cx:pt>
          <cx:pt idx="4160">381.80724520000001</cx:pt>
          <cx:pt idx="4161">381.82842090000003</cx:pt>
          <cx:pt idx="4162">381.84959670000001</cx:pt>
          <cx:pt idx="4163">381.95729560000001</cx:pt>
          <cx:pt idx="4164">381.97981770000001</cx:pt>
          <cx:pt idx="4165">382.0006487</cx:pt>
          <cx:pt idx="4166">382.02299850000003</cx:pt>
          <cx:pt idx="4167">382.0441634</cx:pt>
          <cx:pt idx="4168">382.06533919999998</cx:pt>
          <cx:pt idx="4169">382.08718270000003</cx:pt>
          <cx:pt idx="4170">382.1080245</cx:pt>
          <cx:pt idx="4171">382.17271490000002</cx:pt>
          <cx:pt idx="4172">382.17338269999999</cx:pt>
          <cx:pt idx="4173">382.21640200000002</cx:pt>
          <cx:pt idx="4174">382.410301</cx:pt>
          <cx:pt idx="4175">382.45281399999999</cx:pt>
          <cx:pt idx="4176">382.4751637</cx:pt>
          <cx:pt idx="4177">382.54001570000003</cx:pt>
          <cx:pt idx="4178">382.6035321</cx:pt>
          <cx:pt idx="4179">382.6260542</cx:pt>
          <cx:pt idx="4180">382.6687288</cx:pt>
          <cx:pt idx="4181">382.68990450000001</cx:pt>
          <cx:pt idx="4182">382.69040000000001</cx:pt>
          <cx:pt idx="4183">382.69040000000001</cx:pt>
          <cx:pt idx="4184">382.69040000000001</cx:pt>
          <cx:pt idx="4185">382.69040000000001</cx:pt>
          <cx:pt idx="4186">382.69040000000001</cx:pt>
          <cx:pt idx="4187">382.69040000000001</cx:pt>
          <cx:pt idx="4188">382.69040000000001</cx:pt>
          <cx:pt idx="4189">382.69040000000001</cx:pt>
          <cx:pt idx="4190">382.69040000000001</cx:pt>
          <cx:pt idx="4191">382.69040000000001</cx:pt>
          <cx:pt idx="4192">382.69040000000001</cx:pt>
          <cx:pt idx="4193">382.69040000000001</cx:pt>
          <cx:pt idx="4194">382.69040000000001</cx:pt>
          <cx:pt idx="4195">382.69040000000001</cx:pt>
          <cx:pt idx="4196">382.69040000000001</cx:pt>
          <cx:pt idx="4197">382.69040000000001</cx:pt>
          <cx:pt idx="4198">382.69040000000001</cx:pt>
          <cx:pt idx="4199">382.69040000000001</cx:pt>
          <cx:pt idx="4200">382.69040000000001</cx:pt>
          <cx:pt idx="4201">382.69040000000001</cx:pt>
          <cx:pt idx="4202">382.69040000000001</cx:pt>
          <cx:pt idx="4203">382.69040000000001</cx:pt>
          <cx:pt idx="4204">382.69040000000001</cx:pt>
          <cx:pt idx="4205">382.69040000000001</cx:pt>
          <cx:pt idx="4206">382.69040000000001</cx:pt>
          <cx:pt idx="4207">382.69040000000001</cx:pt>
          <cx:pt idx="4208">382.69040000000001</cx:pt>
          <cx:pt idx="4209">382.69040000000001</cx:pt>
          <cx:pt idx="4210">382.69040000000001</cx:pt>
          <cx:pt idx="4211">382.69040000000001</cx:pt>
          <cx:pt idx="4212">382.69040000000001</cx:pt>
          <cx:pt idx="4213">382.69040000000001</cx:pt>
          <cx:pt idx="4214">382.69040000000001</cx:pt>
          <cx:pt idx="4215">382.69040000000001</cx:pt>
          <cx:pt idx="4216">382.69040000000001</cx:pt>
          <cx:pt idx="4217">383.67626310000003</cx:pt>
          <cx:pt idx="4218">384.5215</cx:pt>
          <cx:pt idx="4219">380.85939999999999</cx:pt>
          <cx:pt idx="4220">382.69040000000001</cx:pt>
          <cx:pt idx="4221">383.60590000000002</cx:pt>
          <cx:pt idx="4222">382.69040000000001</cx:pt>
          <cx:pt idx="4223">385.43700000000001</cx:pt>
          <cx:pt idx="4224">381.7749</cx:pt>
          <cx:pt idx="4225">380.85939999999999</cx:pt>
          <cx:pt idx="4226">382.69040000000001</cx:pt>
          <cx:pt idx="4227">382.69040000000001</cx:pt>
          <cx:pt idx="4228">385.43700000000001</cx:pt>
          <cx:pt idx="4229">380.85939999999999</cx:pt>
          <cx:pt idx="4230">380.85939999999999</cx:pt>
          <cx:pt idx="4231">382.69040000000001</cx:pt>
          <cx:pt idx="4232">381.7749</cx:pt>
          <cx:pt idx="4233">382.69040000000001</cx:pt>
          <cx:pt idx="4234">382.69040000000001</cx:pt>
          <cx:pt idx="4235">384.5215</cx:pt>
          <cx:pt idx="4236">382.69040000000001</cx:pt>
          <cx:pt idx="4237">382.69040000000001</cx:pt>
          <cx:pt idx="4238">382.69040000000001</cx:pt>
          <cx:pt idx="4239">382.69040000000001</cx:pt>
          <cx:pt idx="4240">384.5215</cx:pt>
          <cx:pt idx="4241">382.69040000000001</cx:pt>
          <cx:pt idx="4242">383.60590000000002</cx:pt>
          <cx:pt idx="4243">382.69040000000001</cx:pt>
          <cx:pt idx="4244">382.69040000000001</cx:pt>
          <cx:pt idx="4245">382.69040000000001</cx:pt>
          <cx:pt idx="4246">386.35250000000002</cx:pt>
          <cx:pt idx="4247">383.60590000000002</cx:pt>
          <cx:pt idx="4248">382.69040000000001</cx:pt>
          <cx:pt idx="4249">383.60590000000002</cx:pt>
          <cx:pt idx="4250">382.69040000000001</cx:pt>
          <cx:pt idx="4251">383.60590000000002</cx:pt>
          <cx:pt idx="4252">384.5215</cx:pt>
          <cx:pt idx="4253">382.69040000000001</cx:pt>
          <cx:pt idx="4254">383.60590000000002</cx:pt>
          <cx:pt idx="4255">381.7749</cx:pt>
          <cx:pt idx="4256">383.60590000000002</cx:pt>
          <cx:pt idx="4257">382.69040000000001</cx:pt>
          <cx:pt idx="4258">382.69040000000001</cx:pt>
          <cx:pt idx="4259">382.69040000000001</cx:pt>
          <cx:pt idx="4260">382.69040000000001</cx:pt>
          <cx:pt idx="4261">385.43700000000001</cx:pt>
          <cx:pt idx="4262">381.7749</cx:pt>
          <cx:pt idx="4263">384.5215</cx:pt>
          <cx:pt idx="4264">380.85939999999999</cx:pt>
          <cx:pt idx="4265">382.69040000000001</cx:pt>
          <cx:pt idx="4266">382.69040000000001</cx:pt>
          <cx:pt idx="4267">382.69040000000001</cx:pt>
          <cx:pt idx="4268">383.60590000000002</cx:pt>
          <cx:pt idx="4269">382.69040000000001</cx:pt>
          <cx:pt idx="4270">383.60590000000002</cx:pt>
          <cx:pt idx="4271">383.60590000000002</cx:pt>
          <cx:pt idx="4272">384.5215</cx:pt>
          <cx:pt idx="4273">383.60590000000002</cx:pt>
          <cx:pt idx="4274">382.69040000000001</cx:pt>
          <cx:pt idx="4275">383.60590000000002</cx:pt>
          <cx:pt idx="4276">385.43700000000001</cx:pt>
          <cx:pt idx="4277">383.60590000000002</cx:pt>
          <cx:pt idx="4278">385.43700000000001</cx:pt>
          <cx:pt idx="4279">383.60590000000002</cx:pt>
          <cx:pt idx="4280">383.60590000000002</cx:pt>
          <cx:pt idx="4281">383.60590000000002</cx:pt>
          <cx:pt idx="4282">383.60590000000002</cx:pt>
          <cx:pt idx="4283">383.60590000000002</cx:pt>
          <cx:pt idx="4284">383.60590000000002</cx:pt>
          <cx:pt idx="4285">382.69040000000001</cx:pt>
          <cx:pt idx="4286">383.60590000000002</cx:pt>
          <cx:pt idx="4287">383.60590000000002</cx:pt>
          <cx:pt idx="4288">385.43700000000001</cx:pt>
          <cx:pt idx="4289">383.60590000000002</cx:pt>
          <cx:pt idx="4290">382.69040000000001</cx:pt>
          <cx:pt idx="4291">385.43700000000001</cx:pt>
          <cx:pt idx="4292">381.7749</cx:pt>
          <cx:pt idx="4293">383.60590000000002</cx:pt>
          <cx:pt idx="4294">382.69040000000001</cx:pt>
          <cx:pt idx="4295">383.60590000000002</cx:pt>
          <cx:pt idx="4296">383.60590000000002</cx:pt>
          <cx:pt idx="4297">385.43700000000001</cx:pt>
          <cx:pt idx="4298">381.7749</cx:pt>
          <cx:pt idx="4299">384.5215</cx:pt>
          <cx:pt idx="4300">383.60590000000002</cx:pt>
          <cx:pt idx="4301">382.69040000000001</cx:pt>
          <cx:pt idx="4302">383.60590000000002</cx:pt>
          <cx:pt idx="4303">382.69040000000001</cx:pt>
          <cx:pt idx="4304">383.60590000000002</cx:pt>
          <cx:pt idx="4305">383.60590000000002</cx:pt>
          <cx:pt idx="4306">383.60590000000002</cx:pt>
          <cx:pt idx="4307">381.7749</cx:pt>
          <cx:pt idx="4308">383.60590000000002</cx:pt>
          <cx:pt idx="4309">382.69040000000001</cx:pt>
          <cx:pt idx="4310">382.69040000000001</cx:pt>
          <cx:pt idx="4311">384.5215</cx:pt>
          <cx:pt idx="4312">382.69040000000001</cx:pt>
          <cx:pt idx="4313">381.7749</cx:pt>
          <cx:pt idx="4314">385.43700000000001</cx:pt>
          <cx:pt idx="4315">382.69040000000001</cx:pt>
          <cx:pt idx="4316">382.69040000000001</cx:pt>
          <cx:pt idx="4317">382.69040000000001</cx:pt>
          <cx:pt idx="4318">383.60590000000002</cx:pt>
          <cx:pt idx="4319">381.7749</cx:pt>
          <cx:pt idx="4320">384.5215</cx:pt>
          <cx:pt idx="4321">382.69040000000001</cx:pt>
          <cx:pt idx="4322">383.60590000000002</cx:pt>
          <cx:pt idx="4323">382.69040000000001</cx:pt>
          <cx:pt idx="4324">382.69040000000001</cx:pt>
          <cx:pt idx="4325">383.60590000000002</cx:pt>
          <cx:pt idx="4326">382.69040000000001</cx:pt>
          <cx:pt idx="4327">383.60590000000002</cx:pt>
          <cx:pt idx="4328">383.60590000000002</cx:pt>
          <cx:pt idx="4329">383.60590000000002</cx:pt>
          <cx:pt idx="4330">382.69040000000001</cx:pt>
          <cx:pt idx="4331">383.60590000000002</cx:pt>
          <cx:pt idx="4332">382.69040000000001</cx:pt>
          <cx:pt idx="4333">382.69040000000001</cx:pt>
          <cx:pt idx="4334">382.69040000000001</cx:pt>
          <cx:pt idx="4335">382.69040000000001</cx:pt>
          <cx:pt idx="4336">380.85939999999999</cx:pt>
          <cx:pt idx="4337">384.5215</cx:pt>
          <cx:pt idx="4338">380.85939999999999</cx:pt>
          <cx:pt idx="4339">380.85939999999999</cx:pt>
          <cx:pt idx="4340">384.5215</cx:pt>
          <cx:pt idx="4341">382.69040000000001</cx:pt>
          <cx:pt idx="4342">382.69040000000001</cx:pt>
          <cx:pt idx="4343">379.94380000000001</cx:pt>
          <cx:pt idx="4344">383.60590000000002</cx:pt>
          <cx:pt idx="4345">382.69040000000001</cx:pt>
          <cx:pt idx="4346">382.69040000000001</cx:pt>
          <cx:pt idx="4347">382.69040000000001</cx:pt>
          <cx:pt idx="4348">382.69040000000001</cx:pt>
          <cx:pt idx="4349">380.85939999999999</cx:pt>
          <cx:pt idx="4350">382.69040000000001</cx:pt>
          <cx:pt idx="4351">382.69040000000001</cx:pt>
          <cx:pt idx="4352">382.69040000000001</cx:pt>
          <cx:pt idx="4353">382.69040000000001</cx:pt>
          <cx:pt idx="4354">384.5215</cx:pt>
          <cx:pt idx="4355">382.69040000000001</cx:pt>
          <cx:pt idx="4356">382.69040000000001</cx:pt>
          <cx:pt idx="4357">382.69040000000001</cx:pt>
          <cx:pt idx="4358">382.69040000000001</cx:pt>
          <cx:pt idx="4359">383.60590000000002</cx:pt>
          <cx:pt idx="4360">382.69040000000001</cx:pt>
          <cx:pt idx="4361">383.60590000000002</cx:pt>
          <cx:pt idx="4362">382.69040000000001</cx:pt>
          <cx:pt idx="4363">384.5215</cx:pt>
          <cx:pt idx="4364">380.85939999999999</cx:pt>
          <cx:pt idx="4365">382.69040000000001</cx:pt>
          <cx:pt idx="4366">382.69040000000001</cx:pt>
          <cx:pt idx="4367">382.69040000000001</cx:pt>
          <cx:pt idx="4368">381.7749</cx:pt>
          <cx:pt idx="4369">382.69040000000001</cx:pt>
          <cx:pt idx="4370">381.7749</cx:pt>
          <cx:pt idx="4371">382.69040000000001</cx:pt>
          <cx:pt idx="4372">383.60590000000002</cx:pt>
          <cx:pt idx="4373">382.69040000000001</cx:pt>
          <cx:pt idx="4374">382.69040000000001</cx:pt>
          <cx:pt idx="4375">382.69040000000001</cx:pt>
          <cx:pt idx="4376">382.69040000000001</cx:pt>
          <cx:pt idx="4377">381.7749</cx:pt>
          <cx:pt idx="4378">382.69040000000001</cx:pt>
          <cx:pt idx="4379">382.69040000000001</cx:pt>
          <cx:pt idx="4380">382.69040000000001</cx:pt>
          <cx:pt idx="4381">382.69040000000001</cx:pt>
          <cx:pt idx="4382">383.60590000000002</cx:pt>
          <cx:pt idx="4383">381.7749</cx:pt>
          <cx:pt idx="4384">381.7749</cx:pt>
          <cx:pt idx="4385">382.69040000000001</cx:pt>
          <cx:pt idx="4386">382.69040000000001</cx:pt>
          <cx:pt idx="4387">382.69040000000001</cx:pt>
          <cx:pt idx="4388">381.7749</cx:pt>
          <cx:pt idx="4389">381.7749</cx:pt>
          <cx:pt idx="4390">381.7749</cx:pt>
          <cx:pt idx="4391">382.69040000000001</cx:pt>
          <cx:pt idx="4392">383.60590000000002</cx:pt>
          <cx:pt idx="4393">379.94380000000001</cx:pt>
          <cx:pt idx="4394">379.94380000000001</cx:pt>
          <cx:pt idx="4395">381.7749</cx:pt>
          <cx:pt idx="4396">380.85939999999999</cx:pt>
          <cx:pt idx="4397">381.67384929999997</cx:pt>
          <cx:pt idx="4398">381.7749</cx:pt>
          <cx:pt idx="4399">381.7749</cx:pt>
          <cx:pt idx="4400">381.7749</cx:pt>
          <cx:pt idx="4401">381.7749</cx:pt>
          <cx:pt idx="4402">381.7749</cx:pt>
          <cx:pt idx="4403">381.7749</cx:pt>
          <cx:pt idx="4404">381.1948931</cx:pt>
          <cx:pt idx="4405">380.85939999999999</cx:pt>
          <cx:pt idx="4406">379.94380000000001</cx:pt>
          <cx:pt idx="4407">383.60590000000002</cx:pt>
          <cx:pt idx="4408">380.85939999999999</cx:pt>
          <cx:pt idx="4409">382.69040000000001</cx:pt>
          <cx:pt idx="4410">381.7749</cx:pt>
          <cx:pt idx="4411">380.85939999999999</cx:pt>
          <cx:pt idx="4412">380.85939999999999</cx:pt>
          <cx:pt idx="4413">382.69040000000001</cx:pt>
          <cx:pt idx="4414">381.7749</cx:pt>
          <cx:pt idx="4415">379.94380000000001</cx:pt>
          <cx:pt idx="4416">383.60590000000002</cx:pt>
          <cx:pt idx="4417">379.94380000000001</cx:pt>
          <cx:pt idx="4418">380.85939999999999</cx:pt>
          <cx:pt idx="4419">379.0283</cx:pt>
          <cx:pt idx="4420">380.85939999999999</cx:pt>
          <cx:pt idx="4421">380.85939999999999</cx:pt>
          <cx:pt idx="4422">381.43169460000001</cx:pt>
          <cx:pt idx="4423">381.7749</cx:pt>
          <cx:pt idx="4424">380.85939999999999</cx:pt>
          <cx:pt idx="4425">380.85939999999999</cx:pt>
          <cx:pt idx="4426">379.94380000000001</cx:pt>
          <cx:pt idx="4427">380.85939999999999</cx:pt>
          <cx:pt idx="4428">380.85939999999999</cx:pt>
          <cx:pt idx="4429">380.85939999999999</cx:pt>
          <cx:pt idx="4430">379.94380000000001</cx:pt>
          <cx:pt idx="4431">381.7749</cx:pt>
          <cx:pt idx="4432">380.85939999999999</cx:pt>
          <cx:pt idx="4433">381.7749</cx:pt>
          <cx:pt idx="4434">378.11279999999999</cx:pt>
          <cx:pt idx="4435">379.94380000000001</cx:pt>
          <cx:pt idx="4436">380.85939999999999</cx:pt>
          <cx:pt idx="4437">379.94380000000001</cx:pt>
          <cx:pt idx="4438">381.7749</cx:pt>
          <cx:pt idx="4439">379.94380000000001</cx:pt>
          <cx:pt idx="4440">382.69040000000001</cx:pt>
          <cx:pt idx="4441">379.0283</cx:pt>
          <cx:pt idx="4442">380.85939999999999</cx:pt>
          <cx:pt idx="4443">379.94380000000001</cx:pt>
          <cx:pt idx="4444">381.7749</cx:pt>
          <cx:pt idx="4445">379.94380000000001</cx:pt>
          <cx:pt idx="4446">380.85939999999999</cx:pt>
          <cx:pt idx="4447">379.94380000000001</cx:pt>
          <cx:pt idx="4448">380.85939999999999</cx:pt>
          <cx:pt idx="4449">377.19729999999998</cx:pt>
          <cx:pt idx="4450">380.85939999999999</cx:pt>
          <cx:pt idx="4451">381.7749</cx:pt>
          <cx:pt idx="4452">379.94380000000001</cx:pt>
          <cx:pt idx="4453">379.94380000000001</cx:pt>
          <cx:pt idx="4454">379.94380000000001</cx:pt>
          <cx:pt idx="4455">379.94380000000001</cx:pt>
          <cx:pt idx="4456">381.7749</cx:pt>
          <cx:pt idx="4457">379.94380000000001</cx:pt>
          <cx:pt idx="4458">379.94380000000001</cx:pt>
          <cx:pt idx="4459">381.7749</cx:pt>
          <cx:pt idx="4460">378.11279999999999</cx:pt>
          <cx:pt idx="4461">383.60590000000002</cx:pt>
          <cx:pt idx="4462">379.0283</cx:pt>
          <cx:pt idx="4463">379.94380000000001</cx:pt>
          <cx:pt idx="4464">379.94380000000001</cx:pt>
          <cx:pt idx="4465">380.85939999999999</cx:pt>
          <cx:pt idx="4466">379.94380000000001</cx:pt>
          <cx:pt idx="4467">379.94380000000001</cx:pt>
          <cx:pt idx="4468">379.94380000000001</cx:pt>
          <cx:pt idx="4469">380.85939999999999</cx:pt>
          <cx:pt idx="4470">379.94380000000001</cx:pt>
          <cx:pt idx="4471">379.0283</cx:pt>
          <cx:pt idx="4472">381.7749</cx:pt>
          <cx:pt idx="4473">378.11279999999999</cx:pt>
          <cx:pt idx="4474">379.94380000000001</cx:pt>
          <cx:pt idx="4475">381.7749</cx:pt>
          <cx:pt idx="4476">379.0283</cx:pt>
          <cx:pt idx="4477">379.94380000000001</cx:pt>
          <cx:pt idx="4478">379.0283</cx:pt>
          <cx:pt idx="4479">379.0283</cx:pt>
          <cx:pt idx="4480">381.7749</cx:pt>
          <cx:pt idx="4481">378.11279999999999</cx:pt>
          <cx:pt idx="4482">380.85939999999999</cx:pt>
          <cx:pt idx="4483">379.94380000000001</cx:pt>
          <cx:pt idx="4484">379.94380000000001</cx:pt>
          <cx:pt idx="4485">379.94380000000001</cx:pt>
          <cx:pt idx="4486">379.94380000000001</cx:pt>
          <cx:pt idx="4487">379.94380000000001</cx:pt>
          <cx:pt idx="4488">380.85939999999999</cx:pt>
          <cx:pt idx="4489">379.0283</cx:pt>
          <cx:pt idx="4490">379.0283</cx:pt>
          <cx:pt idx="4491">379.94380000000001</cx:pt>
          <cx:pt idx="4492">378.11279999999999</cx:pt>
          <cx:pt idx="4493">380.85939999999999</cx:pt>
          <cx:pt idx="4494">377.19729999999998</cx:pt>
          <cx:pt idx="4495">380.85939999999999</cx:pt>
          <cx:pt idx="4496">379.94380000000001</cx:pt>
          <cx:pt idx="4497">379.94380000000001</cx:pt>
          <cx:pt idx="4498">379.0283</cx:pt>
          <cx:pt idx="4499">380.85939999999999</cx:pt>
          <cx:pt idx="4500">379.94380000000001</cx:pt>
          <cx:pt idx="4501">379.94380000000001</cx:pt>
          <cx:pt idx="4502">379.0283</cx:pt>
          <cx:pt idx="4503">378.11279999999999</cx:pt>
          <cx:pt idx="4504">380.85939999999999</cx:pt>
          <cx:pt idx="4505">379.94380000000001</cx:pt>
          <cx:pt idx="4506">379.94380000000001</cx:pt>
          <cx:pt idx="4507">379.94380000000001</cx:pt>
          <cx:pt idx="4508">379.94380000000001</cx:pt>
          <cx:pt idx="4509">379.94380000000001</cx:pt>
          <cx:pt idx="4510">379.0283</cx:pt>
          <cx:pt idx="4511">381.7749</cx:pt>
          <cx:pt idx="4512">378.11279999999999</cx:pt>
          <cx:pt idx="4513">379.0283</cx:pt>
          <cx:pt idx="4514">379.0283</cx:pt>
          <cx:pt idx="4515">377.19729999999998</cx:pt>
          <cx:pt idx="4516">380.85939999999999</cx:pt>
          <cx:pt idx="4517">378.11279999999999</cx:pt>
          <cx:pt idx="4518">381.7749</cx:pt>
          <cx:pt idx="4519">379.0283</cx:pt>
          <cx:pt idx="4520">379.0283</cx:pt>
          <cx:pt idx="4521">377.19729999999998</cx:pt>
          <cx:pt idx="4522">379.0283</cx:pt>
          <cx:pt idx="4523">377.19729999999998</cx:pt>
          <cx:pt idx="4524">380.85939999999999</cx:pt>
          <cx:pt idx="4525">379.0283</cx:pt>
          <cx:pt idx="4526">380.85939999999999</cx:pt>
          <cx:pt idx="4527">379.0283</cx:pt>
          <cx:pt idx="4528">381.7749</cx:pt>
          <cx:pt idx="4529">378.11279999999999</cx:pt>
          <cx:pt idx="4530">378.11279999999999</cx:pt>
          <cx:pt idx="4531">379.0283</cx:pt>
          <cx:pt idx="4532">379.0283</cx:pt>
          <cx:pt idx="4533">378.11279999999999</cx:pt>
          <cx:pt idx="4534">379.0283</cx:pt>
          <cx:pt idx="4535">379.0283</cx:pt>
          <cx:pt idx="4536">379.0283</cx:pt>
          <cx:pt idx="4537">379.0283</cx:pt>
          <cx:pt idx="4538">379.94380000000001</cx:pt>
          <cx:pt idx="4539">379.0283</cx:pt>
          <cx:pt idx="4540">379.0283</cx:pt>
          <cx:pt idx="4541">379.0283</cx:pt>
          <cx:pt idx="4542">378.11279999999999</cx:pt>
          <cx:pt idx="4543">379.0069641</cx:pt>
          <cx:pt idx="4544">379.0283</cx:pt>
          <cx:pt idx="4545">380.85939999999999</cx:pt>
          <cx:pt idx="4546">377.19729999999998</cx:pt>
          <cx:pt idx="4547">379.0283</cx:pt>
          <cx:pt idx="4548">380.85939999999999</cx:pt>
          <cx:pt idx="4549">377.19729999999998</cx:pt>
          <cx:pt idx="4550">379.0283</cx:pt>
          <cx:pt idx="4551">378.20636760000002</cx:pt>
          <cx:pt idx="4552">378.11279999999999</cx:pt>
          <cx:pt idx="4553">379.94380000000001</cx:pt>
          <cx:pt idx="4554">379.94380000000001</cx:pt>
          <cx:pt idx="4555">378.11279999999999</cx:pt>
          <cx:pt idx="4556">379.0283</cx:pt>
          <cx:pt idx="4557">380.85939999999999</cx:pt>
          <cx:pt idx="4558">377.19729999999998</cx:pt>
          <cx:pt idx="4559">380.85939999999999</cx:pt>
          <cx:pt idx="4560">377.19729999999998</cx:pt>
          <cx:pt idx="4561">377.89161430000001</cx:pt>
          <cx:pt idx="4562">379.94380000000001</cx:pt>
          <cx:pt idx="4563">379.0283</cx:pt>
          <cx:pt idx="4564">379.0283</cx:pt>
          <cx:pt idx="4565">379.0283</cx:pt>
          <cx:pt idx="4566">379.0283</cx:pt>
          <cx:pt idx="4567">379.0283</cx:pt>
          <cx:pt idx="4568">376.2817</cx:pt>
          <cx:pt idx="4569">379.94380000000001</cx:pt>
          <cx:pt idx="4570">379.0283</cx:pt>
          <cx:pt idx="4571">379.0283</cx:pt>
          <cx:pt idx="4572">377.19729999999998</cx:pt>
          <cx:pt idx="4573">379.0283</cx:pt>
          <cx:pt idx="4574">378.11279999999999</cx:pt>
          <cx:pt idx="4575">379.0283</cx:pt>
          <cx:pt idx="4576">379.0283</cx:pt>
          <cx:pt idx="4577">379.0283</cx:pt>
          <cx:pt idx="4578">380.85939999999999</cx:pt>
          <cx:pt idx="4579">379.0283</cx:pt>
          <cx:pt idx="4580">378.11279999999999</cx:pt>
          <cx:pt idx="4581">378.11279999999999</cx:pt>
          <cx:pt idx="4582">379.0283</cx:pt>
          <cx:pt idx="4583">378.11279999999999</cx:pt>
          <cx:pt idx="4584">379.94380000000001</cx:pt>
          <cx:pt idx="4585">379.94380000000001</cx:pt>
          <cx:pt idx="4586">378.11279999999999</cx:pt>
          <cx:pt idx="4587">379.0283</cx:pt>
          <cx:pt idx="4588">378.11279999999999</cx:pt>
          <cx:pt idx="4589">379.0283</cx:pt>
          <cx:pt idx="4590">379.0283</cx:pt>
          <cx:pt idx="4591">378.11279999999999</cx:pt>
          <cx:pt idx="4592">379.0283</cx:pt>
          <cx:pt idx="4593">379.0283</cx:pt>
          <cx:pt idx="4594">379.0283</cx:pt>
          <cx:pt idx="4595">377.19729999999998</cx:pt>
          <cx:pt idx="4596">380.85939999999999</cx:pt>
          <cx:pt idx="4597">379.94380000000001</cx:pt>
          <cx:pt idx="4598">376.2817</cx:pt>
          <cx:pt idx="4599">379.0283</cx:pt>
          <cx:pt idx="4600">379.94380000000001</cx:pt>
          <cx:pt idx="4601">379.0283</cx:pt>
          <cx:pt idx="4602">379.0283</cx:pt>
          <cx:pt idx="4603">378.11279999999999</cx:pt>
          <cx:pt idx="4604">378.11279999999999</cx:pt>
          <cx:pt idx="4605">377.19729999999998</cx:pt>
          <cx:pt idx="4606">380.85939999999999</cx:pt>
          <cx:pt idx="4607">377.19729999999998</cx:pt>
          <cx:pt idx="4608">376.2817</cx:pt>
          <cx:pt idx="4609">379.94380000000001</cx:pt>
          <cx:pt idx="4610">378.11279999999999</cx:pt>
          <cx:pt idx="4611">379.0283</cx:pt>
          <cx:pt idx="4612">378.11279999999999</cx:pt>
          <cx:pt idx="4613">379.0283</cx:pt>
          <cx:pt idx="4614">378.11279999999999</cx:pt>
          <cx:pt idx="4615">378.11279999999999</cx:pt>
          <cx:pt idx="4616">378.11279999999999</cx:pt>
          <cx:pt idx="4617">378.11279999999999</cx:pt>
          <cx:pt idx="4618">379.94380000000001</cx:pt>
          <cx:pt idx="4619">378.11279999999999</cx:pt>
          <cx:pt idx="4620">379.0283</cx:pt>
          <cx:pt idx="4621">377.3010329</cx:pt>
          <cx:pt idx="4622">377.19729999999998</cx:pt>
          <cx:pt idx="4623">378.11279999999999</cx:pt>
          <cx:pt idx="4624">382.69040000000001</cx:pt>
          <cx:pt idx="4625">377.19729999999998</cx:pt>
          <cx:pt idx="4626">379.0283</cx:pt>
          <cx:pt idx="4627">378.11279999999999</cx:pt>
          <cx:pt idx="4628">380.85939999999999</cx:pt>
          <cx:pt idx="4629">377.19729999999998</cx:pt>
          <cx:pt idx="4630">378.11279999999999</cx:pt>
          <cx:pt idx="4631">377.19729999999998</cx:pt>
          <cx:pt idx="4632">380.85939999999999</cx:pt>
          <cx:pt idx="4633">377.19729999999998</cx:pt>
          <cx:pt idx="4634">379.94380000000001</cx:pt>
          <cx:pt idx="4635">376.2817</cx:pt>
          <cx:pt idx="4636">379.0283</cx:pt>
          <cx:pt idx="4637">378.11279999999999</cx:pt>
          <cx:pt idx="4638">378.11279999999999</cx:pt>
          <cx:pt idx="4639">378.11279999999999</cx:pt>
          <cx:pt idx="4640">376.2817</cx:pt>
          <cx:pt idx="4641">379.94380000000001</cx:pt>
          <cx:pt idx="4642">376.2817</cx:pt>
          <cx:pt idx="4643">379.94380000000001</cx:pt>
          <cx:pt idx="4644">379.0283</cx:pt>
          <cx:pt idx="4645">378.11279999999999</cx:pt>
          <cx:pt idx="4646">378.11279999999999</cx:pt>
          <cx:pt idx="4647">376.2817</cx:pt>
          <cx:pt idx="4648">380.85939999999999</cx:pt>
          <cx:pt idx="4649">378.11279999999999</cx:pt>
          <cx:pt idx="4650">378.11279999999999</cx:pt>
          <cx:pt idx="4651">378.11279999999999</cx:pt>
          <cx:pt idx="4652">377.19729999999998</cx:pt>
          <cx:pt idx="4653">379.94380000000001</cx:pt>
          <cx:pt idx="4654">378.11279999999999</cx:pt>
          <cx:pt idx="4655">376.2817</cx:pt>
          <cx:pt idx="4656">379.94380000000001</cx:pt>
          <cx:pt idx="4657">378.11279999999999</cx:pt>
          <cx:pt idx="4658">379.94380000000001</cx:pt>
          <cx:pt idx="4659">376.2817</cx:pt>
          <cx:pt idx="4660">378.11279999999999</cx:pt>
          <cx:pt idx="4661">378.11279999999999</cx:pt>
          <cx:pt idx="4662">377.19729999999998</cx:pt>
          <cx:pt idx="4663">378.11279999999999</cx:pt>
          <cx:pt idx="4664">376.2817</cx:pt>
          <cx:pt idx="4665">378.11279999999999</cx:pt>
          <cx:pt idx="4666">377.19729999999998</cx:pt>
          <cx:pt idx="4667">378.11279999999999</cx:pt>
          <cx:pt idx="4668">380.85939999999999</cx:pt>
          <cx:pt idx="4669">377.19729999999998</cx:pt>
          <cx:pt idx="4670">378.11279999999999</cx:pt>
          <cx:pt idx="4671">379.0283</cx:pt>
          <cx:pt idx="4672">378.11279999999999</cx:pt>
          <cx:pt idx="4673">378.11279999999999</cx:pt>
          <cx:pt idx="4674">378.11279999999999</cx:pt>
          <cx:pt idx="4675">378.11279999999999</cx:pt>
          <cx:pt idx="4676">378.11279999999999</cx:pt>
          <cx:pt idx="4677">376.2817</cx:pt>
          <cx:pt idx="4678">378.11279999999999</cx:pt>
          <cx:pt idx="4679">378.11279999999999</cx:pt>
          <cx:pt idx="4680">377.6893197</cx:pt>
          <cx:pt idx="4681">376.2817</cx:pt>
          <cx:pt idx="4682">379.94380000000001</cx:pt>
          <cx:pt idx="4683">378.11279999999999</cx:pt>
          <cx:pt idx="4684">379.0283</cx:pt>
          <cx:pt idx="4685">378.11279999999999</cx:pt>
          <cx:pt idx="4686">378.11279999999999</cx:pt>
          <cx:pt idx="4687">379.0283</cx:pt>
          <cx:pt idx="4688">376.2817</cx:pt>
          <cx:pt idx="4689">379.94380000000001</cx:pt>
          <cx:pt idx="4690">377.19729999999998</cx:pt>
          <cx:pt idx="4691">377.19729999999998</cx:pt>
          <cx:pt idx="4692">379.94380000000001</cx:pt>
          <cx:pt idx="4693">376.2817</cx:pt>
          <cx:pt idx="4694">379.0283</cx:pt>
          <cx:pt idx="4695">378.11279999999999</cx:pt>
          <cx:pt idx="4696">377.19729999999998</cx:pt>
          <cx:pt idx="4697">378.11279999999999</cx:pt>
          <cx:pt idx="4698">377.19729999999998</cx:pt>
          <cx:pt idx="4699">378.11279999999999</cx:pt>
          <cx:pt idx="4700">378.11279999999999</cx:pt>
          <cx:pt idx="4701">378.11279999999999</cx:pt>
          <cx:pt idx="4702">377.19729999999998</cx:pt>
          <cx:pt idx="4703">378.11279999999999</cx:pt>
          <cx:pt idx="4704">376.2817</cx:pt>
          <cx:pt idx="4705">379.94380000000001</cx:pt>
          <cx:pt idx="4706">377.19729999999998</cx:pt>
          <cx:pt idx="4707">378.0646003</cx:pt>
          <cx:pt idx="4708">378.11279999999999</cx:pt>
          <cx:pt idx="4709">377.19729999999998</cx:pt>
          <cx:pt idx="4710">378.11279999999999</cx:pt>
          <cx:pt idx="4711">377.19729999999998</cx:pt>
          <cx:pt idx="4712">378.11279999999999</cx:pt>
          <cx:pt idx="4713">378.11279999999999</cx:pt>
          <cx:pt idx="4714">377.19729999999998</cx:pt>
          <cx:pt idx="4715">379.0283</cx:pt>
          <cx:pt idx="4716">376.2817</cx:pt>
          <cx:pt idx="4717">378.11279999999999</cx:pt>
          <cx:pt idx="4718">378.11279999999999</cx:pt>
          <cx:pt idx="4719">377.19729999999998</cx:pt>
          <cx:pt idx="4720">378.11279999999999</cx:pt>
          <cx:pt idx="4721">377.19729999999998</cx:pt>
          <cx:pt idx="4722">378.11279999999999</cx:pt>
          <cx:pt idx="4723">379.0283</cx:pt>
          <cx:pt idx="4724">378.11279999999999</cx:pt>
          <cx:pt idx="4725">378.11279999999999</cx:pt>
          <cx:pt idx="4726">377.19729999999998</cx:pt>
          <cx:pt idx="4727">377.23074050000002</cx:pt>
          <cx:pt idx="4728">378.11279999999999</cx:pt>
          <cx:pt idx="4729">377.19729999999998</cx:pt>
          <cx:pt idx="4730">377.19729999999998</cx:pt>
          <cx:pt idx="4731">377.19729999999998</cx:pt>
          <cx:pt idx="4732">378.11279999999999</cx:pt>
          <cx:pt idx="4733">377.19729999999998</cx:pt>
          <cx:pt idx="4734">378.11279999999999</cx:pt>
          <cx:pt idx="4735">377.19729999999998</cx:pt>
          <cx:pt idx="4736">377.19729999999998</cx:pt>
          <cx:pt idx="4737">377.19729999999998</cx:pt>
          <cx:pt idx="4738">377.19729999999998</cx:pt>
          <cx:pt idx="4739">377.19729999999998</cx:pt>
          <cx:pt idx="4740">376.2817</cx:pt>
          <cx:pt idx="4741">378.11279999999999</cx:pt>
          <cx:pt idx="4742">376.2817</cx:pt>
          <cx:pt idx="4743">377.19729999999998</cx:pt>
          <cx:pt idx="4744">378.11279999999999</cx:pt>
          <cx:pt idx="4745">377.19729999999998</cx:pt>
          <cx:pt idx="4746">379.94380000000001</cx:pt>
          <cx:pt idx="4747">376.2817</cx:pt>
          <cx:pt idx="4748">379.0283</cx:pt>
          <cx:pt idx="4749">378.2705057</cx:pt>
          <cx:pt idx="4750">377.19729999999998</cx:pt>
          <cx:pt idx="4751">377.19729999999998</cx:pt>
          <cx:pt idx="4752">377.19729999999998</cx:pt>
          <cx:pt idx="4753">377.19729999999998</cx:pt>
          <cx:pt idx="4754">377.19729999999998</cx:pt>
          <cx:pt idx="4755">376.2817</cx:pt>
          <cx:pt idx="4756">377.19729999999998</cx:pt>
          <cx:pt idx="4757">377.19729999999998</cx:pt>
          <cx:pt idx="4758">377.19729999999998</cx:pt>
          <cx:pt idx="4759">376.2817</cx:pt>
          <cx:pt idx="4760">378.11279999999999</cx:pt>
          <cx:pt idx="4761">375.36619999999999</cx:pt>
          <cx:pt idx="4762">379.0283</cx:pt>
          <cx:pt idx="4763">375.36619999999999</cx:pt>
          <cx:pt idx="4764">377.19729999999998</cx:pt>
          <cx:pt idx="4765">377.19729999999998</cx:pt>
          <cx:pt idx="4766">377.19729999999998</cx:pt>
          <cx:pt idx="4767">378.11279999999999</cx:pt>
          <cx:pt idx="4768">377.34488579999999</cx:pt>
          <cx:pt idx="4769">377.19729999999998</cx:pt>
          <cx:pt idx="4770">377.58723120000002</cx:pt>
          <cx:pt idx="4771">378.11279999999999</cx:pt>
          <cx:pt idx="4772">377.19729999999998</cx:pt>
          <cx:pt idx="4773">377.19729999999998</cx:pt>
          <cx:pt idx="4774">378.11279999999999</cx:pt>
          <cx:pt idx="4775">378.11279999999999</cx:pt>
          <cx:pt idx="4776">378.11279999999999</cx:pt>
          <cx:pt idx="4777">375.36619999999999</cx:pt>
          <cx:pt idx="4778">377.19729999999998</cx:pt>
          <cx:pt idx="4779">377.19729999999998</cx:pt>
          <cx:pt idx="4780">377.19729999999998</cx:pt>
          <cx:pt idx="4781">379.0283</cx:pt>
          <cx:pt idx="4782">377.19729999999998</cx:pt>
          <cx:pt idx="4783">379.94380000000001</cx:pt>
          <cx:pt idx="4784">376.2817</cx:pt>
          <cx:pt idx="4785">377.19729999999998</cx:pt>
          <cx:pt idx="4786">379.0283</cx:pt>
          <cx:pt idx="4787">377.19729999999998</cx:pt>
          <cx:pt idx="4788">375.36619999999999</cx:pt>
          <cx:pt idx="4789">377.19729999999998</cx:pt>
          <cx:pt idx="4790">377.19729999999998</cx:pt>
          <cx:pt idx="4791">376.2817</cx:pt>
          <cx:pt idx="4792">377.19729999999998</cx:pt>
          <cx:pt idx="4793">377.19729999999998</cx:pt>
          <cx:pt idx="4794">375.36619999999999</cx:pt>
          <cx:pt idx="4795">379.0283</cx:pt>
          <cx:pt idx="4796">377.19729999999998</cx:pt>
          <cx:pt idx="4797">377.19729999999998</cx:pt>
          <cx:pt idx="4798">377.19729999999998</cx:pt>
          <cx:pt idx="4799">377.19729999999998</cx:pt>
          <cx:pt idx="4800">379.0283</cx:pt>
          <cx:pt idx="4801">377.19729999999998</cx:pt>
          <cx:pt idx="4802">377.19729999999998</cx:pt>
          <cx:pt idx="4803">377.19729999999998</cx:pt>
          <cx:pt idx="4804">377.19729999999998</cx:pt>
          <cx:pt idx="4805">377.19729999999998</cx:pt>
          <cx:pt idx="4806">377.19729999999998</cx:pt>
          <cx:pt idx="4807">375.36619999999999</cx:pt>
          <cx:pt idx="4808">379.0283</cx:pt>
          <cx:pt idx="4809">376.2817</cx:pt>
          <cx:pt idx="4810">377.19729999999998</cx:pt>
          <cx:pt idx="4811">377.19729999999998</cx:pt>
          <cx:pt idx="4812">377.19729999999998</cx:pt>
          <cx:pt idx="4813">375.36619999999999</cx:pt>
          <cx:pt idx="4814">377.19729999999998</cx:pt>
          <cx:pt idx="4815">377.19729999999998</cx:pt>
          <cx:pt idx="4816">376.2817</cx:pt>
          <cx:pt idx="4817">377.19729999999998</cx:pt>
          <cx:pt idx="4818">376.2817</cx:pt>
          <cx:pt idx="4819">377.19729999999998</cx:pt>
          <cx:pt idx="4820">377.19729999999998</cx:pt>
          <cx:pt idx="4821">377.19729999999998</cx:pt>
          <cx:pt idx="4822">377.19729999999998</cx:pt>
          <cx:pt idx="4823">377.19729999999998</cx:pt>
          <cx:pt idx="4824">377.19729999999998</cx:pt>
          <cx:pt idx="4825">378.11279999999999</cx:pt>
          <cx:pt idx="4826">379.0283</cx:pt>
          <cx:pt idx="4827">377.19729999999998</cx:pt>
          <cx:pt idx="4828">377.19729999999998</cx:pt>
          <cx:pt idx="4829">375.36619999999999</cx:pt>
          <cx:pt idx="4830">378.11279999999999</cx:pt>
          <cx:pt idx="4831">377.19729999999998</cx:pt>
          <cx:pt idx="4832">376.2817</cx:pt>
          <cx:pt idx="4833">377.19729999999998</cx:pt>
          <cx:pt idx="4834">376.2817</cx:pt>
          <cx:pt idx="4835">377.19729999999998</cx:pt>
          <cx:pt idx="4836">377.19729999999998</cx:pt>
          <cx:pt idx="4837">377.19729999999998</cx:pt>
          <cx:pt idx="4838">378.11279999999999</cx:pt>
          <cx:pt idx="4839">377.19729999999998</cx:pt>
          <cx:pt idx="4840">377.19729999999998</cx:pt>
          <cx:pt idx="4841">377.19729999999998</cx:pt>
          <cx:pt idx="4842">377.19729999999998</cx:pt>
          <cx:pt idx="4843">376.2817</cx:pt>
          <cx:pt idx="4844">379.0283</cx:pt>
          <cx:pt idx="4845">377.19729999999998</cx:pt>
          <cx:pt idx="4846">378.11279999999999</cx:pt>
          <cx:pt idx="4847">376.46469830000001</cx:pt>
          <cx:pt idx="4848">376.2817</cx:pt>
          <cx:pt idx="4849">377.19729999999998</cx:pt>
          <cx:pt idx="4850">378.11279999999999</cx:pt>
          <cx:pt idx="4851">377.19729999999998</cx:pt>
          <cx:pt idx="4852">379.0283</cx:pt>
          <cx:pt idx="4853">375.36619999999999</cx:pt>
          <cx:pt idx="4854">377.19729999999998</cx:pt>
          <cx:pt idx="4855">376.2817</cx:pt>
          <cx:pt idx="4856">379.94380000000001</cx:pt>
          <cx:pt idx="4857">379.0283</cx:pt>
          <cx:pt idx="4858">377.19729999999998</cx:pt>
          <cx:pt idx="4859">375.36619999999999</cx:pt>
          <cx:pt idx="4860">377.19729999999998</cx:pt>
          <cx:pt idx="4861">377.19729999999998</cx:pt>
          <cx:pt idx="4862">377.19729999999998</cx:pt>
          <cx:pt idx="4863">377.19729999999998</cx:pt>
          <cx:pt idx="4864">377.19729999999998</cx:pt>
          <cx:pt idx="4865">379.0283</cx:pt>
          <cx:pt idx="4866">375.36619999999999</cx:pt>
          <cx:pt idx="4867">378.11279999999999</cx:pt>
          <cx:pt idx="4868">377.19729999999998</cx:pt>
          <cx:pt idx="4869">378.11279999999999</cx:pt>
          <cx:pt idx="4870">374.45069999999998</cx:pt>
          <cx:pt idx="4871">379.0283</cx:pt>
          <cx:pt idx="4872">377.19729999999998</cx:pt>
          <cx:pt idx="4873">375.36619999999999</cx:pt>
          <cx:pt idx="4874">379.0283</cx:pt>
          <cx:pt idx="4875">378.11279999999999</cx:pt>
          <cx:pt idx="4876">378.11279999999999</cx:pt>
          <cx:pt idx="4877">378.11279999999999</cx:pt>
          <cx:pt idx="4878">376.2817</cx:pt>
          <cx:pt idx="4879">378.11279999999999</cx:pt>
          <cx:pt idx="4880">378.11279999999999</cx:pt>
          <cx:pt idx="4881">376.2817</cx:pt>
          <cx:pt idx="4882">379.0283</cx:pt>
          <cx:pt idx="4883">378.11279999999999</cx:pt>
          <cx:pt idx="4884">379.94380000000001</cx:pt>
          <cx:pt idx="4885">378.11279999999999</cx:pt>
          <cx:pt idx="4886">378.11279999999999</cx:pt>
          <cx:pt idx="4887">378.93580930000002</cx:pt>
          <cx:pt idx="4888">379.0283</cx:pt>
          <cx:pt idx="4889">377.19729999999998</cx:pt>
          <cx:pt idx="4890">378.11279999999999</cx:pt>
          <cx:pt idx="4891">378.11279999999999</cx:pt>
          <cx:pt idx="4892">376.2817</cx:pt>
          <cx:pt idx="4893">378.11279999999999</cx:pt>
          <cx:pt idx="4894">377.19729999999998</cx:pt>
          <cx:pt idx="4895">378.11279999999999</cx:pt>
          <cx:pt idx="4896">378.11279999999999</cx:pt>
          <cx:pt idx="4897">376.2817</cx:pt>
          <cx:pt idx="4898">379.94380000000001</cx:pt>
          <cx:pt idx="4899">378.51363900000001</cx:pt>
          <cx:pt idx="4900">376.2817</cx:pt>
          <cx:pt idx="4901">379.94380000000001</cx:pt>
          <cx:pt idx="4902">379.44080739999998</cx:pt>
          <cx:pt idx="4903">378.11279999999999</cx:pt>
          <cx:pt idx="4904">378.11279999999999</cx:pt>
          <cx:pt idx="4905">377.19729999999998</cx:pt>
          <cx:pt idx="4906">376.2817</cx:pt>
          <cx:pt idx="4907">378.11279999999999</cx:pt>
          <cx:pt idx="4908">378.11279999999999</cx:pt>
          <cx:pt idx="4909">378.11279999999999</cx:pt>
          <cx:pt idx="4910">376.2817</cx:pt>
          <cx:pt idx="4911">378.11279999999999</cx:pt>
          <cx:pt idx="4912">378.11279999999999</cx:pt>
          <cx:pt idx="4913">378.11279999999999</cx:pt>
          <cx:pt idx="4914">378.11279999999999</cx:pt>
          <cx:pt idx="4915">377.19729999999998</cx:pt>
          <cx:pt idx="4916">378.11279999999999</cx:pt>
          <cx:pt idx="4917">378.11279999999999</cx:pt>
          <cx:pt idx="4918">378.11279999999999</cx:pt>
          <cx:pt idx="4919">376.2817</cx:pt>
          <cx:pt idx="4920">378.11279999999999</cx:pt>
          <cx:pt idx="4921">376.2817</cx:pt>
          <cx:pt idx="4922">377.19729999999998</cx:pt>
          <cx:pt idx="4923">378.11279999999999</cx:pt>
          <cx:pt idx="4924">377.19729999999998</cx:pt>
          <cx:pt idx="4925">376.2817</cx:pt>
          <cx:pt idx="4926">378.11279999999999</cx:pt>
          <cx:pt idx="4927">378.11279999999999</cx:pt>
          <cx:pt idx="4928">378.11279999999999</cx:pt>
          <cx:pt idx="4929">377.19729999999998</cx:pt>
          <cx:pt idx="4930">378.11279999999999</cx:pt>
          <cx:pt idx="4931">378.11279999999999</cx:pt>
          <cx:pt idx="4932">378.11279999999999</cx:pt>
          <cx:pt idx="4933">377.19729999999998</cx:pt>
          <cx:pt idx="4934">378.11279999999999</cx:pt>
          <cx:pt idx="4935">377.19729999999998</cx:pt>
          <cx:pt idx="4936">379.94380000000001</cx:pt>
          <cx:pt idx="4937">376.2817</cx:pt>
          <cx:pt idx="4938">379.0283</cx:pt>
          <cx:pt idx="4939">378.26724589999998</cx:pt>
          <cx:pt idx="4940">377.19729999999998</cx:pt>
          <cx:pt idx="4941">379.0283</cx:pt>
          <cx:pt idx="4942">379.0283</cx:pt>
          <cx:pt idx="4943">378.11279999999999</cx:pt>
          <cx:pt idx="4944">377.19729999999998</cx:pt>
          <cx:pt idx="4945">379.0283</cx:pt>
          <cx:pt idx="4946">378.11279999999999</cx:pt>
          <cx:pt idx="4947">378.11279999999999</cx:pt>
          <cx:pt idx="4948">379.94380000000001</cx:pt>
          <cx:pt idx="4949">376.2817</cx:pt>
          <cx:pt idx="4950">378.11279999999999</cx:pt>
          <cx:pt idx="4951">379.0283</cx:pt>
          <cx:pt idx="4952">379.94380000000001</cx:pt>
          <cx:pt idx="4953">378.11279999999999</cx:pt>
          <cx:pt idx="4954">378.11279999999999</cx:pt>
          <cx:pt idx="4955">380.85939999999999</cx:pt>
          <cx:pt idx="4956">377.19729999999998</cx:pt>
          <cx:pt idx="4957">380.85939999999999</cx:pt>
          <cx:pt idx="4958">377.19729999999998</cx:pt>
          <cx:pt idx="4959">379.0283</cx:pt>
          <cx:pt idx="4960">377.19729999999998</cx:pt>
          <cx:pt idx="4961">378.11279999999999</cx:pt>
          <cx:pt idx="4962">377.19729999999998</cx:pt>
          <cx:pt idx="4963">376.2817</cx:pt>
          <cx:pt idx="4964">376.2817</cx:pt>
          <cx:pt idx="4965">375.36619999999999</cx:pt>
          <cx:pt idx="4966">375.36619999999999</cx:pt>
          <cx:pt idx="4967">373.53519999999997</cx:pt>
          <cx:pt idx="4968">377.19729999999998</cx:pt>
          <cx:pt idx="4969">376.2817</cx:pt>
          <cx:pt idx="4970">376.2817</cx:pt>
          <cx:pt idx="4971">375.36619999999999</cx:pt>
          <cx:pt idx="4972">376.9878597</cx:pt>
          <cx:pt idx="4973">377.19729999999998</cx:pt>
          <cx:pt idx="4974">375.36619999999999</cx:pt>
          <cx:pt idx="4975">375.36619999999999</cx:pt>
          <cx:pt idx="4976">375.36619999999999</cx:pt>
          <cx:pt idx="4977">375.36619999999999</cx:pt>
          <cx:pt idx="4978">375.36619999999999</cx:pt>
          <cx:pt idx="4979">374.45069999999998</cx:pt>
          <cx:pt idx="4980">375.36619999999999</cx:pt>
          <cx:pt idx="4981">377.19729999999998</cx:pt>
          <cx:pt idx="4982">375.36619999999999</cx:pt>
          <cx:pt idx="4983">373.53519999999997</cx:pt>
          <cx:pt idx="4984">375.36619999999999</cx:pt>
          <cx:pt idx="4985">375.36619999999999</cx:pt>
          <cx:pt idx="4986">375.36619999999999</cx:pt>
          <cx:pt idx="4987">375.36619999999999</cx:pt>
          <cx:pt idx="4988">375.36619999999999</cx:pt>
          <cx:pt idx="4989">377.19729999999998</cx:pt>
          <cx:pt idx="4990">373.53519999999997</cx:pt>
          <cx:pt idx="4991">375.36619999999999</cx:pt>
          <cx:pt idx="4992">376.2817</cx:pt>
          <cx:pt idx="4993">375.36619999999999</cx:pt>
          <cx:pt idx="4994">373.53519999999997</cx:pt>
          <cx:pt idx="4995">377.19729999999998</cx:pt>
          <cx:pt idx="4996">377.1662791</cx:pt>
          <cx:pt idx="4997">375.36619999999999</cx:pt>
          <cx:pt idx="4998">375.36619999999999</cx:pt>
          <cx:pt idx="4999">375.36619999999999</cx:pt>
          <cx:pt idx="5000">375.36619999999999</cx:pt>
          <cx:pt idx="5001">378.11279999999999</cx:pt>
          <cx:pt idx="5002">374.45069999999998</cx:pt>
          <cx:pt idx="5003">375.36619999999999</cx:pt>
          <cx:pt idx="5004">375.36619999999999</cx:pt>
          <cx:pt idx="5005">375.36619999999999</cx:pt>
          <cx:pt idx="5006">375.36619999999999</cx:pt>
          <cx:pt idx="5007">375.36619999999999</cx:pt>
          <cx:pt idx="5008">374.45069999999998</cx:pt>
          <cx:pt idx="5009">375.36619999999999</cx:pt>
          <cx:pt idx="5010">374.45069999999998</cx:pt>
          <cx:pt idx="5011">375.36619999999999</cx:pt>
          <cx:pt idx="5012">375.36619999999999</cx:pt>
          <cx:pt idx="5013">375.36619999999999</cx:pt>
          <cx:pt idx="5014">375.36619999999999</cx:pt>
          <cx:pt idx="5015">373.53519999999997</cx:pt>
          <cx:pt idx="5016">377.19729999999998</cx:pt>
          <cx:pt idx="5017">374.45069999999998</cx:pt>
          <cx:pt idx="5018">374.45069999999998</cx:pt>
          <cx:pt idx="5019">374.45069999999998</cx:pt>
          <cx:pt idx="5020">375.3301184</cx:pt>
          <cx:pt idx="5021">375.36619999999999</cx:pt>
          <cx:pt idx="5022">373.53519999999997</cx:pt>
          <cx:pt idx="5023">375.36619999999999</cx:pt>
          <cx:pt idx="5024">375.36619999999999</cx:pt>
          <cx:pt idx="5025">373.53519999999997</cx:pt>
          <cx:pt idx="5026">375.36619999999999</cx:pt>
          <cx:pt idx="5027">376.2817</cx:pt>
          <cx:pt idx="5028">374.45069999999998</cx:pt>
          <cx:pt idx="5029">374.45069999999998</cx:pt>
          <cx:pt idx="5030">374.45069999999998</cx:pt>
          <cx:pt idx="5031">372.61959999999999</cx:pt>
          <cx:pt idx="5032">374.45069999999998</cx:pt>
          <cx:pt idx="5033">375.36619999999999</cx:pt>
          <cx:pt idx="5034">375.36619999999999</cx:pt>
          <cx:pt idx="5035">375.36619999999999</cx:pt>
          <cx:pt idx="5036">375.36619999999999</cx:pt>
          <cx:pt idx="5037">375.36619999999999</cx:pt>
          <cx:pt idx="5038">375.36619999999999</cx:pt>
          <cx:pt idx="5039">375.36619999999999</cx:pt>
          <cx:pt idx="5040">376.2817</cx:pt>
          <cx:pt idx="5041">376.2817</cx:pt>
          <cx:pt idx="5042">376.2817</cx:pt>
          <cx:pt idx="5043">374.45069999999998</cx:pt>
          <cx:pt idx="5044">375.79581239999999</cx:pt>
          <cx:pt idx="5045">376.2817</cx:pt>
          <cx:pt idx="5046">374.45069999999998</cx:pt>
          <cx:pt idx="5047">375.36619999999999</cx:pt>
          <cx:pt idx="5048">373.53519999999997</cx:pt>
          <cx:pt idx="5049">376.2817</cx:pt>
          <cx:pt idx="5050">374.45069999999998</cx:pt>
          <cx:pt idx="5051">374.45069999999998</cx:pt>
          <cx:pt idx="5052">373.53519999999997</cx:pt>
          <cx:pt idx="5053">374.45069999999998</cx:pt>
          <cx:pt idx="5054">376.2817</cx:pt>
          <cx:pt idx="5055">374.45069999999998</cx:pt>
          <cx:pt idx="5056">375.36619999999999</cx:pt>
          <cx:pt idx="5057">375.36619999999999</cx:pt>
          <cx:pt idx="5058">375.36619999999999</cx:pt>
          <cx:pt idx="5059">375.36619999999999</cx:pt>
          <cx:pt idx="5060">375.36619999999999</cx:pt>
          <cx:pt idx="5061">375.36619999999999</cx:pt>
          <cx:pt idx="5062">374.45069999999998</cx:pt>
          <cx:pt idx="5063">375.36619999999999</cx:pt>
          <cx:pt idx="5064">375.36619999999999</cx:pt>
          <cx:pt idx="5065">374.45069999999998</cx:pt>
          <cx:pt idx="5066">376.2817</cx:pt>
          <cx:pt idx="5067">374.45069999999998</cx:pt>
          <cx:pt idx="5068">373.53519999999997</cx:pt>
          <cx:pt idx="5069">377.19729999999998</cx:pt>
          <cx:pt idx="5070">373.53519999999997</cx:pt>
          <cx:pt idx="5071">375.36619999999999</cx:pt>
          <cx:pt idx="5072">377.19729999999998</cx:pt>
          <cx:pt idx="5073">373.53519999999997</cx:pt>
          <cx:pt idx="5074">374.45069999999998</cx:pt>
          <cx:pt idx="5075">374.45069999999998</cx:pt>
          <cx:pt idx="5076">374.45069999999998</cx:pt>
          <cx:pt idx="5077">374.45069999999998</cx:pt>
          <cx:pt idx="5078">374.45069999999998</cx:pt>
          <cx:pt idx="5079">374.45069999999998</cx:pt>
          <cx:pt idx="5080">374.45069999999998</cx:pt>
          <cx:pt idx="5081">376.2817</cx:pt>
          <cx:pt idx="5082">372.61959999999999</cx:pt>
          <cx:pt idx="5083">374.45069999999998</cx:pt>
          <cx:pt idx="5084">374.45069999999998</cx:pt>
          <cx:pt idx="5085">372.61959999999999</cx:pt>
          <cx:pt idx="5086">374.45069999999998</cx:pt>
          <cx:pt idx="5087">374.45069999999998</cx:pt>
          <cx:pt idx="5088">374.45069999999998</cx:pt>
          <cx:pt idx="5089">374.45069999999998</cx:pt>
          <cx:pt idx="5090">374.45069999999998</cx:pt>
          <cx:pt idx="5091">375.36619999999999</cx:pt>
          <cx:pt idx="5092">372.61959999999999</cx:pt>
          <cx:pt idx="5093">376.2817</cx:pt>
          <cx:pt idx="5094">374.45069999999998</cx:pt>
          <cx:pt idx="5095">376.2817</cx:pt>
          <cx:pt idx="5096">372.61959999999999</cx:pt>
          <cx:pt idx="5097">375.36619999999999</cx:pt>
          <cx:pt idx="5098">374.45069999999998</cx:pt>
          <cx:pt idx="5099">376.2817</cx:pt>
          <cx:pt idx="5100">375.36619999999999</cx:pt>
          <cx:pt idx="5101">375.36619999999999</cx:pt>
          <cx:pt idx="5102">375.36619999999999</cx:pt>
          <cx:pt idx="5103">375.36619999999999</cx:pt>
          <cx:pt idx="5104">375.36619999999999</cx:pt>
          <cx:pt idx="5105">374.45069999999998</cx:pt>
          <cx:pt idx="5106">376.2817</cx:pt>
          <cx:pt idx="5107">375.36619999999999</cx:pt>
          <cx:pt idx="5108">375.36619999999999</cx:pt>
          <cx:pt idx="5109">374.45069999999998</cx:pt>
          <cx:pt idx="5110">375.36619999999999</cx:pt>
          <cx:pt idx="5111">374.45069999999998</cx:pt>
          <cx:pt idx="5112">376.2817</cx:pt>
          <cx:pt idx="5113">374.45069999999998</cx:pt>
          <cx:pt idx="5114">375.36619999999999</cx:pt>
          <cx:pt idx="5115">373.53519999999997</cx:pt>
          <cx:pt idx="5116">375.36619999999999</cx:pt>
          <cx:pt idx="5117">374.45069999999998</cx:pt>
          <cx:pt idx="5118">374.45069999999998</cx:pt>
          <cx:pt idx="5119">375.36619999999999</cx:pt>
          <cx:pt idx="5120">376.2817</cx:pt>
          <cx:pt idx="5121">374.45069999999998</cx:pt>
          <cx:pt idx="5122">375.36619999999999</cx:pt>
          <cx:pt idx="5123">375.36619999999999</cx:pt>
          <cx:pt idx="5124">376.2817</cx:pt>
          <cx:pt idx="5125">376.2817</cx:pt>
          <cx:pt idx="5126">377.19729999999998</cx:pt>
          <cx:pt idx="5127">376.2817</cx:pt>
          <cx:pt idx="5128">378.11279999999999</cx:pt>
          <cx:pt idx="5129">374.45069999999998</cx:pt>
          <cx:pt idx="5130">378.11279999999999</cx:pt>
          <cx:pt idx="5131">376.2817</cx:pt>
          <cx:pt idx="5132">377.19729999999998</cx:pt>
          <cx:pt idx="5133">376.2817</cx:pt>
          <cx:pt idx="5134">376.2817</cx:pt>
          <cx:pt idx="5135">374.45069999999998</cx:pt>
          <cx:pt idx="5136">378.11279999999999</cx:pt>
          <cx:pt idx="5137">377.19729999999998</cx:pt>
          <cx:pt idx="5138">376.2817</cx:pt>
          <cx:pt idx="5139">378.11279999999999</cx:pt>
          <cx:pt idx="5140">376.2817</cx:pt>
          <cx:pt idx="5141">377.19729999999998</cx:pt>
          <cx:pt idx="5142">375.66202959999998</cx:pt>
          <cx:pt idx="5143">375.36619999999999</cx:pt>
          <cx:pt idx="5144">378.11279999999999</cx:pt>
          <cx:pt idx="5145">378.11279999999999</cx:pt>
          <cx:pt idx="5146">376.2817</cx:pt>
          <cx:pt idx="5147">376.2817</cx:pt>
          <cx:pt idx="5148">376.70083039999997</cx:pt>
          <cx:pt idx="5149">377.19729999999998</cx:pt>
          <cx:pt idx="5150">377.19729999999998</cx:pt>
          <cx:pt idx="5151">377.19729999999998</cx:pt>
          <cx:pt idx="5152">377.19729999999998</cx:pt>
          <cx:pt idx="5153">379.0283</cx:pt>
          <cx:pt idx="5154">378.11279999999999</cx:pt>
          <cx:pt idx="5155">376.2817</cx:pt>
          <cx:pt idx="5156">378.11279999999999</cx:pt>
          <cx:pt idx="5157">378.11279999999999</cx:pt>
          <cx:pt idx="5158">378.11279999999999</cx:pt>
          <cx:pt idx="5159">378.11279999999999</cx:pt>
          <cx:pt idx="5160">379.0283</cx:pt>
          <cx:pt idx="5161">379.0283</cx:pt>
          <cx:pt idx="5162">379.0283</cx:pt>
          <cx:pt idx="5163">379.0283</cx:pt>
          <cx:pt idx="5164">380.85939999999999</cx:pt>
          <cx:pt idx="5165">379.94380000000001</cx:pt>
          <cx:pt idx="5166">380.85939999999999</cx:pt>
          <cx:pt idx="5167">380.65756820000001</cx:pt>
          <cx:pt idx="5168">380.21847910000002</cx:pt>
          <cx:pt idx="5169">380.19976370000001</cx:pt>
          <cx:pt idx="5170">380.18162510000002</cx:pt>
          <cx:pt idx="5171">380.163633</cx:pt>
          <cx:pt idx="5172">380.1269163</cx:pt>
          <cx:pt idx="5173">380.0149351</cx:pt>
          <cx:pt idx="5174">379.94380000000001</cx:pt>
          <cx:pt idx="5175">382.69040000000001</cx:pt>
          <cx:pt idx="5176">379.0283</cx:pt>
          <cx:pt idx="5177">382.69040000000001</cx:pt>
          <cx:pt idx="5178">382.69040000000001</cx:pt>
          <cx:pt idx="5179">381.7749</cx:pt>
          <cx:pt idx="5180">382.69040000000001</cx:pt>
          <cx:pt idx="5181">382.69040000000001</cx:pt>
          <cx:pt idx="5182">382.69040000000001</cx:pt>
          <cx:pt idx="5183">382.97024349999998</cx:pt>
          <cx:pt idx="5184">383.60590000000002</cx:pt>
          <cx:pt idx="5185">382.69040000000001</cx:pt>
          <cx:pt idx="5186">382.69040000000001</cx:pt>
          <cx:pt idx="5187">382.69040000000001</cx:pt>
          <cx:pt idx="5188">382.69040000000001</cx:pt>
          <cx:pt idx="5189">383.60590000000002</cx:pt>
          <cx:pt idx="5190">383.60590000000002</cx:pt>
          <cx:pt idx="5191">382.01602819999999</cx:pt>
          <cx:pt idx="5192">381.7749</cx:pt>
          <cx:pt idx="5193">382.69040000000001</cx:pt>
          <cx:pt idx="5194">382.69040000000001</cx:pt>
          <cx:pt idx="5195">382.69040000000001</cx:pt>
          <cx:pt idx="5196">381.7749</cx:pt>
          <cx:pt idx="5197">383.60590000000002</cx:pt>
          <cx:pt idx="5198">382.69040000000001</cx:pt>
          <cx:pt idx="5199">381.82578369999999</cx:pt>
          <cx:pt idx="5200">381.7749</cx:pt>
          <cx:pt idx="5201">381.7749</cx:pt>
          <cx:pt idx="5202">381.7749</cx:pt>
          <cx:pt idx="5203">381.7749</cx:pt>
          <cx:pt idx="5204">381.7749</cx:pt>
          <cx:pt idx="5205">381.7749</cx:pt>
          <cx:pt idx="5206">381.7749</cx:pt>
          <cx:pt idx="5207">381.7749</cx:pt>
          <cx:pt idx="5208">381.7749</cx:pt>
          <cx:pt idx="5209">381.7749</cx:pt>
          <cx:pt idx="5210">381.7749</cx:pt>
          <cx:pt idx="5211">381.7749</cx:pt>
          <cx:pt idx="5212">381.7749</cx:pt>
          <cx:pt idx="5213">381.7749</cx:pt>
          <cx:pt idx="5214">381.7749</cx:pt>
          <cx:pt idx="5215">381.7749</cx:pt>
          <cx:pt idx="5216">381.7749</cx:pt>
          <cx:pt idx="5217">381.7749</cx:pt>
          <cx:pt idx="5218">381.7749</cx:pt>
          <cx:pt idx="5219">381.7749</cx:pt>
          <cx:pt idx="5220">381.7749</cx:pt>
          <cx:pt idx="5221">381.7749</cx:pt>
          <cx:pt idx="5222">381.7749</cx:pt>
          <cx:pt idx="5223">381.7749</cx:pt>
          <cx:pt idx="5224">381.7749</cx:pt>
          <cx:pt idx="5225">381.7749</cx:pt>
          <cx:pt idx="5226">381.7749</cx:pt>
          <cx:pt idx="5227">381.7749</cx:pt>
          <cx:pt idx="5228">381.7749</cx:pt>
          <cx:pt idx="5229">381.7749</cx:pt>
          <cx:pt idx="5230">381.7749</cx:pt>
          <cx:pt idx="5231">381.7749</cx:pt>
          <cx:pt idx="5232">381.7749</cx:pt>
          <cx:pt idx="5233">381.7749</cx:pt>
          <cx:pt idx="5234">381.7749</cx:pt>
          <cx:pt idx="5235">381.7749</cx:pt>
          <cx:pt idx="5236">381.7749</cx:pt>
          <cx:pt idx="5237">381.7749</cx:pt>
          <cx:pt idx="5238">381.7749</cx:pt>
          <cx:pt idx="5239">381.7749</cx:pt>
          <cx:pt idx="5240">381.7749</cx:pt>
          <cx:pt idx="5241">381.7749</cx:pt>
          <cx:pt idx="5242">381.7749</cx:pt>
          <cx:pt idx="5243">381.7749</cx:pt>
          <cx:pt idx="5244">381.7749</cx:pt>
          <cx:pt idx="5245">381.7749</cx:pt>
          <cx:pt idx="5246">381.7749</cx:pt>
          <cx:pt idx="5247">381.7749</cx:pt>
          <cx:pt idx="5248">381.7749</cx:pt>
          <cx:pt idx="5249">381.7749</cx:pt>
          <cx:pt idx="5250">381.7749</cx:pt>
          <cx:pt idx="5251">381.7749</cx:pt>
          <cx:pt idx="5252">381.7749</cx:pt>
          <cx:pt idx="5253">381.7749</cx:pt>
          <cx:pt idx="5254">381.7749</cx:pt>
          <cx:pt idx="5255">381.7749</cx:pt>
          <cx:pt idx="5256">381.7749</cx:pt>
          <cx:pt idx="5257">381.7749</cx:pt>
          <cx:pt idx="5258">381.7749</cx:pt>
          <cx:pt idx="5259">381.7749</cx:pt>
          <cx:pt idx="5260">381.7749</cx:pt>
          <cx:pt idx="5261">381.7749</cx:pt>
          <cx:pt idx="5262">381.7749</cx:pt>
          <cx:pt idx="5263">381.7749</cx:pt>
          <cx:pt idx="5264">381.7749</cx:pt>
          <cx:pt idx="5265">381.7749</cx:pt>
          <cx:pt idx="5266">381.7749</cx:pt>
          <cx:pt idx="5267">381.7749</cx:pt>
          <cx:pt idx="5268">381.7749</cx:pt>
          <cx:pt idx="5269">381.7749</cx:pt>
          <cx:pt idx="5270">381.7749</cx:pt>
          <cx:pt idx="5271">381.7749</cx:pt>
          <cx:pt idx="5272">381.7749</cx:pt>
          <cx:pt idx="5273">381.7749</cx:pt>
          <cx:pt idx="5274">381.7749</cx:pt>
          <cx:pt idx="5275">381.7749</cx:pt>
          <cx:pt idx="5276">381.7749</cx:pt>
          <cx:pt idx="5277">381.7749</cx:pt>
          <cx:pt idx="5278">381.7749</cx:pt>
          <cx:pt idx="5279">381.7749</cx:pt>
          <cx:pt idx="5280">381.7749</cx:pt>
          <cx:pt idx="5281">381.7749</cx:pt>
          <cx:pt idx="5282">381.7749</cx:pt>
          <cx:pt idx="5283">381.7749</cx:pt>
          <cx:pt idx="5284">381.7749</cx:pt>
          <cx:pt idx="5285">381.7749</cx:pt>
          <cx:pt idx="5286">381.7749</cx:pt>
          <cx:pt idx="5287">381.7749</cx:pt>
          <cx:pt idx="5288">381.7749</cx:pt>
          <cx:pt idx="5289">381.7749</cx:pt>
          <cx:pt idx="5290">381.7749</cx:pt>
          <cx:pt idx="5291">381.7749</cx:pt>
          <cx:pt idx="5292">381.7749</cx:pt>
          <cx:pt idx="5293">381.7749</cx:pt>
          <cx:pt idx="5294">381.7749</cx:pt>
          <cx:pt idx="5295">381.7749</cx:pt>
          <cx:pt idx="5296">381.7749</cx:pt>
          <cx:pt idx="5297">381.7749</cx:pt>
          <cx:pt idx="5298">381.7749</cx:pt>
          <cx:pt idx="5299">381.7749</cx:pt>
          <cx:pt idx="5300">381.7749</cx:pt>
          <cx:pt idx="5301">379.0283</cx:pt>
          <cx:pt idx="5302">383.60590000000002</cx:pt>
          <cx:pt idx="5303">383.46866779999999</cx:pt>
          <cx:pt idx="5304">383.33363459999998</cx:pt>
          <cx:pt idx="5305">383.1975018</cx:pt>
          <cx:pt idx="5306">382.92193789999999</cx:pt>
          <cx:pt idx="5307">381.96035019999999</cx:pt>
          <cx:pt idx="5308">381.81885740000001</cx:pt>
          <cx:pt idx="5309">381.40716070000002</cx:pt>
          <cx:pt idx="5310">381.13599479999999</cx:pt>
          <cx:pt idx="5311">380.9944332</cx:pt>
          <cx:pt idx="5312">380.85939999999999</cx:pt>
          <cx:pt idx="5313">380.90472369999998</cx:pt>
          <cx:pt idx="5314">380.95041350000002</cx:pt>
          <cx:pt idx="5315">380.99752180000002</cx:pt>
          <cx:pt idx="5316">381.04250230000002</cx:pt>
          <cx:pt idx="5317">381.36338319999999</cx:pt>
          <cx:pt idx="5318">381.40799759999999</cx:pt>
          <cx:pt idx="5319">381.5457533</cx:pt>
          <cx:pt idx="5320">381.63676679999998</cx:pt>
          <cx:pt idx="5321">381.68387510000002</cx:pt>
          <cx:pt idx="5322">381.72885559999997</cx:pt>
          <cx:pt idx="5323">381.77454540000002</cx:pt>
          <cx:pt idx="5324">381.81986910000001</cx:pt>
          <cx:pt idx="5325">381.95728159999999</cx:pt>
          <cx:pt idx="5326">382.0040467</cx:pt>
          <cx:pt idx="5327">382.04973649999999</cx:pt>
          <cx:pt idx="5328">382.18714899999998</cx:pt>
          <cx:pt idx="5329">382.27743029999999</cx:pt>
          <cx:pt idx="5330">382.3698852</cx:pt>
          <cx:pt idx="5331">382.50622240000001</cx:pt>
          <cx:pt idx="5332">382.6436349</cx:pt>
          <cx:pt idx="5333">382.69040000000001</cx:pt>
          <cx:pt idx="5334">382.61155789999998</cx:pt>
          <cx:pt idx="5335">380.85082849999998</cx:pt>
          <cx:pt idx="5336">380.39915309999998</cx:pt>
          <cx:pt idx="5337">379.94380000000001</cx:pt>
          <cx:pt idx="5338">383.60590000000002</cx:pt>
          <cx:pt idx="5339">383.53237530000001</cx:pt>
          <cx:pt idx="5340">383.00846480000001</cx:pt>
          <cx:pt idx="5341">382.9956373</cx:pt>
          <cx:pt idx="5342">382.93378080000002</cx:pt>
          <cx:pt idx="5343">382.86085439999999</cx:pt>
          <cx:pt idx="5344">382.56159450000001</cx:pt>
          <cx:pt idx="5345">382.48399339999997</cx:pt>
          <cx:pt idx="5346">382.40990770000002</cx:pt>
          <cx:pt idx="5347">382.33698129999999</cx:pt>
          <cx:pt idx="5348">382.11001210000001</cx:pt>
          <cx:pt idx="5349">382.03592639999999</cx:pt>
          <cx:pt idx="5350">381.96300000000002</cx:pt>
          <cx:pt idx="5351">381.88655820000002</cx:pt>
          <cx:pt idx="5352">381.87316970000001</cx:pt>
          <cx:pt idx="5353">381.81187419999998</cx:pt>
          <cx:pt idx="5354">381.73894780000001</cx:pt>
          <cx:pt idx="5355">381.66486209999999</cx:pt>
          <cx:pt idx="5356">381.58726100000001</cx:pt>
          <cx:pt idx="5357">381.51377359999998</cx:pt>
          <cx:pt idx="5358">381.43968790000002</cx:pt>
          <cx:pt idx="5359">381.36208679999999</cx:pt>
          <cx:pt idx="5360">381.28800109999997</cx:pt>
          <cx:pt idx="5361">381.2150747</cx:pt>
          <cx:pt idx="5362">381.13979230000001</cx:pt>
          <cx:pt idx="5363">381.0657066</cx:pt>
          <cx:pt idx="5364">380.98810550000002</cx:pt>
          <cx:pt idx="5365">380.91401980000001</cx:pt>
          <cx:pt idx="5366">380.84109339999998</cx:pt>
          <cx:pt idx="5367">380.76465159999998</cx:pt>
          <cx:pt idx="5368">380.75182410000002</cx:pt>
          <cx:pt idx="5369">380.69000499999999</cx:pt>
          <cx:pt idx="5370">380.61704120000002</cx:pt>
          <cx:pt idx="5371">380.53947749999998</cx:pt>
          <cx:pt idx="5372">380.46535440000002</cx:pt>
          <cx:pt idx="5373">380.39186699999999</cx:pt>
          <cx:pt idx="5374">380.31778129999998</cx:pt>
          <cx:pt idx="5375">380.2401802</cx:pt>
          <cx:pt idx="5376">380.16609449999999</cx:pt>
          <cx:pt idx="5377">380.09316810000001</cx:pt>
          <cx:pt idx="5378">380.01788570000002</cx:pt>
          <cx:pt idx="5379">379.94380000000001</cx:pt>
          <cx:pt idx="5380">381.81728559999999</cx:pt>
          <cx:pt idx="5381">383.60590000000002</cx:pt>
          <cx:pt idx="5382">383.56270560000002</cx:pt>
          <cx:pt idx="5383">383.51742899999999</cx:pt>
          <cx:pt idx="5384">383.50949889999998</cx:pt>
          <cx:pt idx="5385">383.4732156</cx:pt>
          <cx:pt idx="5386">383.3819757</cx:pt>
          <cx:pt idx="5387">383.34015470000003</cx:pt>
          <cx:pt idx="5388">383.296628</cx:pt>
          <cx:pt idx="5389">383.25274689999998</cx:pt>
          <cx:pt idx="5390">383.20678359999999</cx:pt>
          <cx:pt idx="5391">383.1629026</cx:pt>
          <cx:pt idx="5392">383.11970810000003</cx:pt>
          <cx:pt idx="5393">383.07511820000002</cx:pt>
          <cx:pt idx="5394">383.0312371</cx:pt>
          <cx:pt idx="5395">382.98527380000002</cx:pt>
          <cx:pt idx="5396">382.94139280000002</cx:pt>
          <cx:pt idx="5397">382.89819829999999</cx:pt>
          <cx:pt idx="5398">382.85292170000002</cx:pt>
          <cx:pt idx="5399">382.84499169999998</cx:pt>
          <cx:pt idx="5400">382.8087084</cx:pt>
          <cx:pt idx="5401">382.7651596</cx:pt>
          <cx:pt idx="5402">382.7171141</cx:pt>
          <cx:pt idx="5403">382.6756474</cx:pt>
          <cx:pt idx="5404">382.6321208</cx:pt>
          <cx:pt idx="5405">382.58823969999997</cx:pt>
          <cx:pt idx="5406">382.54227639999999</cx:pt>
          <cx:pt idx="5407">382.49839530000003</cx:pt>
          <cx:pt idx="5408">382.45520090000002</cx:pt>
          <cx:pt idx="5409">382.41061100000002</cx:pt>
          <cx:pt idx="5410">382.3667299</cx:pt>
          <cx:pt idx="5411">382.32076660000001</cx:pt>
          <cx:pt idx="5412">382.27688549999999</cx:pt>
          <cx:pt idx="5413">381.5272506</cx:pt>
          <cx:pt idx="5414">381.5555592</cx:pt>
          <cx:pt idx="5415">381.58478239999999</cx:pt>
          <cx:pt idx="5416">381.613541</cx:pt>
          <cx:pt idx="5417">381.64366430000001</cx:pt>
          <cx:pt idx="5418">381.67219060000002</cx:pt>
          <cx:pt idx="5419">381.67242290000002</cx:pt>
          <cx:pt idx="5420">381.70073150000002</cx:pt>
          <cx:pt idx="5421">381.73062249999998</cx:pt>
          <cx:pt idx="5422">381.73266940000002</cx:pt>
          <cx:pt idx="5423">381.75961339999998</cx:pt>
          <cx:pt idx="5424">381.78815420000001</cx:pt>
          <cx:pt idx="5425">381.84680379999998</cx:pt>
          <cx:pt idx="5426">381.87511239999998</cx:pt>
          <cx:pt idx="5427">381.9910615</cx:pt>
          <cx:pt idx="5428">382.07916660000001</cx:pt>
          <cx:pt idx="5429">382.10792520000001</cx:pt>
          <cx:pt idx="5430">382.13623380000001</cx:pt>
          <cx:pt idx="5431">382.22342429999998</cx:pt>
          <cx:pt idx="5432">382.25354759999999</cx:pt>
          <cx:pt idx="5433">382.28230619999999</cx:pt>
          <cx:pt idx="5434">382.3393734</cx:pt>
          <cx:pt idx="5435">382.36949670000001</cx:pt>
          <cx:pt idx="5436">382.48454570000001</cx:pt>
          <cx:pt idx="5437">382.54319529999998</cx:pt>
          <cx:pt idx="5438">382.54342759999997</cx:pt>
          <cx:pt idx="5439">382.57173619999998</cx:pt>
          <cx:pt idx="5440">382.60162709999997</cx:pt>
          <cx:pt idx="5441">382.69040000000001</cx:pt>
          <cx:pt idx="5442">382.69040000000001</cx:pt>
          <cx:pt idx="5443">382.69040000000001</cx:pt>
          <cx:pt idx="5444">382.69040000000001</cx:pt>
          <cx:pt idx="5445">382.69040000000001</cx:pt>
          <cx:pt idx="5446">382.69040000000001</cx:pt>
          <cx:pt idx="5447">382.69040000000001</cx:pt>
          <cx:pt idx="5448">382.69040000000001</cx:pt>
          <cx:pt idx="5449">382.69040000000001</cx:pt>
          <cx:pt idx="5450">382.69040000000001</cx:pt>
          <cx:pt idx="5451">382.69040000000001</cx:pt>
          <cx:pt idx="5452">382.69040000000001</cx:pt>
          <cx:pt idx="5453">382.69040000000001</cx:pt>
          <cx:pt idx="5454">382.69040000000001</cx:pt>
          <cx:pt idx="5455">382.69040000000001</cx:pt>
          <cx:pt idx="5456">382.69040000000001</cx:pt>
          <cx:pt idx="5457">382.69040000000001</cx:pt>
          <cx:pt idx="5458">382.69040000000001</cx:pt>
          <cx:pt idx="5459">382.69040000000001</cx:pt>
          <cx:pt idx="5460">382.69040000000001</cx:pt>
          <cx:pt idx="5461">382.69040000000001</cx:pt>
          <cx:pt idx="5462">382.69040000000001</cx:pt>
          <cx:pt idx="5463">382.69040000000001</cx:pt>
          <cx:pt idx="5464">382.69040000000001</cx:pt>
          <cx:pt idx="5465">382.69040000000001</cx:pt>
          <cx:pt idx="5466">382.69040000000001</cx:pt>
          <cx:pt idx="5467">382.69040000000001</cx:pt>
          <cx:pt idx="5468">382.69040000000001</cx:pt>
          <cx:pt idx="5469">382.69040000000001</cx:pt>
          <cx:pt idx="5470">382.69040000000001</cx:pt>
          <cx:pt idx="5471">382.69040000000001</cx:pt>
          <cx:pt idx="5472">382.69040000000001</cx:pt>
          <cx:pt idx="5473">382.69040000000001</cx:pt>
          <cx:pt idx="5474">382.69040000000001</cx:pt>
          <cx:pt idx="5475">382.69040000000001</cx:pt>
          <cx:pt idx="5476">382.69040000000001</cx:pt>
          <cx:pt idx="5477">382.69040000000001</cx:pt>
          <cx:pt idx="5478">382.69040000000001</cx:pt>
          <cx:pt idx="5479">382.69040000000001</cx:pt>
          <cx:pt idx="5480">382.69040000000001</cx:pt>
          <cx:pt idx="5481">382.69040000000001</cx:pt>
          <cx:pt idx="5482">382.69040000000001</cx:pt>
          <cx:pt idx="5483">382.69040000000001</cx:pt>
          <cx:pt idx="5484">382.69040000000001</cx:pt>
          <cx:pt idx="5485">382.69040000000001</cx:pt>
          <cx:pt idx="5486">382.69040000000001</cx:pt>
          <cx:pt idx="5487">382.69040000000001</cx:pt>
          <cx:pt idx="5488">382.69040000000001</cx:pt>
          <cx:pt idx="5489">382.69040000000001</cx:pt>
          <cx:pt idx="5490">382.69040000000001</cx:pt>
          <cx:pt idx="5491">382.69040000000001</cx:pt>
          <cx:pt idx="5492">382.69040000000001</cx:pt>
          <cx:pt idx="5493">382.69040000000001</cx:pt>
          <cx:pt idx="5494">382.69040000000001</cx:pt>
          <cx:pt idx="5495">382.69040000000001</cx:pt>
          <cx:pt idx="5496">382.69040000000001</cx:pt>
          <cx:pt idx="5497">382.69040000000001</cx:pt>
          <cx:pt idx="5498">382.69040000000001</cx:pt>
          <cx:pt idx="5499">382.69040000000001</cx:pt>
          <cx:pt idx="5500">382.69040000000001</cx:pt>
          <cx:pt idx="5501">382.69040000000001</cx:pt>
          <cx:pt idx="5502">382.69040000000001</cx:pt>
          <cx:pt idx="5503">382.69040000000001</cx:pt>
          <cx:pt idx="5504">382.69040000000001</cx:pt>
          <cx:pt idx="5505">382.69040000000001</cx:pt>
          <cx:pt idx="5506">382.69040000000001</cx:pt>
          <cx:pt idx="5507">382.69040000000001</cx:pt>
          <cx:pt idx="5508">382.69040000000001</cx:pt>
          <cx:pt idx="5509">382.69040000000001</cx:pt>
          <cx:pt idx="5510">382.69040000000001</cx:pt>
          <cx:pt idx="5511">382.69040000000001</cx:pt>
          <cx:pt idx="5512">382.69040000000001</cx:pt>
          <cx:pt idx="5513">382.69040000000001</cx:pt>
          <cx:pt idx="5514">382.69040000000001</cx:pt>
          <cx:pt idx="5515">382.69040000000001</cx:pt>
          <cx:pt idx="5516">382.69040000000001</cx:pt>
          <cx:pt idx="5517">382.69040000000001</cx:pt>
          <cx:pt idx="5518">382.69040000000001</cx:pt>
          <cx:pt idx="5519">382.69040000000001</cx:pt>
          <cx:pt idx="5520">382.69040000000001</cx:pt>
          <cx:pt idx="5521">382.69040000000001</cx:pt>
          <cx:pt idx="5522">382.69040000000001</cx:pt>
          <cx:pt idx="5523">382.69040000000001</cx:pt>
          <cx:pt idx="5524">382.69040000000001</cx:pt>
          <cx:pt idx="5525">382.69040000000001</cx:pt>
          <cx:pt idx="5526">382.69040000000001</cx:pt>
          <cx:pt idx="5527">382.69040000000001</cx:pt>
          <cx:pt idx="5528">382.69040000000001</cx:pt>
          <cx:pt idx="5529">382.69040000000001</cx:pt>
          <cx:pt idx="5530">382.69040000000001</cx:pt>
          <cx:pt idx="5531">382.69040000000001</cx:pt>
          <cx:pt idx="5532">382.69040000000001</cx:pt>
          <cx:pt idx="5533">382.69040000000001</cx:pt>
          <cx:pt idx="5534">382.69040000000001</cx:pt>
          <cx:pt idx="5535">382.69040000000001</cx:pt>
          <cx:pt idx="5536">382.69040000000001</cx:pt>
          <cx:pt idx="5537">382.69040000000001</cx:pt>
          <cx:pt idx="5538">382.69040000000001</cx:pt>
          <cx:pt idx="5539">382.69040000000001</cx:pt>
          <cx:pt idx="5540">382.69040000000001</cx:pt>
          <cx:pt idx="5541">382.69040000000001</cx:pt>
          <cx:pt idx="5542">382.69040000000001</cx:pt>
          <cx:pt idx="5543">382.69040000000001</cx:pt>
          <cx:pt idx="5544">382.69040000000001</cx:pt>
          <cx:pt idx="5545">382.69040000000001</cx:pt>
          <cx:pt idx="5546">382.69040000000001</cx:pt>
          <cx:pt idx="5547">382.69040000000001</cx:pt>
          <cx:pt idx="5548">382.69040000000001</cx:pt>
          <cx:pt idx="5549">382.69040000000001</cx:pt>
          <cx:pt idx="5550">382.69040000000001</cx:pt>
          <cx:pt idx="5551">382.69040000000001</cx:pt>
          <cx:pt idx="5552">382.69040000000001</cx:pt>
          <cx:pt idx="5553">382.69040000000001</cx:pt>
          <cx:pt idx="5554">382.69040000000001</cx:pt>
          <cx:pt idx="5555">382.69040000000001</cx:pt>
          <cx:pt idx="5556">382.69040000000001</cx:pt>
          <cx:pt idx="5557">382.69040000000001</cx:pt>
          <cx:pt idx="5558">382.69040000000001</cx:pt>
          <cx:pt idx="5559">382.80017170000002</cx:pt>
          <cx:pt idx="5560">383.0222435</cx:pt>
          <cx:pt idx="5561">383.23832379999999</cx:pt>
          <cx:pt idx="5562">383.34727090000001</cx:pt>
          <cx:pt idx="5563">383.56934280000002</cx:pt>
          <cx:pt idx="5564">383.67741039999999</cx:pt>
          <cx:pt idx="5565">383.78800660000002</cx:pt>
          <cx:pt idx="5566">383.89948229999999</cx:pt>
          <cx:pt idx="5567">384.1267211</cx:pt>
          <cx:pt idx="5568">385.21921570000001</cx:pt>
          <cx:pt idx="5569">385.43700000000001</cx:pt>
          <cx:pt idx="5570">381.7749</cx:pt>
          <cx:pt idx="5571">381.91727309999999</cx:pt>
          <cx:pt idx="5572">382.05209869999999</cx:pt>
          <cx:pt idx="5573">382.3261412</cx:pt>
          <cx:pt idx="5574">382.59798799999999</cx:pt>
          <cx:pt idx="5575">382.74036109999997</cx:pt>
          <cx:pt idx="5576">383.83536459999999</cx:pt>
          <cx:pt idx="5577">384.5215</cx:pt>
          <cx:pt idx="5578">384.4684914</cx:pt>
          <cx:pt idx="5579">384.44594319999999</cx:pt>
          <cx:pt idx="5580">384.41554339999999</cx:pt>
          <cx:pt idx="5581">384.30958679999998</cx:pt>
          <cx:pt idx="5582">384.30196990000002</cx:pt>
          <cx:pt idx="5583">384.28703860000002</cx:pt>
          <cx:pt idx="5584">384.2788314</cx:pt>
          <cx:pt idx="5585">384.18845690000001</cx:pt>
          <cx:pt idx="5586">384.15823490000002</cx:pt>
          <cx:pt idx="5587">384.09011729999997</cx:pt>
          <cx:pt idx="5588">384.06739119999997</cx:pt>
          <cx:pt idx="5589">384.05216100000001</cx:pt>
          <cx:pt idx="5590">384.03728649999999</cx:pt>
          <cx:pt idx="5591">384.02973009999999</cx:pt>
          <cx:pt idx="5592">384.01443940000001</cx:pt>
          <cx:pt idx="5593">384.00700399999999</cx:pt>
          <cx:pt idx="5594">383.9994476</cx:pt>
          <cx:pt idx="5595">383.9918912</cx:pt>
          <cx:pt idx="5596">383.98403960000002</cx:pt>
          <cx:pt idx="5597">383.9766042</cx:pt>
          <cx:pt idx="5598">383.9691651</cx:pt>
          <cx:pt idx="5599">383.9614914</cx:pt>
          <cx:pt idx="5600">383.94649959999998</cx:pt>
          <cx:pt idx="5601">383.938648</cx:pt>
          <cx:pt idx="5602">383.9312089</cx:pt>
          <cx:pt idx="5603">383.92377349999998</cx:pt>
          <cx:pt idx="5604">383.91621709999998</cx:pt>
          <cx:pt idx="5605">383.8782003</cx:pt>
          <cx:pt idx="5606">383.8554742</cx:pt>
          <cx:pt idx="5607">383.84797839999999</cx:pt>
          <cx:pt idx="5608">383.84042190000002</cx:pt>
          <cx:pt idx="5609">383.82513499999999</cx:pt>
          <cx:pt idx="5610">383.81769589999999</cx:pt>
          <cx:pt idx="5611">383.81026050000003</cx:pt>
          <cx:pt idx="5612">383.78741339999999</cx:pt>
          <cx:pt idx="5613">383.77997800000003</cx:pt>
          <cx:pt idx="5614">383.77242159999997</cx:pt>
          <cx:pt idx="5615">383.76486510000001</cx:pt>
          <cx:pt idx="5616">383.75701359999999</cx:pt>
          <cx:pt idx="5617">383.74213909999997</cx:pt>
          <cx:pt idx="5618">383.73428749999999</cx:pt>
          <cx:pt idx="5619">383.71941299999997</cx:pt>
          <cx:pt idx="5620">383.71156139999999</cx:pt>
          <cx:pt idx="5621">383.68919110000002</cx:pt>
          <cx:pt idx="5622">383.68133949999998</cx:pt>
          <cx:pt idx="5623">383.66646500000002</cx:pt>
          <cx:pt idx="5624">383.65861339999998</cx:pt>
          <cx:pt idx="5625">383.60590000000002</cx:pt>
          <cx:pt idx="5626">383.65869129999999</cx:pt>
          <cx:pt idx="5627">383.6730857</cx:pt>
          <cx:pt idx="5628">383.69215350000002</cx:pt>
          <cx:pt idx="5629">383.79280390000002</cx:pt>
          <cx:pt idx="5630">383.80248640000002</cx:pt>
          <cx:pt idx="5631">383.81239420000003</cx:pt>
          <cx:pt idx="5632">383.86010219999997</cx:pt>
          <cx:pt idx="5633">383.86032749999998</cx:pt>
          <cx:pt idx="5634">383.91263229999998</cx:pt>
          <cx:pt idx="5635">383.92231720000001</cx:pt>
          <cx:pt idx="5636">383.95589210000003</cx:pt>
          <cx:pt idx="5637">383.96067579999999</cx:pt>
          <cx:pt idx="5638">383.96538759999999</cx:pt>
          <cx:pt idx="5639">383.97036070000001</cx:pt>
          <cx:pt idx="5640">383.9750702</cx:pt>
          <cx:pt idx="5641">383.97974369999997</cx:pt>
          <cx:pt idx="5642">383.98452980000002</cx:pt>
          <cx:pt idx="5643">383.99892419999998</cx:pt>
          <cx:pt idx="5644">384.00389719999998</cx:pt>
          <cx:pt idx="5645">384.0086091</cx:pt>
          <cx:pt idx="5646">384.03257330000002</cx:pt>
          <cx:pt idx="5647">384.04225819999999</cx:pt>
          <cx:pt idx="5648">384.1475054</cx:pt>
          <cx:pt idx="5649">384.16208669999997</cx:pt>
          <cx:pt idx="5650">384.16679850000003</cx:pt>
          <cx:pt idx="5651">384.17158219999999</cx:pt>
          <cx:pt idx="5652">384.1763684</cx:pt>
          <cx:pt idx="5653">384.1810802</cx:pt>
          <cx:pt idx="5654">384.19543620000002</cx:pt>
          <cx:pt idx="5655">384.20048359999998</cx:pt>
          <cx:pt idx="5656">384.2051955</cx:pt>
          <cx:pt idx="5657">384.21940289999998</cx:pt>
          <cx:pt idx="5658">384.23861929999998</cx:pt>
          <cx:pt idx="5659">384.24347979999999</cx:pt>
          <cx:pt idx="5660">384.25297769999997</cx:pt>
          <cx:pt idx="5661">384.2579508</cx:pt>
          <cx:pt idx="5662">384.26266029999999</cx:pt>
          <cx:pt idx="5663">384.26733380000002</cx:pt>
          <cx:pt idx="5664">384.27709299999998</cx:pt>
          <cx:pt idx="5665">384.28180479999997</cx:pt>
          <cx:pt idx="5666">384.29137470000001</cx:pt>
          <cx:pt idx="5667">384.29619919999999</cx:pt>
          <cx:pt idx="5668">384.30090860000001</cx:pt>
          <cx:pt idx="5669">384.30588169999999</cx:pt>
          <cx:pt idx="5670">384.30606870000003</cx:pt>
          <cx:pt idx="5671">384.3105936</cx:pt>
          <cx:pt idx="5672">384.31537730000002</cx:pt>
          <cx:pt idx="5673">384.32016340000001</cx:pt>
          <cx:pt idx="5674">384.33926960000002</cx:pt>
          <cx:pt idx="5675">384.43075750000003</cx:pt>
          <cx:pt idx="5676">384.43513380000002</cx:pt>
          <cx:pt idx="5677">384.4738663</cx:pt>
          <cx:pt idx="5678">384.5215</cx:pt>
          <cx:pt idx="5679">383.60590000000002</cx:pt>
          <cx:pt idx="5680">383.50402179999998</cx:pt>
          <cx:pt idx="5681">383.48386490000001</cx:pt>
          <cx:pt idx="5682">383.47331079999998</cx:pt>
          <cx:pt idx="5683">383.46331629999997</cx:pt>
          <cx:pt idx="5684">383.45331670000002</cx:pt>
          <cx:pt idx="5685">383.44315940000001</cx:pt>
          <cx:pt idx="5686">383.41261120000001</cx:pt>
          <cx:pt idx="5687">383.3923016</cx:pt>
          <cx:pt idx="5688">383.38174759999998</cx:pt>
          <cx:pt idx="5689">383.37174800000003</cx:pt>
          <cx:pt idx="5690">383.3617534</cx:pt>
          <cx:pt idx="5691">383.34119980000003</cx:pt>
          <cx:pt idx="5692">383.3312052</cx:pt>
          <cx:pt idx="5693">383.32025449999998</cx:pt>
          <cx:pt idx="5694">383.31065160000003</cx:pt>
          <cx:pt idx="5695">383.30073329999999</cx:pt>
          <cx:pt idx="5696">383.29010299999999</cx:pt>
          <cx:pt idx="5697">383.27010380000002</cx:pt>
          <cx:pt idx="5698">383.24987049999999</cx:pt>
          <cx:pt idx="5699">383.23955549999999</cx:pt>
          <cx:pt idx="5700">383.22956099999999</cx:pt>
          <cx:pt idx="5701">383.21900699999998</cx:pt>
          <cx:pt idx="5702">383.21852890000002</cx:pt>
          <cx:pt idx="5703">383.1988551</cx:pt>
          <cx:pt idx="5704">383.17869819999999</cx:pt>
          <cx:pt idx="5705">383.16814419999997</cx:pt>
          <cx:pt idx="5706">383.12752</cx:pt>
          <cx:pt idx="5707">383.11752039999999</cx:pt>
          <cx:pt idx="5708">383.08713499999999</cx:pt>
          <cx:pt idx="5709">383.07658090000001</cx:pt>
          <cx:pt idx="5710">383.05658679999999</cx:pt>
          <cx:pt idx="5711">383.04603270000001</cx:pt>
          <cx:pt idx="5712">383.0054849</cx:pt>
          <cx:pt idx="5713">382.99556669999998</cx:pt>
          <cx:pt idx="5714">382.98493630000002</cx:pt>
          <cx:pt idx="5715">382.9749367</cx:pt>
          <cx:pt idx="5716">382.96493709999999</cx:pt>
          <cx:pt idx="5717">382.95438810000002</cx:pt>
          <cx:pt idx="5718">382.92439430000002</cx:pt>
          <cx:pt idx="5719">382.9138403</cx:pt>
          <cx:pt idx="5720">382.8936885</cx:pt>
          <cx:pt idx="5721">382.88353119999999</cx:pt>
          <cx:pt idx="5722">382.87353150000001</cx:pt>
          <cx:pt idx="5723">382.85298299999999</cx:pt>
          <cx:pt idx="5724">382.84298330000001</cx:pt>
          <cx:pt idx="5725">382.76141460000002</cx:pt>
          <cx:pt idx="5726">382.73086640000002</cx:pt>
          <cx:pt idx="5727">382.70031820000003</cx:pt>
          <cx:pt idx="5728">382.69040000000001</cx:pt>
          <cx:pt idx="5729">383.55474170000002</cx:pt>
          <cx:pt idx="5730">383.60590000000002</cx:pt>
          <cx:pt idx="5731">383.60590000000002</cx:pt>
          <cx:pt idx="5732">383.60590000000002</cx:pt>
          <cx:pt idx="5733">383.60590000000002</cx:pt>
          <cx:pt idx="5734">383.60590000000002</cx:pt>
          <cx:pt idx="5735">383.60590000000002</cx:pt>
          <cx:pt idx="5736">383.60590000000002</cx:pt>
          <cx:pt idx="5737">383.60590000000002</cx:pt>
          <cx:pt idx="5738">383.60590000000002</cx:pt>
          <cx:pt idx="5739">383.60590000000002</cx:pt>
          <cx:pt idx="5740">383.60590000000002</cx:pt>
          <cx:pt idx="5741">383.60590000000002</cx:pt>
          <cx:pt idx="5742">383.60590000000002</cx:pt>
          <cx:pt idx="5743">383.60590000000002</cx:pt>
          <cx:pt idx="5744">383.60590000000002</cx:pt>
          <cx:pt idx="5745">383.60590000000002</cx:pt>
          <cx:pt idx="5746">383.60590000000002</cx:pt>
          <cx:pt idx="5747">383.60590000000002</cx:pt>
          <cx:pt idx="5748">383.60590000000002</cx:pt>
          <cx:pt idx="5749">383.60590000000002</cx:pt>
          <cx:pt idx="5750">383.71699280000001</cx:pt>
          <cx:pt idx="5751">383.83031649999998</cx:pt>
          <cx:pt idx="5752">383.9472442</cx:pt>
          <cx:pt idx="5753">383.94947519999999</cx:pt>
          <cx:pt idx="5754">384.00344849999999</cx:pt>
          <cx:pt idx="5755">384.17434939999998</cx:pt>
          <cx:pt idx="5756">384.2337</cx:pt>
          <cx:pt idx="5757">384.28993279999997</cx:pt>
          <cx:pt idx="5758">384.346137</cx:pt>
          <cx:pt idx="5759">384.4023699</cx:pt>
          <cx:pt idx="5760">384.5188114</cx:pt>
          <cx:pt idx="5761">384.5215</cx:pt>
          <cx:pt idx="5762">384.54146359999999</cx:pt>
          <cx:pt idx="5763">384.6494399</cx:pt>
          <cx:pt idx="5764">384.75508059999999</cx:pt>
          <cx:pt idx="5765">384.82012229999998</cx:pt>
          <cx:pt idx="5766">385.18113090000003</cx:pt>
          <cx:pt idx="5767">385.33069799999998</cx:pt>
          <cx:pt idx="5768">385.35199469999998</cx:pt>
          <cx:pt idx="5769">385.37295010000003</cx:pt>
          <cx:pt idx="5770">385.39507859999998</cx:pt>
          <cx:pt idx="5771">385.43700000000001</cx:pt>
          <cx:pt idx="5772">383.60590000000002</cx:pt>
          <cx:pt idx="5773">383.60590000000002</cx:pt>
          <cx:pt idx="5774">383.60590000000002</cx:pt>
          <cx:pt idx="5775">383.60590000000002</cx:pt>
          <cx:pt idx="5776">383.60590000000002</cx:pt>
          <cx:pt idx="5777">383.60590000000002</cx:pt>
          <cx:pt idx="5778">383.60590000000002</cx:pt>
          <cx:pt idx="5779">383.60590000000002</cx:pt>
          <cx:pt idx="5780">383.60590000000002</cx:pt>
          <cx:pt idx="5781">383.60590000000002</cx:pt>
          <cx:pt idx="5782">383.60590000000002</cx:pt>
          <cx:pt idx="5783">383.60590000000002</cx:pt>
          <cx:pt idx="5784">383.60590000000002</cx:pt>
          <cx:pt idx="5785">383.60590000000002</cx:pt>
          <cx:pt idx="5786">383.60590000000002</cx:pt>
          <cx:pt idx="5787">383.60590000000002</cx:pt>
          <cx:pt idx="5788">383.60590000000002</cx:pt>
          <cx:pt idx="5789">383.60590000000002</cx:pt>
          <cx:pt idx="5790">383.60590000000002</cx:pt>
          <cx:pt idx="5791">383.60590000000002</cx:pt>
          <cx:pt idx="5792">383.60590000000002</cx:pt>
          <cx:pt idx="5793">383.60590000000002</cx:pt>
          <cx:pt idx="5794">383.54607520000002</cx:pt>
          <cx:pt idx="5795">383.52560799999998</cx:pt>
          <cx:pt idx="5796">383.50560869999998</cx:pt>
          <cx:pt idx="5797">383.48450070000001</cx:pt>
          <cx:pt idx="5798">383.46451159999998</cx:pt>
          <cx:pt idx="5799">383.44451229999999</cx:pt>
          <cx:pt idx="5800">383.42340419999999</cx:pt>
          <cx:pt idx="5801">383.42277360000003</cx:pt>
          <cx:pt idx="5802">383.40341519999998</cx:pt>
          <cx:pt idx="5803">383.3623078</cx:pt>
          <cx:pt idx="5804">383.34231879999999</cx:pt>
          <cx:pt idx="5805">383.32231949999999</cx:pt>
          <cx:pt idx="5806">383.30232030000002</cx:pt>
          <cx:pt idx="5807">383.28122239999999</cx:pt>
          <cx:pt idx="5808">383.24090849999999</cx:pt>
          <cx:pt idx="5809">383.20060480000001</cx:pt>
          <cx:pt idx="5810">383.15949749999999</cx:pt>
          <cx:pt idx="5811">383.13950840000001</cx:pt>
          <cx:pt idx="5812">383.11840030000002</cx:pt>
          <cx:pt idx="5813">383.09840109999999</cx:pt>
          <cx:pt idx="5814">383.07841200000001</cx:pt>
          <cx:pt idx="5815">383.05730390000002</cx:pt>
          <cx:pt idx="5816">383.03746740000003</cx:pt>
          <cx:pt idx="5817">383.01683750000001</cx:pt>
          <cx:pt idx="5818">382.97573019999999</cx:pt>
          <cx:pt idx="5819">382.93574180000002</cx:pt>
          <cx:pt idx="5820">382.91542720000001</cx:pt>
          <cx:pt idx="5821">382.89543809999998</cx:pt>
          <cx:pt idx="5822">382.71198620000001</cx:pt>
          <cx:pt idx="5823">382.69040000000001</cx:pt>
          <cx:pt idx="5824">382.72729450000003</cx:pt>
          <cx:pt idx="5825">382.73982269999999</cx:pt>
          <cx:pt idx="5826">382.75283400000001</cx:pt>
          <cx:pt idx="5827">382.77750140000001</cx:pt>
          <cx:pt idx="5828">382.78982889999997</cx:pt>
          <cx:pt idx="5829">382.80284640000002</cx:pt>
          <cx:pt idx="5830">383.04076309999999</cx:pt>
          <cx:pt idx="5831">383.1792446</cx:pt>
          <cx:pt idx="5832">383.21741259999999</cx:pt>
          <cx:pt idx="5833">383.24168479999997</cx:pt>
          <cx:pt idx="5834">383.25499719999999</cx:pt>
          <cx:pt idx="5835">383.2792632</cx:pt>
          <cx:pt idx="5836">383.29189170000001</cx:pt>
          <cx:pt idx="5837">383.30441990000003</cx:pt>
          <cx:pt idx="5838">383.31743119999999</cx:pt>
          <cx:pt idx="5839">383.31772610000002</cx:pt>
          <cx:pt idx="5840">383.34209870000001</cx:pt>
          <cx:pt idx="5841">383.35442610000001</cx:pt>
          <cx:pt idx="5842">383.3674436</cx:pt>
          <cx:pt idx="5843">383.48009080000003</cx:pt>
          <cx:pt idx="5844">383.49261899999999</cx:pt>
          <cx:pt idx="5845">383.7066524</cx:pt>
          <cx:pt idx="5846">383.74394219999999</cx:pt>
          <cx:pt idx="5847">383.74433110000001</cx:pt>
          <cx:pt idx="5848">383.78162090000001</cx:pt>
          <cx:pt idx="5849">384.15801900000002</cx:pt>
          <cx:pt idx="5850">384.19569769999998</cx:pt>
          <cx:pt idx="5851">384.20802520000001</cx:pt>
          <cx:pt idx="5852">384.22035890000001</cx:pt>
          <cx:pt idx="5853">384.23288710000003</cx:pt>
          <cx:pt idx="5854">384.24541529999999</cx:pt>
          <cx:pt idx="5855">384.25842660000001</cx:pt>
          <cx:pt idx="5856">384.25872140000001</cx:pt>
          <cx:pt idx="5857">384.27076030000001</cx:pt>
          <cx:pt idx="5858">384.28309400000001</cx:pt>
          <cx:pt idx="5859">384.29552180000002</cx:pt>
          <cx:pt idx="5860">384.29561589999997</cx:pt>
          <cx:pt idx="5861">384.30853939999997</cx:pt>
          <cx:pt idx="5862">384.32086679999998</cx:pt>
          <cx:pt idx="5863">384.3332006</cx:pt>
          <cx:pt idx="5864">384.34621809999999</cx:pt>
          <cx:pt idx="5865">384.35845139999998</cx:pt>
          <cx:pt idx="5866">384.38379639999999</cx:pt>
          <cx:pt idx="5867">384.5215</cx:pt>
          <cx:pt idx="5868">384.25204810000002</cx:pt>
          <cx:pt idx="5869">384.12851110000003</cx:pt>
          <cx:pt idx="5870">383.9999358</cx:pt>
          <cx:pt idx="5871">383.60590000000002</cx:pt>
          <cx:pt idx="5872">383.60590000000002</cx:pt>
          <cx:pt idx="5873">383.60590000000002</cx:pt>
          <cx:pt idx="5874">383.72293289999999</cx:pt>
          <cx:pt idx="5875">383.80101009999998</cx:pt>
          <cx:pt idx="5876">383.83875610000001</cx:pt>
          <cx:pt idx="5877">384.0741974</cx:pt>
          <cx:pt idx="5878">384.5215</cx:pt>
          <cx:pt idx="5879">384.5215</cx:pt>
          <cx:pt idx="5880">384.5215</cx:pt>
          <cx:pt idx="5881">384.5215</cx:pt>
          <cx:pt idx="5882">384.5215</cx:pt>
          <cx:pt idx="5883">384.5215</cx:pt>
          <cx:pt idx="5884">384.5215</cx:pt>
          <cx:pt idx="5885">384.5215</cx:pt>
          <cx:pt idx="5886">384.5215</cx:pt>
          <cx:pt idx="5887">384.5215</cx:pt>
          <cx:pt idx="5888">384.5215</cx:pt>
          <cx:pt idx="5889">384.5215</cx:pt>
          <cx:pt idx="5890">384.5215</cx:pt>
          <cx:pt idx="5891">384.5215</cx:pt>
          <cx:pt idx="5892">384.5215</cx:pt>
          <cx:pt idx="5893">384.5215</cx:pt>
          <cx:pt idx="5894">384.5215</cx:pt>
          <cx:pt idx="5895">384.5215</cx:pt>
          <cx:pt idx="5896">384.5215</cx:pt>
          <cx:pt idx="5897">384.5215</cx:pt>
          <cx:pt idx="5898">384.5215</cx:pt>
          <cx:pt idx="5899">384.5215</cx:pt>
          <cx:pt idx="5900">384.5215</cx:pt>
          <cx:pt idx="5901">384.5215</cx:pt>
          <cx:pt idx="5902">384.5215</cx:pt>
          <cx:pt idx="5903">384.5215</cx:pt>
          <cx:pt idx="5904">384.5215</cx:pt>
          <cx:pt idx="5905">384.5215</cx:pt>
          <cx:pt idx="5906">384.5215</cx:pt>
          <cx:pt idx="5907">384.5215</cx:pt>
          <cx:pt idx="5908">384.5215</cx:pt>
          <cx:pt idx="5909">384.5215</cx:pt>
          <cx:pt idx="5910">384.5215</cx:pt>
          <cx:pt idx="5911">384.5215</cx:pt>
          <cx:pt idx="5912">384.5215</cx:pt>
          <cx:pt idx="5913">384.5215</cx:pt>
          <cx:pt idx="5914">384.5215</cx:pt>
          <cx:pt idx="5915">384.5215</cx:pt>
          <cx:pt idx="5916">384.5215</cx:pt>
          <cx:pt idx="5917">384.5215</cx:pt>
          <cx:pt idx="5918">384.5215</cx:pt>
          <cx:pt idx="5919">384.5215</cx:pt>
          <cx:pt idx="5920">384.5215</cx:pt>
          <cx:pt idx="5921">384.5215</cx:pt>
          <cx:pt idx="5922">384.5215</cx:pt>
          <cx:pt idx="5923">384.5215</cx:pt>
          <cx:pt idx="5924">384.5215</cx:pt>
          <cx:pt idx="5925">384.5215</cx:pt>
          <cx:pt idx="5926">384.5215</cx:pt>
          <cx:pt idx="5927">384.5215</cx:pt>
          <cx:pt idx="5928">384.5215</cx:pt>
          <cx:pt idx="5929">384.5215</cx:pt>
          <cx:pt idx="5930">384.5215</cx:pt>
          <cx:pt idx="5931">384.5215</cx:pt>
          <cx:pt idx="5932">384.5215</cx:pt>
          <cx:pt idx="5933">384.5215</cx:pt>
          <cx:pt idx="5934">384.5215</cx:pt>
          <cx:pt idx="5935">384.5215</cx:pt>
          <cx:pt idx="5936">384.5215</cx:pt>
          <cx:pt idx="5937">384.5215</cx:pt>
          <cx:pt idx="5938">384.5215</cx:pt>
          <cx:pt idx="5939">384.5215</cx:pt>
          <cx:pt idx="5940">384.5215</cx:pt>
          <cx:pt idx="5941">384.5215</cx:pt>
          <cx:pt idx="5942">384.5215</cx:pt>
          <cx:pt idx="5943">384.5215</cx:pt>
          <cx:pt idx="5944">384.5215</cx:pt>
          <cx:pt idx="5945">384.5215</cx:pt>
          <cx:pt idx="5946">384.5215</cx:pt>
          <cx:pt idx="5947">384.5215</cx:pt>
          <cx:pt idx="5948">384.5215</cx:pt>
          <cx:pt idx="5949">384.5215</cx:pt>
          <cx:pt idx="5950">384.5215</cx:pt>
          <cx:pt idx="5951">384.5215</cx:pt>
          <cx:pt idx="5952">384.5215</cx:pt>
          <cx:pt idx="5953">384.5215</cx:pt>
          <cx:pt idx="5954">384.5215</cx:pt>
          <cx:pt idx="5955">384.5215</cx:pt>
          <cx:pt idx="5956">384.5215</cx:pt>
          <cx:pt idx="5957">384.5215</cx:pt>
          <cx:pt idx="5958">384.5215</cx:pt>
          <cx:pt idx="5959">384.5215</cx:pt>
          <cx:pt idx="5960">384.5215</cx:pt>
          <cx:pt idx="5961">384.5215</cx:pt>
          <cx:pt idx="5962">384.5215</cx:pt>
          <cx:pt idx="5963">384.5215</cx:pt>
          <cx:pt idx="5964">384.5215</cx:pt>
          <cx:pt idx="5965">384.5215</cx:pt>
          <cx:pt idx="5966">384.5215</cx:pt>
          <cx:pt idx="5967">384.5215</cx:pt>
          <cx:pt idx="5968">384.5215</cx:pt>
          <cx:pt idx="5969">384.5215</cx:pt>
          <cx:pt idx="5970">384.5215</cx:pt>
          <cx:pt idx="5971">384.5215</cx:pt>
          <cx:pt idx="5972">384.56572849999998</cx:pt>
          <cx:pt idx="5973">384.65431100000001</cx:pt>
          <cx:pt idx="5974">384.68298929999997</cx:pt>
          <cx:pt idx="5975">384.83157929999999</cx:pt>
          <cx:pt idx="5976">385.05308350000001</cx:pt>
          <cx:pt idx="5977">385.06690579999997</cx:pt>
          <cx:pt idx="5978">385.0974301</cx:pt>
          <cx:pt idx="5979">385.14074299999999</cx:pt>
          <cx:pt idx="5980">385.25984979999998</cx:pt>
          <cx:pt idx="5981">385.43700000000001</cx:pt>
          <cx:pt idx="5982">384.74540289999999</cx:pt>
          <cx:pt idx="5983">384.5215</cx:pt>
          <cx:pt idx="5984">384.72056839999999</cx:pt>
          <cx:pt idx="5985">384.84698800000001</cx:pt>
          <cx:pt idx="5986">385.43700000000001</cx:pt>
          <cx:pt idx="5987">385.33371460000001</cx:pt>
          <cx:pt idx="5988">385.26258050000001</cx:pt>
          <cx:pt idx="5989">385.26092540000002</cx:pt>
          <cx:pt idx="5990">385.19116459999998</cx:pt>
          <cx:pt idx="5991">385.1906012</cx:pt>
          <cx:pt idx="5992">385.1565483</cx:pt>
          <cx:pt idx="5993">385.08733339999998</cx:pt>
          <cx:pt idx="5994">385.05079790000002</cx:pt>
          <cx:pt idx="5995">384.981583</cx:pt>
          <cx:pt idx="5996">384.87583260000002</cx:pt>
          <cx:pt idx="5997">384.84067049999999</cx:pt>
          <cx:pt idx="5998">384.80550840000001</cx:pt>
          <cx:pt idx="5999">384.76897289999999</cx:pt>
          <cx:pt idx="6000">384.73437419999999</cx:pt>
          <cx:pt idx="6001">384.69975790000001</cx:pt>
          <cx:pt idx="6002">384.66322250000002</cx:pt>
          <cx:pt idx="6003">384.55747200000002</cx:pt>
          <cx:pt idx="6004">384.5215</cx:pt>
          <cx:pt idx="6005">384.51074149999999</cx:pt>
          <cx:pt idx="6006">384.49891730000002</cx:pt>
          <cx:pt idx="6007">384.48771429999999</cx:pt>
          <cx:pt idx="6008">384.46531399999998</cx:pt>
          <cx:pt idx="6009">384.45384890000003</cx:pt>
          <cx:pt idx="6010">384.39686510000001</cx:pt>
          <cx:pt idx="6011">384.33970470000003</cx:pt>
          <cx:pt idx="6012">384.32850739999998</cx:pt>
          <cx:pt idx="6013">384.27081140000001</cx:pt>
          <cx:pt idx="6014">384.22583409999999</cx:pt>
          <cx:pt idx="6015">384.16822919999998</cx:pt>
          <cx:pt idx="6016">384.13480249999998</cx:pt>
          <cx:pt idx="6017">384.123155</cx:pt>
          <cx:pt idx="6018">384.1119577</cx:pt>
          <cx:pt idx="6019">384.10057810000001</cx:pt>
          <cx:pt idx="6020">384.08840070000002</cx:pt>
          <cx:pt idx="6021">384.06635360000001</cx:pt>
          <cx:pt idx="6022">383.89469580000002</cx:pt>
          <cx:pt idx="6023">383.75868689999999</cx:pt>
          <cx:pt idx="6024">383.75859580000002</cx:pt>
          <cx:pt idx="6025">383.7126384</cx:pt>
          <cx:pt idx="6026">383.70144110000001</cx:pt>
          <cx:pt idx="6027">383.69023800000002</cx:pt>
          <cx:pt idx="6028">383.67841390000001</cx:pt>
          <cx:pt idx="6029">383.66721660000002</cx:pt>
          <cx:pt idx="6030">383.65592240000001</cx:pt>
          <cx:pt idx="6031">383.63254769999998</cx:pt>
          <cx:pt idx="6032">383.61050069999999</cx:pt>
          <cx:pt idx="6033">383.59902979999998</cx:pt>
          <cx:pt idx="6034">383.58747349999999</cx:pt>
          <cx:pt idx="6035">383.5762762</cx:pt>
          <cx:pt idx="6036">383.56445209999998</cx:pt>
          <cx:pt idx="6037">383.54205180000002</cx:pt>
          <cx:pt idx="6038">383.53022770000001</cx:pt>
          <cx:pt idx="6039">383.51902460000002</cx:pt>
          <cx:pt idx="6040">383.50782729999997</cx:pt>
          <cx:pt idx="6041">383.48444690000002</cx:pt>
          <cx:pt idx="6042">383.4736029</cx:pt>
          <cx:pt idx="6043">383.46239989999998</cx:pt>
          <cx:pt idx="6044">383.45057580000002</cx:pt>
          <cx:pt idx="6045">383.4393728</cx:pt>
          <cx:pt idx="6046">383.42817539999999</cx:pt>
          <cx:pt idx="6047">383.42808430000002</cx:pt>
          <cx:pt idx="6048">383.41679579999999</cx:pt>
          <cx:pt idx="6049">383.3825713</cx:pt>
          <cx:pt idx="6050">383.3711917</cx:pt>
          <cx:pt idx="6051">383.324881</cx:pt>
          <cx:pt idx="6052">383.3139458</cx:pt>
          <cx:pt idx="6053">383.29091870000002</cx:pt>
          <cx:pt idx="6054">383.29065650000001</cx:pt>
          <cx:pt idx="6055">383.2685184</cx:pt>
          <cx:pt idx="6056">383.00636459999998</cx:pt>
          <cx:pt idx="6057">382.99436379999997</cx:pt>
          <cx:pt idx="6058">382.9490275</cx:pt>
          <cx:pt idx="6059">382.93738569999999</cx:pt>
          <cx:pt idx="6060">382.91524759999999</cx:pt>
          <cx:pt idx="6061">382.90386790000002</cx:pt>
          <cx:pt idx="6062">382.8917816</cx:pt>
          <cx:pt idx="6063">382.88084650000002</cx:pt>
          <cx:pt idx="6064">382.8696435</cx:pt>
          <cx:pt idx="6065">382.85782499999999</cx:pt>
          <cx:pt idx="6066">382.67523199999999</cx:pt>
          <cx:pt idx="6067">382.56198239999998</cx:pt>
          <cx:pt idx="6068">382.51593389999999</cx:pt>
          <cx:pt idx="6069">382.51566600000001</cx:pt>
          <cx:pt idx="6070">382.34543280000003</cx:pt>
          <cx:pt idx="6071">382.33360859999999</cx:pt>
          <cx:pt idx="6072">382.33334079999997</cx:pt>
          <cx:pt idx="6073">382.28827239999998</cx:pt>
          <cx:pt idx="6074">382.27706940000002</cx:pt>
          <cx:pt idx="6075">382.26524519999998</cx:pt>
          <cx:pt idx="6076">382.26498309999999</cx:pt>
          <cx:pt idx="6077">382.25404789999999</cx:pt>
          <cx:pt idx="6078">382.24284490000002</cx:pt>
          <cx:pt idx="6079">382.22009129999998</cx:pt>
          <cx:pt idx="6080">382.20826720000002</cx:pt>
          <cx:pt idx="6081">382.1970642</cx:pt>
          <cx:pt idx="6082">382.19661969999999</cx:pt>
          <cx:pt idx="6083">382.18586119999998</cx:pt>
          <cx:pt idx="6084">382.16283970000001</cx:pt>
          <cx:pt idx="6085">382.15163669999998</cx:pt>
          <cx:pt idx="6086">382.1398183</cx:pt>
          <cx:pt idx="6087">382.09439079999999</cx:pt>
          <cx:pt idx="6088">382.07199050000003</cx:pt>
          <cx:pt idx="6089">382.06051969999999</cx:pt>
          <cx:pt idx="6090">382.0377661</cx:pt>
          <cx:pt idx="6091">382.02594190000002</cx:pt>
          <cx:pt idx="6092">382.0147389</cx:pt>
          <cx:pt idx="6093">382.01429450000001</cx:pt>
          <cx:pt idx="6094">381.99171749999999</cx:pt>
          <cx:pt idx="6095">381.96931719999998</cx:pt>
          <cx:pt idx="6096">381.95749310000002</cx:pt>
          <cx:pt idx="6097">381.94584559999998</cx:pt>
          <cx:pt idx="6098">381.91215679999999</cx:pt>
          <cx:pt idx="6099">381.87748790000001</cx:pt>
          <cx:pt idx="6100">381.84334890000002</cx:pt>
          <cx:pt idx="6101">381.82068079999999</cx:pt>
          <cx:pt idx="6102">381.82050409999999</cx:pt>
          <cx:pt idx="6103">381.80948339999998</cx:pt>
          <cx:pt idx="6104">381.78707739999999</cx:pt>
          <cx:pt idx="6105">381.77525900000001</cx:pt>
          <cx:pt idx="6106">381.7749</cx:pt>
          <cx:pt idx="6107">382.03625199999999</cx:pt>
          <cx:pt idx="6108">382.04916170000001</cx:pt>
          <cx:pt idx="6109">382.30625629999997</cx:pt>
          <cx:pt idx="6110">382.591093</cx:pt>
          <cx:pt idx="6111">382.86109729999998</cx:pt>
          <cx:pt idx="6112">383.13110160000002</cx:pt>
          <cx:pt idx="6113">383.4052259</cx:pt>
          <cx:pt idx="6114">383.96020420000002</cx:pt>
          <cx:pt idx="6115">384.51504519999997</cx:pt>
          <cx:pt idx="6116">384.5215</cx:pt>
          <cx:pt idx="6117">383.61702609999998</cx:pt>
          <cx:pt idx="6118">382.69040000000001</cx:pt>
          <cx:pt idx="6119">382.69040000000001</cx:pt>
          <cx:pt idx="6120">382.69040000000001</cx:pt>
          <cx:pt idx="6121">382.69040000000001</cx:pt>
          <cx:pt idx="6122">382.69040000000001</cx:pt>
          <cx:pt idx="6123">382.69040000000001</cx:pt>
          <cx:pt idx="6124">382.69040000000001</cx:pt>
          <cx:pt idx="6125">382.69040000000001</cx:pt>
          <cx:pt idx="6126">382.69040000000001</cx:pt>
          <cx:pt idx="6127">382.69040000000001</cx:pt>
          <cx:pt idx="6128">382.69040000000001</cx:pt>
          <cx:pt idx="6129">382.69040000000001</cx:pt>
          <cx:pt idx="6130">382.69040000000001</cx:pt>
          <cx:pt idx="6131">382.69040000000001</cx:pt>
          <cx:pt idx="6132">382.69040000000001</cx:pt>
          <cx:pt idx="6133">382.69040000000001</cx:pt>
          <cx:pt idx="6134">382.69040000000001</cx:pt>
          <cx:pt idx="6135">382.69040000000001</cx:pt>
          <cx:pt idx="6136">382.69040000000001</cx:pt>
          <cx:pt idx="6137">382.69040000000001</cx:pt>
          <cx:pt idx="6138">382.69040000000001</cx:pt>
          <cx:pt idx="6139">382.69040000000001</cx:pt>
          <cx:pt idx="6140">382.69040000000001</cx:pt>
          <cx:pt idx="6141">382.69040000000001</cx:pt>
          <cx:pt idx="6142">382.69040000000001</cx:pt>
          <cx:pt idx="6143">382.69040000000001</cx:pt>
          <cx:pt idx="6144">382.69040000000001</cx:pt>
          <cx:pt idx="6145">382.69040000000001</cx:pt>
          <cx:pt idx="6146">382.69040000000001</cx:pt>
          <cx:pt idx="6147">382.69040000000001</cx:pt>
          <cx:pt idx="6148">382.69040000000001</cx:pt>
          <cx:pt idx="6149">382.69040000000001</cx:pt>
          <cx:pt idx="6150">382.69040000000001</cx:pt>
          <cx:pt idx="6151">382.69040000000001</cx:pt>
          <cx:pt idx="6152">382.69040000000001</cx:pt>
          <cx:pt idx="6153">382.69040000000001</cx:pt>
          <cx:pt idx="6154">382.69040000000001</cx:pt>
          <cx:pt idx="6155">382.69040000000001</cx:pt>
          <cx:pt idx="6156">382.69040000000001</cx:pt>
          <cx:pt idx="6157">382.69040000000001</cx:pt>
          <cx:pt idx="6158">382.69040000000001</cx:pt>
          <cx:pt idx="6159">382.69040000000001</cx:pt>
          <cx:pt idx="6160">382.69040000000001</cx:pt>
          <cx:pt idx="6161">382.69040000000001</cx:pt>
          <cx:pt idx="6162">382.57188559999997</cx:pt>
          <cx:pt idx="6163">382.56463120000001</cx:pt>
          <cx:pt idx="6164">382.55803400000002</cx:pt>
          <cx:pt idx="6165">382.5370365</cx:pt>
          <cx:pt idx="6166">382.53010719999997</cx:pt>
          <cx:pt idx="6167">382.52312899999998</cx:pt>
          <cx:pt idx="6168">382.5158745</cx:pt>
          <cx:pt idx="6169">382.5157102</cx:pt>
          <cx:pt idx="6170">382.5086761</cx:pt>
          <cx:pt idx="6171">382.49460429999999</cx:pt>
          <cx:pt idx="6172">382.48773089999997</cx:pt>
          <cx:pt idx="6173">382.48113380000001</cx:pt>
          <cx:pt idx="6174">382.46673329999999</cx:pt>
          <cx:pt idx="6175">382.46013269999997</cx:pt>
          <cx:pt idx="6176">382.45276990000002</cx:pt>
          <cx:pt idx="6177">382.44579169999997</cx:pt>
          <cx:pt idx="6178">382.43913509999999</cx:pt>
          <cx:pt idx="6179">382.43144719999998</cx:pt>
          <cx:pt idx="6180">382.39681480000002</cx:pt>
          <cx:pt idx="6181">382.39021409999998</cx:pt>
          <cx:pt idx="6182">382.38285130000003</cx:pt>
          <cx:pt idx="6183">382.33387440000001</cx:pt>
          <cx:pt idx="6184">382.32034800000002</cx:pt>
          <cx:pt idx="6185">382.30611540000001</cx:pt>
          <cx:pt idx="6186">382.29886090000002</cx:pt>
          <cx:pt idx="6187">382.28495340000001</cx:pt>
          <cx:pt idx="6188">382.27797170000002</cx:pt>
          <cx:pt idx="6189">382.25037700000001</cx:pt>
          <cx:pt idx="6190">382.23624919999997</cx:pt>
          <cx:pt idx="6191">382.23603250000002</cx:pt>
          <cx:pt idx="6192">382.2147622</cx:pt>
          <cx:pt idx="6193">382.20816150000002</cx:pt>
          <cx:pt idx="6194">382.20805319999999</cx:pt>
          <cx:pt idx="6195">382.20096310000002</cx:pt>
          <cx:pt idx="6196">382.19441840000002</cx:pt>
          <cx:pt idx="6197">382.18678290000003</cx:pt>
          <cx:pt idx="6198">382.17990950000001</cx:pt>
          <cx:pt idx="6199">382.17309210000002</cx:pt>
          <cx:pt idx="6200">382.13115290000002</cx:pt>
          <cx:pt idx="6201">382.12411520000001</cx:pt>
          <cx:pt idx="6202">382.11751809999998</cx:pt>
          <cx:pt idx="6203">382.1105364</cx:pt>
          <cx:pt idx="6204">382.09613589999998</cx:pt>
          <cx:pt idx="6205">382.08915769999999</cx:pt>
          <cx:pt idx="6206">382.08255709999997</cx:pt>
          <cx:pt idx="6207">382.07519430000002</cx:pt>
          <cx:pt idx="6208">382.06821250000002</cx:pt>
          <cx:pt idx="6209">382.05419669999998</cx:pt>
          <cx:pt idx="6210">382.04721499999999</cx:pt>
          <cx:pt idx="6211">382.0405619</cx:pt>
          <cx:pt idx="6212">382.033255</cx:pt>
          <cx:pt idx="6213">382.02621740000001</cx:pt>
          <cx:pt idx="6214">382.0192356</cx:pt>
          <cx:pt idx="6215">382.0126909</cx:pt>
          <cx:pt idx="6216">381.99169330000001</cx:pt>
          <cx:pt idx="6217">381.98427809999998</cx:pt>
          <cx:pt idx="6218">381.9772964</cx:pt>
          <cx:pt idx="6219">381.97069570000002</cx:pt>
          <cx:pt idx="6220">381.95629880000001</cx:pt>
          <cx:pt idx="6221">381.9496982</cx:pt>
          <cx:pt idx="6222">381.94206270000001</cx:pt>
          <cx:pt idx="6223">381.93535359999998</cx:pt>
          <cx:pt idx="6224">381.92875650000002</cx:pt>
          <cx:pt idx="6225">381.9213378</cx:pt>
          <cx:pt idx="6226">381.91435610000002</cx:pt>
          <cx:pt idx="6227">381.90775889999998</cx:pt>
          <cx:pt idx="6228">381.90077719999999</cx:pt>
          <cx:pt idx="6229">381.89341439999998</cx:pt>
          <cx:pt idx="6230">381.88637670000003</cx:pt>
          <cx:pt idx="6231">381.87977960000001</cx:pt>
          <cx:pt idx="6232">381.87214410000001</cx:pt>
          <cx:pt idx="6233">381.86527080000002</cx:pt>
          <cx:pt idx="6234">381.85845339999997</cx:pt>
          <cx:pt idx="6235">381.85185619999999</cx:pt>
          <cx:pt idx="6236">381.84443750000003</cx:pt>
          <cx:pt idx="6237">381.83745579999999</cx:pt>
          <cx:pt idx="6238">381.8308586</cx:pt>
          <cx:pt idx="6239">381.82349579999999</cx:pt>
          <cx:pt idx="6240">381.8164582</cx:pt>
          <cx:pt idx="6241">381.80985750000002</cx:pt>
          <cx:pt idx="6242">381.80216960000001</cx:pt>
          <cx:pt idx="6243">381.78853479999998</cx:pt>
          <cx:pt idx="6244">381.7749</cx:pt>
          <cx:pt idx="6245">381.75362589999997</cx:pt>
          <cx:pt idx="6246">381.73447540000001</cx:pt>
          <cx:pt idx="6247">381.71548059999998</cx:pt>
          <cx:pt idx="6248">381.6970996</cx:pt>
          <cx:pt idx="6249">381.67642949999998</cx:pt>
          <cx:pt idx="6250">381.65697690000002</cx:pt>
          <cx:pt idx="6251">381.63752440000002</cx:pt>
          <cx:pt idx="6252">381.6189875</cx:pt>
          <cx:pt idx="6253">381.5411871</cx:pt>
          <cx:pt idx="6254">381.5206728</cx:pt>
          <cx:pt idx="6255">381.50213589999998</cx:pt>
          <cx:pt idx="6256">381.48162159999998</cx:pt>
          <cx:pt idx="6257">381.46216909999998</cx:pt>
          <cx:pt idx="6258">381.44363220000002</cx:pt>
          <cx:pt idx="6259">381.42326400000002</cx:pt>
          <cx:pt idx="6260">381.40366540000002</cx:pt>
          <cx:pt idx="6261">381.38543049999998</cx:pt>
          <cx:pt idx="6262">381.3647603</cx:pt>
          <cx:pt idx="6263">381.3453078</cx:pt>
          <cx:pt idx="6264">381.32692680000002</cx:pt>
          <cx:pt idx="6265">381.30625659999998</cx:pt>
          <cx:pt idx="6266">381.28680409999998</cx:pt>
          <cx:pt idx="6267">381.26842299999998</cx:pt>
          <cx:pt idx="6268">381.24897049999998</cx:pt>
          <cx:pt idx="6269">381.22845619999998</cx:pt>
          <cx:pt idx="6270">381.20991930000002</cx:pt>
          <cx:pt idx="6271">381.18940500000002</cx:pt>
          <cx:pt idx="6272">381.16995250000002</cx:pt>
          <cx:pt idx="6273">381.15141560000001</cx:pt>
          <cx:pt idx="6274">381.1310474</cx:pt>
          <cx:pt idx="6275">381.11144880000001</cx:pt>
          <cx:pt idx="6276">381.09321390000002</cx:pt>
          <cx:pt idx="6277">381.05278920000001</cx:pt>
          <cx:pt idx="6278">381.03471020000001</cx:pt>
          <cx:pt idx="6279">381.01404000000002</cx:pt>
          <cx:pt idx="6280">380.97620640000002</cx:pt>
          <cx:pt idx="6281">380.95675390000002</cx:pt>
          <cx:pt idx="6282">380.8777359</cx:pt>
          <cx:pt idx="6283">380.83883079999998</cx:pt>
          <cx:pt idx="6284">380.81923219999999</cx:pt>
          <cx:pt idx="6285">380.78032710000002</cx:pt>
          <cx:pt idx="6286">380.74127590000001</cx:pt>
          <cx:pt idx="6287">380.72304100000002</cx:pt>
          <cx:pt idx="6288">380.70237090000001</cx:pt>
          <cx:pt idx="6289">380.58551929999999</cx:pt>
          <cx:pt idx="6290">380.56560899999999</cx:pt>
          <cx:pt idx="6291">380.52823319999999</cx:pt>
          <cx:pt idx="6292">380.4881105</cx:pt>
          <cx:pt idx="6293">380.45027700000003</cx:pt>
          <cx:pt idx="6294">380.27385020000003</cx:pt>
          <cx:pt idx="6295">380.25425150000001</cx:pt>
          <cx:pt idx="6296">380.23586069999999</cx:pt>
          <cx:pt idx="6297">380.21534650000001</cx:pt>
          <cx:pt idx="6298">380.19589389999999</cx:pt>
          <cx:pt idx="6299">380.15684270000003</cx:pt>
          <cx:pt idx="6300">380.13739020000003</cx:pt>
          <cx:pt idx="6301">380.11900919999999</cx:pt>
          <cx:pt idx="6302">380.09757919999998</cx:pt>
          <cx:pt idx="6303">380.08010410000003</cx:pt>
          <cx:pt idx="6304">380.02053860000001</cx:pt>
          <cx:pt idx="6305">380.00032629999998</cx:pt>
          <cx:pt idx="6306">379.98163360000001</cx:pt>
          <cx:pt idx="6307">379.96203489999999</cx:pt>
          <cx:pt idx="6308">379.94380000000001</cx:pt>
          <cx:pt idx="6309">379.95972230000001</cx:pt>
          <cx:pt idx="6310">379.98969110000002</cx:pt>
          <cx:pt idx="6311">380.0197723</cx:pt>
          <cx:pt idx="6312">380.0347567</cx:pt>
          <cx:pt idx="6313">380.06390010000001</cx:pt>
          <cx:pt idx="6314">380.10978360000001</cx:pt>
          <cx:pt idx="6315">380.1239501</cx:pt>
          <cx:pt idx="6316">380.13998500000002</cx:pt>
          <cx:pt idx="6317">380.16901580000001</cx:pt>
          <cx:pt idx="6318">380.21408150000002</cx:pt>
          <cx:pt idx="6319">380.24486810000002</cx:pt>
          <cx:pt idx="6320">380.25902710000003</cx:pt>
          <cx:pt idx="6321">380.27553469999998</cx:pt>
          <cx:pt idx="6322">380.30409279999998</cx:pt>
          <cx:pt idx="6323">380.31989499999997</cx:pt>
          <cx:pt idx="6324">380.35044900000003</cx:pt>
          <cx:pt idx="6325">380.48494820000002</cx:pt>
          <cx:pt idx="6326">380.51409159999997</cx:pt>
          <cx:pt idx="6327">380.52907599999998</cx:pt>
          <cx:pt idx="6328">380.66427299999998</cx:pt>
          <cx:pt idx="6329">380.68007519999998</cx:pt>
          <cx:pt idx="6330">380.69482699999998</cx:pt>
          <cx:pt idx="6331">380.69505959999998</cx:pt>
          <cx:pt idx="6332">380.70933869999999</cx:pt>
          <cx:pt idx="6333">380.75510969999999</cx:pt>
          <cx:pt idx="6334">380.85939999999999</cx:pt>
          <cx:pt idx="6335">380.85939999999999</cx:pt>
          <cx:pt idx="6336">380.85939999999999</cx:pt>
          <cx:pt idx="6337">380.85939999999999</cx:pt>
          <cx:pt idx="6338">380.85939999999999</cx:pt>
          <cx:pt idx="6339">380.85939999999999</cx:pt>
          <cx:pt idx="6340">380.85939999999999</cx:pt>
          <cx:pt idx="6341">380.85939999999999</cx:pt>
          <cx:pt idx="6342">380.85939999999999</cx:pt>
          <cx:pt idx="6343">380.85939999999999</cx:pt>
          <cx:pt idx="6344">380.85939999999999</cx:pt>
          <cx:pt idx="6345">380.85939999999999</cx:pt>
          <cx:pt idx="6346">380.85939999999999</cx:pt>
          <cx:pt idx="6347">380.85939999999999</cx:pt>
          <cx:pt idx="6348">380.85939999999999</cx:pt>
          <cx:pt idx="6349">380.85939999999999</cx:pt>
          <cx:pt idx="6350">380.85939999999999</cx:pt>
          <cx:pt idx="6351">380.85939999999999</cx:pt>
          <cx:pt idx="6352">380.85939999999999</cx:pt>
          <cx:pt idx="6353">380.85939999999999</cx:pt>
          <cx:pt idx="6354">380.85939999999999</cx:pt>
          <cx:pt idx="6355">380.85939999999999</cx:pt>
          <cx:pt idx="6356">380.85939999999999</cx:pt>
          <cx:pt idx="6357">380.85939999999999</cx:pt>
          <cx:pt idx="6358">380.85939999999999</cx:pt>
          <cx:pt idx="6359">380.85939999999999</cx:pt>
          <cx:pt idx="6360">380.85939999999999</cx:pt>
          <cx:pt idx="6361">380.85939999999999</cx:pt>
          <cx:pt idx="6362">380.85939999999999</cx:pt>
          <cx:pt idx="6363">380.85939999999999</cx:pt>
          <cx:pt idx="6364">380.85939999999999</cx:pt>
          <cx:pt idx="6365">380.85939999999999</cx:pt>
          <cx:pt idx="6366">380.85939999999999</cx:pt>
          <cx:pt idx="6367">380.85939999999999</cx:pt>
          <cx:pt idx="6368">380.85939999999999</cx:pt>
          <cx:pt idx="6369">380.85939999999999</cx:pt>
          <cx:pt idx="6370">380.85939999999999</cx:pt>
          <cx:pt idx="6371">380.85939999999999</cx:pt>
          <cx:pt idx="6372">380.85939999999999</cx:pt>
          <cx:pt idx="6373">380.85939999999999</cx:pt>
          <cx:pt idx="6374">380.85939999999999</cx:pt>
          <cx:pt idx="6375">380.85939999999999</cx:pt>
          <cx:pt idx="6376">380.85939999999999</cx:pt>
          <cx:pt idx="6377">380.85939999999999</cx:pt>
          <cx:pt idx="6378">380.85939999999999</cx:pt>
          <cx:pt idx="6379">380.85939999999999</cx:pt>
          <cx:pt idx="6380">380.85939999999999</cx:pt>
          <cx:pt idx="6381">380.85939999999999</cx:pt>
          <cx:pt idx="6382">380.91401459999997</cx:pt>
          <cx:pt idx="6383">380.97015750000003</cx:pt>
          <cx:pt idx="6384">380.99811089999997</cx:pt>
          <cx:pt idx="6385">381.08024810000001</cx:pt>
          <cx:pt idx="6386">381.10907680000003</cx:pt>
          <cx:pt idx="6387">381.136391</cx:pt>
          <cx:pt idx="6388">381.1636914</cx:pt>
          <cx:pt idx="6389">381.19252</cx:pt>
          <cx:pt idx="6390">381.24821830000002</cx:pt>
          <cx:pt idx="6391">381.24844059999998</cx:pt>
          <cx:pt idx="6392">381.2759633</cx:pt>
          <cx:pt idx="6393">381.30262449999998</cx:pt>
          <cx:pt idx="6394">381.33059179999998</cx:pt>
          <cx:pt idx="6395">381.38737379999998</cx:pt>
          <cx:pt idx="6396">381.55403799999999</cx:pt>
          <cx:pt idx="6397">381.58047690000001</cx:pt>
          <cx:pt idx="6398">381.60973630000001</cx:pt>
          <cx:pt idx="6399">381.6934018</cx:pt>
          <cx:pt idx="6400">381.7749</cx:pt>
          <cx:pt idx="6401">381.75762570000001</cx:pt>
          <cx:pt idx="6402">381.75735630000003</cx:pt>
          <cx:pt idx="6403">381.74921940000002</cx:pt>
          <cx:pt idx="6404">381.7402146</cx:pt>
          <cx:pt idx="6405">381.73214610000002</cx:pt>
          <cx:pt idx="6406">381.72314119999999</cx:pt>
          <cx:pt idx="6407">381.71460239999999</cx:pt>
          <cx:pt idx="6408">381.70646549999998</cx:pt>
          <cx:pt idx="6409">381.6974606</cx:pt>
          <cx:pt idx="6410">381.6889218</cx:pt>
          <cx:pt idx="6411">381.60340539999999</cx:pt>
          <cx:pt idx="6412">381.59533699999997</cx:pt>
          <cx:pt idx="6413">381.58633209999999</cx:pt>
          <cx:pt idx="6414">381.57772490000002</cx:pt>
          <cx:pt idx="6415">381.5007516</cx:pt>
          <cx:pt idx="6416">381.49267880000002</cx:pt>
          <cx:pt idx="6417">381.44992489999998</cx:pt>
          <cx:pt idx="6418">381.44105259999998</cx:pt>
          <cx:pt idx="6419">381.43238120000001</cx:pt>
          <cx:pt idx="6420">381.3897556</cx:pt>
          <cx:pt idx="6421">381.38135360000001</cx:pt>
          <cx:pt idx="6422">381.38108419999998</cx:pt>
          <cx:pt idx="6423">381.37294730000002</cx:pt>
          <cx:pt idx="6424">381.36434439999999</cx:pt>
          <cx:pt idx="6425">381.36394239999998</cx:pt>
          <cx:pt idx="6426">381.3470016</cx:pt>
          <cx:pt idx="6427">381.3383303</cx:pt>
          <cx:pt idx="6428">381.28716580000003</cx:pt>
          <cx:pt idx="6429">381.27876379999998</cx:pt>
          <cx:pt idx="6430">381.27843030000002</cx:pt>
          <cx:pt idx="6431">381.26975900000002</cx:pt>
          <cx:pt idx="6432">381.26969050000002</cx:pt>
          <cx:pt idx="6433">381.26168619999999</cx:pt>
          <cx:pt idx="6434">381.2532799</cx:pt>
          <cx:pt idx="6435">381.24441189999999</cx:pt>
          <cx:pt idx="6436">381.23567209999999</cx:pt>
          <cx:pt idx="6437">381.22759939999997</cx:pt>
          <cx:pt idx="6438">381.21859449999999</cx:pt>
          <cx:pt idx="6439">381.21006</cx:pt>
          <cx:pt idx="6440">381.19291390000001</cx:pt>
          <cx:pt idx="6441">381.17584060000002</cx:pt>
          <cx:pt idx="6442">381.14142020000003</cx:pt>
          <cx:pt idx="6443">381.10740179999999</cx:pt>
          <cx:pt idx="6444">381.07364849999999</cx:pt>
          <cx:pt idx="6445">381.04757030000002</cx:pt>
          <cx:pt idx="6446">381.03903150000002</cx:pt>
          <cx:pt idx="6447">380.97913149999999</cx:pt>
          <cx:pt idx="6448">380.97105879999998</cx:pt>
          <cx:pt idx="6449">380.96252420000002</cx:pt>
          <cx:pt idx="6450">380.95351929999998</cx:pt>
          <cx:pt idx="6451">380.94491210000001</cx:pt>
          <cx:pt idx="6452">380.93684359999997</cx:pt>
          <cx:pt idx="6453">380.92783880000002</cx:pt>
          <cx:pt idx="6454">380.91930000000002</cx:pt>
          <cx:pt idx="6455">380.91116310000001</cx:pt>
          <cx:pt idx="6456">380.90215819999997</cx:pt>
          <cx:pt idx="6457">380.89408539999999</cx:pt>
          <cx:pt idx="6458">380.88508059999998</cx:pt>
          <cx:pt idx="6459">380.86800290000002</cx:pt>
          <cx:pt idx="6460">380.85939999999999</cx:pt>
          <cx:pt idx="6461">380.88445039999999</cx:pt>
          <cx:pt idx="6462">380.91094700000002</cx:pt>
          <cx:pt idx="6463">380.93888989999999</cx:pt>
          <cx:pt idx="6464">380.96558549999997</cx:pt>
          <cx:pt idx="6465">380.9920821</cx:pt>
          <cx:pt idx="6466">381.01857869999998</cx:pt>
          <cx:pt idx="6467">381.04361590000002</cx:pt>
          <cx:pt idx="6468">381.07155870000003</cx:pt>
          <cx:pt idx="6469">381.09826759999999</cx:pt>
          <cx:pt idx="6470">381.12330470000001</cx:pt>
          <cx:pt idx="6471">381.15124759999998</cx:pt>
          <cx:pt idx="6472">381.17836779999999</cx:pt>
          <cx:pt idx="6473">381.25680949999997</cx:pt>
          <cx:pt idx="6474">381.6022739</cx:pt>
          <cx:pt idx="6475">381.78773699999999</cx:pt>
          <cx:pt idx="6476">381.9483487</cx:pt>
          <cx:pt idx="6477">382.0534993</cx:pt>
          <cx:pt idx="6478">382.18618140000001</cx:pt>
          <cx:pt idx="6479">382.34534689999998</cx:pt>
          <cx:pt idx="6480">382.37059629999999</cx:pt>
          <cx:pt idx="6481">382.3981278</cx:pt>
          <cx:pt idx="6482">382.42462440000003</cx:pt>
          <cx:pt idx="6483">382.45008610000002</cx:pt>
          <cx:pt idx="6484">382.5055605</cx:pt>
          <cx:pt idx="6485">382.53059769999999</cx:pt>
          <cx:pt idx="6486">382.5310222</cx:pt>
          <cx:pt idx="6487">382.5827683</cx:pt>
          <cx:pt idx="6488">382.6378181</cx:pt>
          <cx:pt idx="6489">382.69040000000001</cx:pt>
          <cx:pt idx="6490">380.85939999999999</cx:pt>
          <cx:pt idx="6491">380.85939999999999</cx:pt>
          <cx:pt idx="6492">380.85939999999999</cx:pt>
          <cx:pt idx="6493">380.85939999999999</cx:pt>
          <cx:pt idx="6494">380.85939999999999</cx:pt>
          <cx:pt idx="6495">380.85939999999999</cx:pt>
          <cx:pt idx="6496">380.85939999999999</cx:pt>
          <cx:pt idx="6497">380.85939999999999</cx:pt>
          <cx:pt idx="6498">380.85939999999999</cx:pt>
          <cx:pt idx="6499">380.85939999999999</cx:pt>
          <cx:pt idx="6500">380.85939999999999</cx:pt>
          <cx:pt idx="6501">380.85939999999999</cx:pt>
          <cx:pt idx="6502">380.85939999999999</cx:pt>
          <cx:pt idx="6503">380.85939999999999</cx:pt>
          <cx:pt idx="6504">380.85939999999999</cx:pt>
          <cx:pt idx="6505">380.85939999999999</cx:pt>
          <cx:pt idx="6506">380.85939999999999</cx:pt>
          <cx:pt idx="6507">380.85939999999999</cx:pt>
          <cx:pt idx="6508">380.85939999999999</cx:pt>
          <cx:pt idx="6509">380.85939999999999</cx:pt>
          <cx:pt idx="6510">380.85939999999999</cx:pt>
          <cx:pt idx="6511">380.85939999999999</cx:pt>
          <cx:pt idx="6512">380.85939999999999</cx:pt>
          <cx:pt idx="6513">380.85939999999999</cx:pt>
          <cx:pt idx="6514">380.85939999999999</cx:pt>
          <cx:pt idx="6515">380.85939999999999</cx:pt>
          <cx:pt idx="6516">380.85939999999999</cx:pt>
          <cx:pt idx="6517">380.85939999999999</cx:pt>
          <cx:pt idx="6518">380.85939999999999</cx:pt>
          <cx:pt idx="6519">380.85939999999999</cx:pt>
          <cx:pt idx="6520">380.85939999999999</cx:pt>
          <cx:pt idx="6521">380.85939999999999</cx:pt>
          <cx:pt idx="6522">380.85939999999999</cx:pt>
          <cx:pt idx="6523">380.85939999999999</cx:pt>
          <cx:pt idx="6524">380.85939999999999</cx:pt>
          <cx:pt idx="6525">380.85939999999999</cx:pt>
          <cx:pt idx="6526">380.85939999999999</cx:pt>
          <cx:pt idx="6527">380.85939999999999</cx:pt>
          <cx:pt idx="6528">380.85939999999999</cx:pt>
          <cx:pt idx="6529">380.85939999999999</cx:pt>
          <cx:pt idx="6530">380.85939999999999</cx:pt>
          <cx:pt idx="6531">380.85939999999999</cx:pt>
          <cx:pt idx="6532">380.85939999999999</cx:pt>
          <cx:pt idx="6533">380.85939999999999</cx:pt>
          <cx:pt idx="6534">380.85939999999999</cx:pt>
          <cx:pt idx="6535">380.85939999999999</cx:pt>
          <cx:pt idx="6536">380.85939999999999</cx:pt>
          <cx:pt idx="6537">380.85939999999999</cx:pt>
          <cx:pt idx="6538">380.85939999999999</cx:pt>
          <cx:pt idx="6539">380.85939999999999</cx:pt>
          <cx:pt idx="6540">380.85939999999999</cx:pt>
          <cx:pt idx="6541">380.85939999999999</cx:pt>
          <cx:pt idx="6542">380.85939999999999</cx:pt>
          <cx:pt idx="6543">380.85939999999999</cx:pt>
          <cx:pt idx="6544">380.85939999999999</cx:pt>
          <cx:pt idx="6545">380.85939999999999</cx:pt>
          <cx:pt idx="6546">380.85939999999999</cx:pt>
          <cx:pt idx="6547">380.85939999999999</cx:pt>
          <cx:pt idx="6548">380.85939999999999</cx:pt>
          <cx:pt idx="6549">380.85939999999999</cx:pt>
          <cx:pt idx="6550">380.85939999999999</cx:pt>
          <cx:pt idx="6551">380.85939999999999</cx:pt>
          <cx:pt idx="6552">380.85939999999999</cx:pt>
          <cx:pt idx="6553">380.85939999999999</cx:pt>
          <cx:pt idx="6554">380.85939999999999</cx:pt>
          <cx:pt idx="6555">380.85939999999999</cx:pt>
          <cx:pt idx="6556">380.85939999999999</cx:pt>
          <cx:pt idx="6557">380.85939999999999</cx:pt>
          <cx:pt idx="6558">380.85939999999999</cx:pt>
          <cx:pt idx="6559">380.85939999999999</cx:pt>
          <cx:pt idx="6560">380.85939999999999</cx:pt>
          <cx:pt idx="6561">380.85939999999999</cx:pt>
          <cx:pt idx="6562">380.85939999999999</cx:pt>
          <cx:pt idx="6563">380.85939999999999</cx:pt>
          <cx:pt idx="6564">380.85939999999999</cx:pt>
          <cx:pt idx="6565">380.85939999999999</cx:pt>
          <cx:pt idx="6566">380.85939999999999</cx:pt>
          <cx:pt idx="6567">380.85939999999999</cx:pt>
          <cx:pt idx="6568">380.82639380000001</cx:pt>
          <cx:pt idx="6569">380.78515149999998</cx:pt>
          <cx:pt idx="6570">380.76012559999998</cx:pt>
          <cx:pt idx="6571">380.75195550000001</cx:pt>
          <cx:pt idx="6572">380.744235</cx:pt>
          <cx:pt idx="6573">380.7356772</cx:pt>
          <cx:pt idx="6574">380.72737510000002</cx:pt>
          <cx:pt idx="6575">380.51267999999999</cx:pt>
          <cx:pt idx="6576">380.50450990000002</cx:pt>
          <cx:pt idx="6577">380.49678929999999</cx:pt>
          <cx:pt idx="6578">380.48823149999998</cx:pt>
          <cx:pt idx="6579">380.47086030000003</cx:pt>
          <cx:pt idx="6580">380.45515929999999</cx:pt>
          <cx:pt idx="6581">380.44698920000002</cx:pt>
          <cx:pt idx="6582">380.38921290000002</cx:pt>
          <cx:pt idx="6583">380.37274480000002</cx:pt>
          <cx:pt idx="6584">380.36450869999999</cx:pt>
          <cx:pt idx="6585">380.34797470000001</cx:pt>
          <cx:pt idx="6586">380.28196220000001</cx:pt>
          <cx:pt idx="6587">380.27385399999997</cx:pt>
          <cx:pt idx="6588">380.27372609999998</cx:pt>
          <cx:pt idx="6589">380.26523429999997</cx:pt>
          <cx:pt idx="6590">380.26516839999999</cx:pt>
          <cx:pt idx="6591">380.24902200000002</cx:pt>
          <cx:pt idx="6592">380.23248799999999</cx:pt>
          <cx:pt idx="6593">380.1912456</cx:pt>
          <cx:pt idx="6594">380.18268790000002</cx:pt>
          <cx:pt idx="6595">380.08444450000002</cx:pt>
          <cx:pt idx="6596">380.05085680000002</cx:pt>
          <cx:pt idx="6597">380.01817640000002</cx:pt>
          <cx:pt idx="6598">380.00961860000001</cx:pt>
          <cx:pt idx="6599">380.00157639999998</cx:pt>
          <cx:pt idx="6600">379.9933403</cx:pt>
          <cx:pt idx="6601">379.98517020000003</cx:pt>
          <cx:pt idx="6602">379.96033399999999</cx:pt>
          <cx:pt idx="6603">379.94380000000001</cx:pt>
          <cx:pt idx="6604">379.82979779999999</cx:pt>
          <cx:pt idx="6605">379.60179340000002</cx:pt>
          <cx:pt idx="6606">379.48693479999997</cx:pt>
          <cx:pt idx="6607">379.03183940000002</cx:pt>
          <cx:pt idx="6608">379.0292134</cx:pt>
          <cx:pt idx="6609">378.91789419999998</cx:pt>
          <cx:pt idx="6610">378.80212230000001</cx:pt>
          <cx:pt idx="6611">378.68812009999999</cx:pt>
          <cx:pt idx="6612">378.11279999999999</cx:pt>
          <cx:pt idx="6613">381.7749</cx:pt>
          <cx:pt idx="6614">381.58574859999999</cx:pt>
          <cx:pt idx="6615">381.56998399999998</cx:pt>
          <cx:pt idx="6616">381.5536037</cx:pt>
          <cx:pt idx="6617">381.53808379999998</cx:pt>
          <cx:pt idx="6618">381.52269030000002</cx:pt>
          <cx:pt idx="6619">381.49104269999998</cx:pt>
          <cx:pt idx="6620">381.47503339999997</cx:pt>
          <cx:pt idx="6621">381.46025550000002</cx:pt>
          <cx:pt idx="6622">381.44363049999998</cx:pt>
          <cx:pt idx="6623">381.42786589999997</cx:pt>
          <cx:pt idx="6624">381.41210919999997</cx:pt>
          <cx:pt idx="6625">381.39707879999997</cx:pt>
          <cx:pt idx="6626">381.36469699999998</cx:pt>
          <cx:pt idx="6627">381.20681430000002</cx:pt>
          <cx:pt idx="6628">381.01741029999999</cx:pt>
          <cx:pt idx="6629">380.93872160000001</cx:pt>
          <cx:pt idx="6630">380.67074730000002</cx:pt>
          <cx:pt idx="6631">380.65424849999999</cx:pt>
          <cx:pt idx="6632">380.63872859999998</cx:pt>
          <cx:pt idx="6633">380.62284560000001</cx:pt>
          <cx:pt idx="6634">380.60708110000002</cx:pt>
          <cx:pt idx="6635">380.59119020000003</cx:pt>
          <cx:pt idx="6636">380.57555189999999</cx:pt>
          <cx:pt idx="6637">380.55954259999999</cx:pt>
          <cx:pt idx="6638">380.38590319999997</cx:pt>
          <cx:pt idx="6639">380.35412930000001</cx:pt>
          <cx:pt idx="6640">380.29070780000001</cx:pt>
          <cx:pt idx="6641">380.29058149999997</cx:pt>
          <cx:pt idx="6642">380.27506949999997</cx:pt>
          <cx:pt idx="6643">380.25954960000001</cx:pt>
          <cx:pt idx="6644">380.243785</cx:pt>
          <cx:pt idx="6645">380.22802840000003</cx:pt>
          <cx:pt idx="6646">380.21140329999997</cx:pt>
          <cx:pt idx="6647">380.19649920000001</cx:pt>
          <cx:pt idx="6648">380.18061619999997</cx:pt>
          <cx:pt idx="6649">380.11743940000002</cx:pt>
          <cx:pt idx="6650">380.0069689</cx:pt>
          <cx:pt idx="6651">379.94380000000001</cx:pt>
          <cx:pt idx="6652">379.94380000000001</cx:pt>
          <cx:pt idx="6653">379.94380000000001</cx:pt>
          <cx:pt idx="6654">379.94380000000001</cx:pt>
          <cx:pt idx="6655">379.94380000000001</cx:pt>
          <cx:pt idx="6656">379.94380000000001</cx:pt>
          <cx:pt idx="6657">379.94380000000001</cx:pt>
          <cx:pt idx="6658">379.94380000000001</cx:pt>
          <cx:pt idx="6659">379.94380000000001</cx:pt>
          <cx:pt idx="6660">379.94380000000001</cx:pt>
          <cx:pt idx="6661">379.94380000000001</cx:pt>
          <cx:pt idx="6662">379.94380000000001</cx:pt>
          <cx:pt idx="6663">379.94380000000001</cx:pt>
          <cx:pt idx="6664">379.94380000000001</cx:pt>
          <cx:pt idx="6665">379.94380000000001</cx:pt>
          <cx:pt idx="6666">379.94380000000001</cx:pt>
          <cx:pt idx="6667">379.94380000000001</cx:pt>
          <cx:pt idx="6668">379.94380000000001</cx:pt>
          <cx:pt idx="6669">379.94380000000001</cx:pt>
          <cx:pt idx="6670">379.94380000000001</cx:pt>
          <cx:pt idx="6671">379.94380000000001</cx:pt>
          <cx:pt idx="6672">379.94380000000001</cx:pt>
          <cx:pt idx="6673">379.94380000000001</cx:pt>
          <cx:pt idx="6674">379.94380000000001</cx:pt>
          <cx:pt idx="6675">379.9175515</cx:pt>
          <cx:pt idx="6676">379.90478180000002</cx:pt>
          <cx:pt idx="6677">379.7884363</cx:pt>
          <cx:pt idx="6678">379.77566009999998</cx:pt>
          <cx:pt idx="6679">379.76329650000002</cx:pt>
          <cx:pt idx="6680">379.75022380000001</cx:pt>
          <cx:pt idx="6681">379.73755080000001</cx:pt>
          <cx:pt idx="6682">379.72458119999999</cx:pt>
          <cx:pt idx="6683">379.71170840000002</cx:pt>
          <cx:pt idx="6684">379.6988356</cx:pt>
          <cx:pt idx="6685">379.67308989999998</cx:pt>
          <cx:pt idx="6686">379.4797135</cx:pt>
          <cx:pt idx="6687">379.40107760000001</cx:pt>
          <cx:pt idx="6688">379.36347110000003</cx:pt>
          <cx:pt idx="6689">379.33742239999998</cx:pt>
          <cx:pt idx="6690">379.29921000000002</cx:pt>
          <cx:pt idx="6691">379.28644029999998</cx:pt>
          <cx:pt idx="6692">379.27296790000003</cx:pt>
          <cx:pt idx="6693">379.22177950000003</cx:pt>
          <cx:pt idx="6694">379.20910650000002</cx:pt>
          <cx:pt idx="6695">379.15752479999998</cx:pt>
          <cx:pt idx="6696">379.14465200000001</cx:pt>
          <cx:pt idx="6697">379.10573690000001</cx:pt>
          <cx:pt idx="6698">379.0930639</cx:pt>
          <cx:pt idx="6699">379.05474830000003</cx:pt>
          <cx:pt idx="6700">379.02840309999999</cx:pt>
          <cx:pt idx="6701">379.0283</cx:pt>
          <cx:pt idx="6702">379.15602589999997</cx:pt>
          <cx:pt idx="6703">379.41756930000003</cx:pt>
          <cx:pt idx="6704">379.41959980000001</cx:pt>
          <cx:pt idx="6705">379.94380000000001</cx:pt>
          <cx:pt idx="6706">378.11279999999999</cx:pt>
          <cx:pt idx="6707">382.69040000000001</cx:pt>
          <cx:pt idx="6708">380.40869529999998</cx:pt>
          <cx:pt idx="6709">379.9481887</cx:pt>
          <cx:pt idx="6710">379.49821059999999</cx:pt>
          <cx:pt idx="6711">379.49111529999999</cx:pt>
          <cx:pt idx="6712">378.57696859999999</cx:pt>
          <cx:pt idx="6713">378.11279999999999</cx:pt>
          <cx:pt idx="6714">378.13040790000002</cx:pt>
          <cx:pt idx="6715">378.20167500000002</cx:pt>
          <cx:pt idx="6716">378.37915850000002</cx:pt>
          <cx:pt idx="6717">378.55692629999999</cx:pt>
          <cx:pt idx="6718">378.57480980000003</cx:pt>
          <cx:pt idx="6719">378.59228430000002</cx:pt>
          <cx:pt idx="6720">378.61072780000001</cx:pt>
          <cx:pt idx="6721">378.62806010000003</cx:pt>
          <cx:pt idx="6722">378.64580139999998</cx:pt>
          <cx:pt idx="6723">378.66369370000001</cx:pt>
          <cx:pt idx="6724">378.68144380000001</cx:pt>
          <cx:pt idx="6725">378.84145269999999</cx:pt>
          <cx:pt idx="6726">378.85920279999999</cx:pt>
          <cx:pt idx="6727">378.87695289999999</cx:pt>
          <cx:pt idx="6728">378.96514350000001</cx:pt>
          <cx:pt idx="6729">379.01922050000002</cx:pt>
          <cx:pt idx="6730">379.03668620000002</cx:pt>
          <cx:pt idx="6731">379.2324797</cx:pt>
          <cx:pt idx="6732">379.30360460000003</cx:pt>
          <cx:pt idx="6733">379.356855</cx:pt>
          <cx:pt idx="6734">379.44573000000003</cx:pt>
          <cx:pt idx="6735">379.46362240000002</cx:pt>
          <cx:pt idx="6736">379.6237734</cx:pt>
          <cx:pt idx="6737">379.71237289999999</cx:pt>
          <cx:pt idx="6738">379.94380000000001</cx:pt>
          <cx:pt idx="6739">379.7316672</cx:pt>
          <cx:pt idx="6740">379.71457750000002</cx:pt>
          <cx:pt idx="6741">379.69837089999999</cx:pt>
          <cx:pt idx="6742">379.68306380000001</cx:pt>
          <cx:pt idx="6743">379.66610489999999</cx:pt>
          <cx:pt idx="6744">379.64989839999998</cx:pt>
          <cx:pt idx="6745">379.61635680000001</cx:pt>
          <cx:pt idx="6746">379.60078800000002</cx:pt>
          <cx:pt idx="6747">379.53497229999999</cx:pt>
          <cx:pt idx="6748">379.51889649999998</cx:pt>
          <cx:pt idx="6749">379.43687419999998</cx:pt>
          <cx:pt idx="6750">379.40460009999998</cx:pt>
          <cx:pt idx="6751">379.38865520000002</cx:pt>
          <cx:pt idx="6752">379.37143470000001</cx:pt>
          <cx:pt idx="6753">379.33890700000001</cx:pt>
          <cx:pt idx="6754">379.32283940000002</cx:pt>
          <cx:pt idx="6755">379.28979670000001</cx:pt>
          <cx:pt idx="6756">379.25714640000001</cx:pt>
          <cx:pt idx="6757">379.15904829999999</cx:pt>
          <cx:pt idx="6758">379.11006880000002</cx:pt>
          <cx:pt idx="6759">379.09360880000003</cx:pt>
          <cx:pt idx="6760">379.07727949999997</cx:pt>
          <cx:pt idx="6761">379.06044329999997</cx:pt>
          <cx:pt idx="6762">379.04424490000002</cx:pt>
          <cx:pt idx="6763">379.0283</cx:pt>
          <cx:pt idx="6764">379.7147794</cx:pt>
          <cx:pt idx="6765">380.38556390000002</cx:pt>
          <cx:pt idx="6766">381.7749</cx:pt>
          <cx:pt idx="6767">378.11279999999999</cx:pt>
          <cx:pt idx="6768">378.20421270000003</cx:pt>
          <cx:pt idx="6769">378.39774940000001</cx:pt>
          <cx:pt idx="6770">378.47840489999999</cx:pt>
          <cx:pt idx="6771">378.75332959999997</cx:pt>
          <cx:pt idx="6772">379.0283</cx:pt>
          <cx:pt idx="6773">379.18608549999999</cx:pt>
          <cx:pt idx="6774">379.21759839999999</cx:pt>
          <cx:pt idx="6775">379.2491114</cx:pt>
          <cx:pt idx="6776">379.28381189999999</cx:pt>
          <cx:pt idx="6777">379.3753997</cx:pt>
          <cx:pt idx="6778">379.47066439999998</cx:pt>
          <cx:pt idx="6779">379.56420900000001</cx:pt>
          <cx:pt idx="6780">379.56469820000001</cx:pt>
          <cx:pt idx="6781">379.62846569999999</cx:pt>
          <cx:pt idx="6782">379.65947360000001</cx:pt>
          <cx:pt idx="6783">379.81727489999997</cx:pt>
          <cx:pt idx="6784">379.94380000000001</cx:pt>
          <cx:pt idx="6785">379.94380000000001</cx:pt>
          <cx:pt idx="6786">379.94380000000001</cx:pt>
          <cx:pt idx="6787">379.94380000000001</cx:pt>
          <cx:pt idx="6788">379.94380000000001</cx:pt>
          <cx:pt idx="6789">379.94380000000001</cx:pt>
          <cx:pt idx="6790">379.94380000000001</cx:pt>
          <cx:pt idx="6791">379.94380000000001</cx:pt>
          <cx:pt idx="6792">379.94380000000001</cx:pt>
          <cx:pt idx="6793">379.94380000000001</cx:pt>
          <cx:pt idx="6794">379.94380000000001</cx:pt>
          <cx:pt idx="6795">379.94380000000001</cx:pt>
          <cx:pt idx="6796">379.94380000000001</cx:pt>
          <cx:pt idx="6797">379.94380000000001</cx:pt>
          <cx:pt idx="6798">379.94380000000001</cx:pt>
          <cx:pt idx="6799">379.94380000000001</cx:pt>
          <cx:pt idx="6800">379.94380000000001</cx:pt>
          <cx:pt idx="6801">379.94380000000001</cx:pt>
          <cx:pt idx="6802">379.94380000000001</cx:pt>
          <cx:pt idx="6803">379.94380000000001</cx:pt>
          <cx:pt idx="6804">379.94380000000001</cx:pt>
          <cx:pt idx="6805">379.94380000000001</cx:pt>
          <cx:pt idx="6806">379.94380000000001</cx:pt>
          <cx:pt idx="6807">379.94380000000001</cx:pt>
          <cx:pt idx="6808">379.94380000000001</cx:pt>
          <cx:pt idx="6809">379.94380000000001</cx:pt>
          <cx:pt idx="6810">379.94380000000001</cx:pt>
          <cx:pt idx="6811">379.94380000000001</cx:pt>
          <cx:pt idx="6812">379.94380000000001</cx:pt>
          <cx:pt idx="6813">379.94380000000001</cx:pt>
          <cx:pt idx="6814">379.94380000000001</cx:pt>
          <cx:pt idx="6815">379.94380000000001</cx:pt>
          <cx:pt idx="6816">379.94380000000001</cx:pt>
          <cx:pt idx="6817">379.94380000000001</cx:pt>
          <cx:pt idx="6818">379.94380000000001</cx:pt>
          <cx:pt idx="6819">379.94380000000001</cx:pt>
          <cx:pt idx="6820">379.94380000000001</cx:pt>
          <cx:pt idx="6821">379.94380000000001</cx:pt>
          <cx:pt idx="6822">379.94380000000001</cx:pt>
          <cx:pt idx="6823">379.94380000000001</cx:pt>
          <cx:pt idx="6824">379.94380000000001</cx:pt>
          <cx:pt idx="6825">379.94380000000001</cx:pt>
          <cx:pt idx="6826">379.94380000000001</cx:pt>
          <cx:pt idx="6827">379.94380000000001</cx:pt>
          <cx:pt idx="6828">379.94380000000001</cx:pt>
          <cx:pt idx="6829">379.94380000000001</cx:pt>
          <cx:pt idx="6830">379.94380000000001</cx:pt>
          <cx:pt idx="6831">379.94380000000001</cx:pt>
          <cx:pt idx="6832">379.94380000000001</cx:pt>
          <cx:pt idx="6833">379.94380000000001</cx:pt>
          <cx:pt idx="6834">379.94380000000001</cx:pt>
          <cx:pt idx="6835">379.94380000000001</cx:pt>
          <cx:pt idx="6836">379.94380000000001</cx:pt>
          <cx:pt idx="6837">379.94380000000001</cx:pt>
          <cx:pt idx="6838">379.94380000000001</cx:pt>
          <cx:pt idx="6839">379.94380000000001</cx:pt>
          <cx:pt idx="6840">379.94380000000001</cx:pt>
          <cx:pt idx="6841">379.94380000000001</cx:pt>
          <cx:pt idx="6842">379.94380000000001</cx:pt>
          <cx:pt idx="6843">379.94380000000001</cx:pt>
          <cx:pt idx="6844">379.94380000000001</cx:pt>
          <cx:pt idx="6845">379.94380000000001</cx:pt>
          <cx:pt idx="6846">379.94380000000001</cx:pt>
          <cx:pt idx="6847">379.94380000000001</cx:pt>
          <cx:pt idx="6848">379.94380000000001</cx:pt>
          <cx:pt idx="6849">379.94380000000001</cx:pt>
          <cx:pt idx="6850">379.94380000000001</cx:pt>
          <cx:pt idx="6851">379.94380000000001</cx:pt>
          <cx:pt idx="6852">379.94380000000001</cx:pt>
          <cx:pt idx="6853">379.94380000000001</cx:pt>
          <cx:pt idx="6854">379.94380000000001</cx:pt>
          <cx:pt idx="6855">379.94380000000001</cx:pt>
          <cx:pt idx="6856">379.94380000000001</cx:pt>
          <cx:pt idx="6857">379.94380000000001</cx:pt>
          <cx:pt idx="6858">379.94380000000001</cx:pt>
          <cx:pt idx="6859">379.94380000000001</cx:pt>
          <cx:pt idx="6860">379.94380000000001</cx:pt>
          <cx:pt idx="6861">379.94380000000001</cx:pt>
          <cx:pt idx="6862">379.94380000000001</cx:pt>
          <cx:pt idx="6863">379.94380000000001</cx:pt>
          <cx:pt idx="6864">379.94380000000001</cx:pt>
          <cx:pt idx="6865">379.94380000000001</cx:pt>
          <cx:pt idx="6866">379.94380000000001</cx:pt>
          <cx:pt idx="6867">379.94380000000001</cx:pt>
          <cx:pt idx="6868">379.94380000000001</cx:pt>
          <cx:pt idx="6869">379.94380000000001</cx:pt>
          <cx:pt idx="6870">379.94380000000001</cx:pt>
          <cx:pt idx="6871">379.94380000000001</cx:pt>
          <cx:pt idx="6872">379.94380000000001</cx:pt>
          <cx:pt idx="6873">379.94380000000001</cx:pt>
          <cx:pt idx="6874">379.94380000000001</cx:pt>
          <cx:pt idx="6875">379.94380000000001</cx:pt>
          <cx:pt idx="6876">379.94380000000001</cx:pt>
          <cx:pt idx="6877">379.94380000000001</cx:pt>
          <cx:pt idx="6878">379.94380000000001</cx:pt>
          <cx:pt idx="6879">379.94380000000001</cx:pt>
          <cx:pt idx="6880">379.94380000000001</cx:pt>
          <cx:pt idx="6881">379.94380000000001</cx:pt>
          <cx:pt idx="6882">379.94380000000001</cx:pt>
          <cx:pt idx="6883">379.94380000000001</cx:pt>
          <cx:pt idx="6884">379.94380000000001</cx:pt>
          <cx:pt idx="6885">379.94380000000001</cx:pt>
          <cx:pt idx="6886">379.94380000000001</cx:pt>
          <cx:pt idx="6887">379.94380000000001</cx:pt>
          <cx:pt idx="6888">379.94380000000001</cx:pt>
          <cx:pt idx="6889">379.94380000000001</cx:pt>
          <cx:pt idx="6890">379.94380000000001</cx:pt>
          <cx:pt idx="6891">379.94380000000001</cx:pt>
          <cx:pt idx="6892">379.94380000000001</cx:pt>
          <cx:pt idx="6893">379.94380000000001</cx:pt>
          <cx:pt idx="6894">379.94380000000001</cx:pt>
          <cx:pt idx="6895">379.94380000000001</cx:pt>
          <cx:pt idx="6896">379.94380000000001</cx:pt>
          <cx:pt idx="6897">379.94380000000001</cx:pt>
          <cx:pt idx="6898">379.94380000000001</cx:pt>
          <cx:pt idx="6899">379.94380000000001</cx:pt>
          <cx:pt idx="6900">379.94380000000001</cx:pt>
          <cx:pt idx="6901">379.94380000000001</cx:pt>
          <cx:pt idx="6902">379.94380000000001</cx:pt>
          <cx:pt idx="6903">379.94380000000001</cx:pt>
          <cx:pt idx="6904">379.94380000000001</cx:pt>
          <cx:pt idx="6905">379.94380000000001</cx:pt>
          <cx:pt idx="6906">379.94380000000001</cx:pt>
          <cx:pt idx="6907">379.94380000000001</cx:pt>
          <cx:pt idx="6908">379.94380000000001</cx:pt>
          <cx:pt idx="6909">379.94380000000001</cx:pt>
          <cx:pt idx="6910">379.94380000000001</cx:pt>
          <cx:pt idx="6911">379.94380000000001</cx:pt>
          <cx:pt idx="6912">379.94380000000001</cx:pt>
          <cx:pt idx="6913">379.94380000000001</cx:pt>
          <cx:pt idx="6914">379.94380000000001</cx:pt>
          <cx:pt idx="6915">379.94380000000001</cx:pt>
          <cx:pt idx="6916">379.94380000000001</cx:pt>
          <cx:pt idx="6917">379.94380000000001</cx:pt>
          <cx:pt idx="6918">379.94380000000001</cx:pt>
          <cx:pt idx="6919">379.94380000000001</cx:pt>
          <cx:pt idx="6920">379.94380000000001</cx:pt>
          <cx:pt idx="6921">379.94380000000001</cx:pt>
          <cx:pt idx="6922">379.94380000000001</cx:pt>
          <cx:pt idx="6923">379.94380000000001</cx:pt>
          <cx:pt idx="6924">379.94380000000001</cx:pt>
          <cx:pt idx="6925">379.94380000000001</cx:pt>
          <cx:pt idx="6926">379.94380000000001</cx:pt>
          <cx:pt idx="6927">379.94380000000001</cx:pt>
          <cx:pt idx="6928">379.94380000000001</cx:pt>
          <cx:pt idx="6929">379.94380000000001</cx:pt>
          <cx:pt idx="6930">379.94380000000001</cx:pt>
          <cx:pt idx="6931">379.94380000000001</cx:pt>
          <cx:pt idx="6932">379.94380000000001</cx:pt>
        </cx:lvl>
      </cx:numDim>
    </cx:data>
    <cx:data id="7">
      <cx:numDim type="val">
        <cx:f>'Box Plots'!$H$151:$H$7083</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0</cx:pt>
          <cx:pt idx="421">0</cx:pt>
          <cx:pt idx="422">0</cx:pt>
          <cx:pt idx="423">0</cx:pt>
          <cx:pt idx="424">0</cx:pt>
          <cx:pt idx="425">0</cx:pt>
          <cx:pt idx="426">0</cx:pt>
          <cx:pt idx="427">0</cx:pt>
          <cx:pt idx="428">0</cx:pt>
          <cx:pt idx="429">0</cx:pt>
          <cx:pt idx="430">0</cx:pt>
          <cx:pt idx="431">0</cx:pt>
          <cx:pt idx="432">0</cx:pt>
          <cx:pt idx="433">0</cx:pt>
          <cx:pt idx="434">0</cx:pt>
          <cx:pt idx="435">0</cx:pt>
          <cx:pt idx="436">0</cx:pt>
          <cx:pt idx="437">0</cx:pt>
          <cx:pt idx="438">0</cx:pt>
          <cx:pt idx="439">0</cx:pt>
          <cx:pt idx="440">0</cx:pt>
          <cx:pt idx="441">0</cx:pt>
          <cx:pt idx="442">0</cx:pt>
          <cx:pt idx="443">0</cx:pt>
          <cx:pt idx="444">0</cx:pt>
          <cx:pt idx="445">0</cx:pt>
          <cx:pt idx="446">0</cx:pt>
          <cx:pt idx="447">0</cx:pt>
          <cx:pt idx="448">0</cx:pt>
          <cx:pt idx="449">0</cx:pt>
          <cx:pt idx="450">0</cx:pt>
          <cx:pt idx="451">0</cx:pt>
          <cx:pt idx="452">0</cx:pt>
          <cx:pt idx="453">0</cx:pt>
          <cx:pt idx="454">0</cx:pt>
          <cx:pt idx="455">0</cx:pt>
          <cx:pt idx="456">0</cx:pt>
          <cx:pt idx="457">0</cx:pt>
          <cx:pt idx="458">0</cx:pt>
          <cx:pt idx="459">0</cx:pt>
          <cx:pt idx="460">0</cx:pt>
          <cx:pt idx="461">0</cx:pt>
          <cx:pt idx="462">0</cx:pt>
          <cx:pt idx="463">0</cx:pt>
          <cx:pt idx="464">0</cx:pt>
          <cx:pt idx="465">0</cx:pt>
          <cx:pt idx="466">0</cx:pt>
          <cx:pt idx="467">0</cx:pt>
          <cx:pt idx="468">0</cx:pt>
          <cx:pt idx="469">0</cx:pt>
          <cx:pt idx="470">0</cx:pt>
          <cx:pt idx="471">0</cx:pt>
          <cx:pt idx="472">0</cx:pt>
          <cx:pt idx="473">0</cx:pt>
          <cx:pt idx="474">0</cx:pt>
          <cx:pt idx="475">0</cx:pt>
          <cx:pt idx="476">0</cx:pt>
          <cx:pt idx="477">0</cx:pt>
          <cx:pt idx="478">0</cx:pt>
          <cx:pt idx="479">0</cx:pt>
          <cx:pt idx="480">0</cx:pt>
          <cx:pt idx="481">0</cx:pt>
          <cx:pt idx="482">0</cx:pt>
          <cx:pt idx="483">0</cx:pt>
          <cx:pt idx="484">0</cx:pt>
          <cx:pt idx="485">0</cx:pt>
          <cx:pt idx="486">0</cx:pt>
          <cx:pt idx="487">0</cx:pt>
          <cx:pt idx="488">0</cx:pt>
          <cx:pt idx="489">0</cx:pt>
          <cx:pt idx="490">0</cx:pt>
          <cx:pt idx="491">0</cx:pt>
          <cx:pt idx="492">0</cx:pt>
          <cx:pt idx="493">0</cx:pt>
          <cx:pt idx="494">0</cx:pt>
          <cx:pt idx="495">0</cx:pt>
          <cx:pt idx="496">0</cx:pt>
          <cx:pt idx="497">0</cx:pt>
          <cx:pt idx="498">0</cx:pt>
          <cx:pt idx="499">0</cx:pt>
          <cx:pt idx="500">0</cx:pt>
          <cx:pt idx="501">0</cx:pt>
          <cx:pt idx="502">0</cx:pt>
          <cx:pt idx="503">0</cx:pt>
          <cx:pt idx="504">0</cx:pt>
          <cx:pt idx="505">0</cx:pt>
          <cx:pt idx="506">0</cx:pt>
          <cx:pt idx="507">0</cx:pt>
          <cx:pt idx="508">0</cx:pt>
          <cx:pt idx="509">0</cx:pt>
          <cx:pt idx="510">0</cx:pt>
          <cx:pt idx="511">0</cx:pt>
          <cx:pt idx="512">0</cx:pt>
          <cx:pt idx="513">0</cx:pt>
          <cx:pt idx="514">0</cx:pt>
          <cx:pt idx="515">0</cx:pt>
          <cx:pt idx="516">0</cx:pt>
          <cx:pt idx="517">0</cx:pt>
          <cx:pt idx="518">0</cx:pt>
          <cx:pt idx="519">0</cx:pt>
          <cx:pt idx="520">0</cx:pt>
          <cx:pt idx="521">0</cx:pt>
          <cx:pt idx="522">0</cx:pt>
          <cx:pt idx="523">0</cx:pt>
          <cx:pt idx="524">0</cx:pt>
          <cx:pt idx="525">0</cx:pt>
          <cx:pt idx="526">0</cx:pt>
          <cx:pt idx="527">0</cx:pt>
          <cx:pt idx="528">0</cx:pt>
          <cx:pt idx="529">0</cx:pt>
          <cx:pt idx="530">0</cx:pt>
          <cx:pt idx="531">0</cx:pt>
          <cx:pt idx="532">0</cx:pt>
          <cx:pt idx="533">0</cx:pt>
          <cx:pt idx="534">0</cx:pt>
          <cx:pt idx="535">0</cx:pt>
          <cx:pt idx="536">0</cx:pt>
          <cx:pt idx="537">0</cx:pt>
          <cx:pt idx="538">0</cx:pt>
          <cx:pt idx="539">0</cx:pt>
          <cx:pt idx="540">0</cx:pt>
          <cx:pt idx="541">0</cx:pt>
          <cx:pt idx="542">0</cx:pt>
          <cx:pt idx="543">0</cx:pt>
          <cx:pt idx="544">0</cx:pt>
          <cx:pt idx="545">0</cx:pt>
          <cx:pt idx="546">0</cx:pt>
          <cx:pt idx="547">0</cx:pt>
          <cx:pt idx="548">0</cx:pt>
          <cx:pt idx="549">0</cx:pt>
          <cx:pt idx="550">0</cx:pt>
          <cx:pt idx="551">0</cx:pt>
          <cx:pt idx="552">0</cx:pt>
          <cx:pt idx="553">0</cx:pt>
          <cx:pt idx="554">0</cx:pt>
          <cx:pt idx="555">0</cx:pt>
          <cx:pt idx="556">0</cx:pt>
          <cx:pt idx="557">0</cx:pt>
          <cx:pt idx="558">0</cx:pt>
          <cx:pt idx="559">0</cx:pt>
          <cx:pt idx="560">0</cx:pt>
          <cx:pt idx="561">0</cx:pt>
          <cx:pt idx="562">0</cx:pt>
          <cx:pt idx="563">0</cx:pt>
          <cx:pt idx="564">0</cx:pt>
          <cx:pt idx="565">0</cx:pt>
          <cx:pt idx="566">0</cx:pt>
          <cx:pt idx="567">0</cx:pt>
          <cx:pt idx="568">0</cx:pt>
          <cx:pt idx="569">0</cx:pt>
          <cx:pt idx="570">0</cx:pt>
          <cx:pt idx="571">0</cx:pt>
          <cx:pt idx="572">0</cx:pt>
          <cx:pt idx="573">0</cx:pt>
          <cx:pt idx="574">0</cx:pt>
          <cx:pt idx="575">0</cx:pt>
          <cx:pt idx="576">0</cx:pt>
          <cx:pt idx="577">0</cx:pt>
          <cx:pt idx="578">0</cx:pt>
          <cx:pt idx="579">0</cx:pt>
          <cx:pt idx="580">0</cx:pt>
          <cx:pt idx="581">0</cx:pt>
          <cx:pt idx="582">0</cx:pt>
          <cx:pt idx="583">0</cx:pt>
          <cx:pt idx="584">0</cx:pt>
          <cx:pt idx="585">0</cx:pt>
          <cx:pt idx="586">0</cx:pt>
          <cx:pt idx="587">0</cx:pt>
          <cx:pt idx="588">0</cx:pt>
          <cx:pt idx="589">0</cx:pt>
          <cx:pt idx="590">0</cx:pt>
          <cx:pt idx="591">0</cx:pt>
          <cx:pt idx="592">0</cx:pt>
          <cx:pt idx="593">0</cx:pt>
          <cx:pt idx="594">0</cx:pt>
          <cx:pt idx="595">0</cx:pt>
          <cx:pt idx="596">0</cx:pt>
          <cx:pt idx="597">0</cx:pt>
          <cx:pt idx="598">0</cx:pt>
          <cx:pt idx="599">0</cx:pt>
          <cx:pt idx="600">0</cx:pt>
          <cx:pt idx="601">0</cx:pt>
          <cx:pt idx="602">0</cx:pt>
          <cx:pt idx="603">0</cx:pt>
          <cx:pt idx="604">0</cx:pt>
          <cx:pt idx="605">0</cx:pt>
          <cx:pt idx="606">0</cx:pt>
          <cx:pt idx="607">0</cx:pt>
          <cx:pt idx="608">0</cx:pt>
          <cx:pt idx="609">0</cx:pt>
          <cx:pt idx="610">0</cx:pt>
          <cx:pt idx="611">0</cx:pt>
          <cx:pt idx="612">0</cx:pt>
          <cx:pt idx="613">0</cx:pt>
          <cx:pt idx="614">0</cx:pt>
          <cx:pt idx="615">0</cx:pt>
          <cx:pt idx="616">0</cx:pt>
          <cx:pt idx="617">0</cx:pt>
          <cx:pt idx="618">0</cx:pt>
          <cx:pt idx="619">0</cx:pt>
          <cx:pt idx="620">0</cx:pt>
          <cx:pt idx="621">0</cx:pt>
          <cx:pt idx="622">0</cx:pt>
          <cx:pt idx="623">0</cx:pt>
          <cx:pt idx="624">0</cx:pt>
          <cx:pt idx="625">0</cx:pt>
          <cx:pt idx="626">0</cx:pt>
          <cx:pt idx="627">0</cx:pt>
          <cx:pt idx="628">0</cx:pt>
          <cx:pt idx="629">0</cx:pt>
          <cx:pt idx="630">0</cx:pt>
          <cx:pt idx="631">0</cx:pt>
          <cx:pt idx="632">0</cx:pt>
          <cx:pt idx="633">0</cx:pt>
          <cx:pt idx="634">0</cx:pt>
          <cx:pt idx="635">0</cx:pt>
          <cx:pt idx="636">0</cx:pt>
          <cx:pt idx="637">0</cx:pt>
          <cx:pt idx="638">0</cx:pt>
          <cx:pt idx="639">0</cx:pt>
          <cx:pt idx="640">0</cx:pt>
          <cx:pt idx="641">0</cx:pt>
          <cx:pt idx="642">0</cx:pt>
          <cx:pt idx="643">0</cx:pt>
          <cx:pt idx="644">0</cx:pt>
          <cx:pt idx="645">0</cx:pt>
          <cx:pt idx="646">0</cx:pt>
          <cx:pt idx="647">0</cx:pt>
          <cx:pt idx="648">0</cx:pt>
          <cx:pt idx="649">0</cx:pt>
          <cx:pt idx="650">0</cx:pt>
          <cx:pt idx="651">0</cx:pt>
          <cx:pt idx="652">0</cx:pt>
          <cx:pt idx="653">0</cx:pt>
          <cx:pt idx="654">0</cx:pt>
          <cx:pt idx="655">0</cx:pt>
          <cx:pt idx="656">0</cx:pt>
          <cx:pt idx="657">0</cx:pt>
          <cx:pt idx="658">0</cx:pt>
          <cx:pt idx="659">0</cx:pt>
          <cx:pt idx="660">0</cx:pt>
          <cx:pt idx="661">0</cx:pt>
          <cx:pt idx="662">0</cx:pt>
          <cx:pt idx="663">0</cx:pt>
          <cx:pt idx="664">0</cx:pt>
          <cx:pt idx="665">0</cx:pt>
          <cx:pt idx="666">0</cx:pt>
          <cx:pt idx="667">0</cx:pt>
          <cx:pt idx="668">0</cx:pt>
          <cx:pt idx="669">0</cx:pt>
          <cx:pt idx="670">0</cx:pt>
          <cx:pt idx="671">0</cx:pt>
          <cx:pt idx="672">0</cx:pt>
          <cx:pt idx="673">0</cx:pt>
          <cx:pt idx="674">0</cx:pt>
          <cx:pt idx="675">0</cx:pt>
          <cx:pt idx="676">0</cx:pt>
          <cx:pt idx="677">0</cx:pt>
          <cx:pt idx="678">0</cx:pt>
          <cx:pt idx="679">0</cx:pt>
          <cx:pt idx="680">0</cx:pt>
          <cx:pt idx="681">0</cx:pt>
          <cx:pt idx="682">0</cx:pt>
          <cx:pt idx="683">0</cx:pt>
          <cx:pt idx="684">0</cx:pt>
          <cx:pt idx="685">0</cx:pt>
          <cx:pt idx="686">0</cx:pt>
          <cx:pt idx="687">0</cx:pt>
          <cx:pt idx="688">0</cx:pt>
          <cx:pt idx="689">0</cx:pt>
          <cx:pt idx="690">0</cx:pt>
          <cx:pt idx="691">0</cx:pt>
          <cx:pt idx="692">0</cx:pt>
          <cx:pt idx="693">0</cx:pt>
          <cx:pt idx="694">0</cx:pt>
          <cx:pt idx="695">0</cx:pt>
          <cx:pt idx="696">0</cx:pt>
          <cx:pt idx="697">0</cx:pt>
          <cx:pt idx="698">0</cx:pt>
          <cx:pt idx="699">0</cx:pt>
          <cx:pt idx="700">0</cx:pt>
          <cx:pt idx="701">0</cx:pt>
          <cx:pt idx="702">0</cx:pt>
          <cx:pt idx="703">0</cx:pt>
          <cx:pt idx="704">0</cx:pt>
          <cx:pt idx="705">0</cx:pt>
          <cx:pt idx="706">0</cx:pt>
          <cx:pt idx="707">0</cx:pt>
          <cx:pt idx="708">0</cx:pt>
          <cx:pt idx="709">0</cx:pt>
          <cx:pt idx="710">0</cx:pt>
          <cx:pt idx="711">0</cx:pt>
          <cx:pt idx="712">0</cx:pt>
          <cx:pt idx="713">0</cx:pt>
          <cx:pt idx="714">0</cx:pt>
          <cx:pt idx="715">0</cx:pt>
          <cx:pt idx="716">0</cx:pt>
          <cx:pt idx="717">0</cx:pt>
          <cx:pt idx="718">0</cx:pt>
          <cx:pt idx="719">0</cx:pt>
          <cx:pt idx="720">0</cx:pt>
          <cx:pt idx="721">0</cx:pt>
          <cx:pt idx="722">0</cx:pt>
          <cx:pt idx="723">0</cx:pt>
          <cx:pt idx="724">0</cx:pt>
          <cx:pt idx="725">0</cx:pt>
          <cx:pt idx="726">0</cx:pt>
          <cx:pt idx="727">0</cx:pt>
          <cx:pt idx="728">0</cx:pt>
          <cx:pt idx="729">0</cx:pt>
          <cx:pt idx="730">0</cx:pt>
          <cx:pt idx="731">0</cx:pt>
          <cx:pt idx="732">0</cx:pt>
          <cx:pt idx="733">0</cx:pt>
          <cx:pt idx="734">0</cx:pt>
          <cx:pt idx="735">0</cx:pt>
          <cx:pt idx="736">0</cx:pt>
          <cx:pt idx="737">0</cx:pt>
          <cx:pt idx="738">0</cx:pt>
          <cx:pt idx="739">0</cx:pt>
          <cx:pt idx="740">0</cx:pt>
          <cx:pt idx="741">0</cx:pt>
          <cx:pt idx="742">0</cx:pt>
          <cx:pt idx="743">0</cx:pt>
          <cx:pt idx="744">0</cx:pt>
          <cx:pt idx="745">0</cx:pt>
          <cx:pt idx="746">0</cx:pt>
          <cx:pt idx="747">0</cx:pt>
          <cx:pt idx="748">0</cx:pt>
          <cx:pt idx="749">0</cx:pt>
          <cx:pt idx="750">0</cx:pt>
          <cx:pt idx="751">0</cx:pt>
          <cx:pt idx="752">0</cx:pt>
          <cx:pt idx="753">0</cx:pt>
          <cx:pt idx="754">0</cx:pt>
          <cx:pt idx="755">0</cx:pt>
          <cx:pt idx="756">0</cx:pt>
          <cx:pt idx="757">0</cx:pt>
          <cx:pt idx="758">0</cx:pt>
          <cx:pt idx="759">0</cx:pt>
          <cx:pt idx="760">0</cx:pt>
          <cx:pt idx="761">0</cx:pt>
          <cx:pt idx="762">0</cx:pt>
          <cx:pt idx="763">0</cx:pt>
          <cx:pt idx="764">0</cx:pt>
          <cx:pt idx="765">0</cx:pt>
          <cx:pt idx="766">0</cx:pt>
          <cx:pt idx="767">0</cx:pt>
          <cx:pt idx="768">0</cx:pt>
          <cx:pt idx="769">0</cx:pt>
          <cx:pt idx="770">0</cx:pt>
          <cx:pt idx="771">0</cx:pt>
          <cx:pt idx="772">0</cx:pt>
          <cx:pt idx="773">0</cx:pt>
          <cx:pt idx="774">0</cx:pt>
          <cx:pt idx="775">0</cx:pt>
          <cx:pt idx="776">0</cx:pt>
          <cx:pt idx="777">0</cx:pt>
          <cx:pt idx="778">0</cx:pt>
          <cx:pt idx="779">0</cx:pt>
          <cx:pt idx="780">0</cx:pt>
          <cx:pt idx="781">0</cx:pt>
          <cx:pt idx="782">0</cx:pt>
          <cx:pt idx="783">0</cx:pt>
          <cx:pt idx="784">0</cx:pt>
          <cx:pt idx="785">0</cx:pt>
          <cx:pt idx="786">0</cx:pt>
          <cx:pt idx="787">0</cx:pt>
          <cx:pt idx="788">0</cx:pt>
          <cx:pt idx="789">0</cx:pt>
          <cx:pt idx="790">0</cx:pt>
          <cx:pt idx="791">0</cx:pt>
          <cx:pt idx="792">0</cx:pt>
          <cx:pt idx="793">0</cx:pt>
          <cx:pt idx="794">0</cx:pt>
          <cx:pt idx="795">0</cx:pt>
          <cx:pt idx="796">0</cx:pt>
          <cx:pt idx="797">0</cx:pt>
          <cx:pt idx="798">0</cx:pt>
          <cx:pt idx="799">0</cx:pt>
          <cx:pt idx="800">0</cx:pt>
          <cx:pt idx="801">0</cx:pt>
          <cx:pt idx="802">0</cx:pt>
          <cx:pt idx="803">0</cx:pt>
          <cx:pt idx="804">0</cx:pt>
          <cx:pt idx="805">0</cx:pt>
          <cx:pt idx="806">0</cx:pt>
          <cx:pt idx="807">0</cx:pt>
          <cx:pt idx="808">0</cx:pt>
          <cx:pt idx="809">0</cx:pt>
          <cx:pt idx="810">0</cx:pt>
          <cx:pt idx="811">0</cx:pt>
          <cx:pt idx="812">0</cx:pt>
          <cx:pt idx="813">0</cx:pt>
          <cx:pt idx="814">0</cx:pt>
          <cx:pt idx="815">0</cx:pt>
          <cx:pt idx="816">0</cx:pt>
          <cx:pt idx="817">0</cx:pt>
          <cx:pt idx="818">0</cx:pt>
          <cx:pt idx="819">0</cx:pt>
          <cx:pt idx="820">0</cx:pt>
          <cx:pt idx="821">0</cx:pt>
          <cx:pt idx="822">0</cx:pt>
          <cx:pt idx="823">0</cx:pt>
          <cx:pt idx="824">0</cx:pt>
          <cx:pt idx="825">0</cx:pt>
          <cx:pt idx="826">0</cx:pt>
          <cx:pt idx="827">0</cx:pt>
          <cx:pt idx="828">0</cx:pt>
          <cx:pt idx="829">0</cx:pt>
          <cx:pt idx="830">0</cx:pt>
          <cx:pt idx="831">0</cx:pt>
          <cx:pt idx="832">0</cx:pt>
          <cx:pt idx="833">0</cx:pt>
          <cx:pt idx="834">0</cx:pt>
          <cx:pt idx="835">0</cx:pt>
          <cx:pt idx="836">0</cx:pt>
          <cx:pt idx="837">0</cx:pt>
          <cx:pt idx="838">0</cx:pt>
          <cx:pt idx="839">0</cx:pt>
          <cx:pt idx="840">0</cx:pt>
          <cx:pt idx="841">0</cx:pt>
          <cx:pt idx="842">0</cx:pt>
          <cx:pt idx="843">0</cx:pt>
          <cx:pt idx="844">0</cx:pt>
          <cx:pt idx="845">0</cx:pt>
          <cx:pt idx="846">0</cx:pt>
          <cx:pt idx="847">0</cx:pt>
          <cx:pt idx="848">0</cx:pt>
          <cx:pt idx="849">0</cx:pt>
          <cx:pt idx="850">0</cx:pt>
          <cx:pt idx="851">0</cx:pt>
          <cx:pt idx="852">0</cx:pt>
          <cx:pt idx="853">0</cx:pt>
          <cx:pt idx="854">0</cx:pt>
          <cx:pt idx="855">0</cx:pt>
          <cx:pt idx="856">0</cx:pt>
          <cx:pt idx="857">0</cx:pt>
          <cx:pt idx="858">0</cx:pt>
          <cx:pt idx="859">0</cx:pt>
          <cx:pt idx="860">0</cx:pt>
          <cx:pt idx="861">0</cx:pt>
          <cx:pt idx="862">0</cx:pt>
          <cx:pt idx="863">0</cx:pt>
          <cx:pt idx="864">0</cx:pt>
          <cx:pt idx="865">0</cx:pt>
          <cx:pt idx="866">0</cx:pt>
          <cx:pt idx="867">0</cx:pt>
          <cx:pt idx="868">0</cx:pt>
          <cx:pt idx="869">0</cx:pt>
          <cx:pt idx="870">0</cx:pt>
          <cx:pt idx="871">0</cx:pt>
          <cx:pt idx="872">0</cx:pt>
          <cx:pt idx="873">0</cx:pt>
          <cx:pt idx="874">0</cx:pt>
          <cx:pt idx="875">0</cx:pt>
          <cx:pt idx="876">0</cx:pt>
          <cx:pt idx="877">0</cx:pt>
          <cx:pt idx="878">0</cx:pt>
          <cx:pt idx="879">0</cx:pt>
          <cx:pt idx="880">0</cx:pt>
          <cx:pt idx="881">0</cx:pt>
          <cx:pt idx="882">0</cx:pt>
          <cx:pt idx="883">0</cx:pt>
          <cx:pt idx="884">0</cx:pt>
          <cx:pt idx="885">0</cx:pt>
          <cx:pt idx="886">0</cx:pt>
          <cx:pt idx="887">0</cx:pt>
          <cx:pt idx="888">0</cx:pt>
          <cx:pt idx="889">0</cx:pt>
          <cx:pt idx="890">0</cx:pt>
          <cx:pt idx="891">0</cx:pt>
          <cx:pt idx="892">0</cx:pt>
          <cx:pt idx="893">0</cx:pt>
          <cx:pt idx="894">0</cx:pt>
          <cx:pt idx="895">0</cx:pt>
          <cx:pt idx="896">0</cx:pt>
          <cx:pt idx="897">0</cx:pt>
          <cx:pt idx="898">0</cx:pt>
          <cx:pt idx="899">0</cx:pt>
          <cx:pt idx="900">0</cx:pt>
          <cx:pt idx="901">0</cx:pt>
          <cx:pt idx="902">0</cx:pt>
          <cx:pt idx="903">0</cx:pt>
          <cx:pt idx="904">0</cx:pt>
          <cx:pt idx="905">0</cx:pt>
          <cx:pt idx="906">0</cx:pt>
          <cx:pt idx="907">0</cx:pt>
          <cx:pt idx="908">0</cx:pt>
          <cx:pt idx="909">0</cx:pt>
          <cx:pt idx="910">0</cx:pt>
          <cx:pt idx="911">0</cx:pt>
          <cx:pt idx="912">0</cx:pt>
          <cx:pt idx="913">0</cx:pt>
          <cx:pt idx="914">0</cx:pt>
          <cx:pt idx="915">0</cx:pt>
          <cx:pt idx="916">0</cx:pt>
          <cx:pt idx="917">0</cx:pt>
          <cx:pt idx="918">0</cx:pt>
          <cx:pt idx="919">0</cx:pt>
          <cx:pt idx="920">0</cx:pt>
          <cx:pt idx="921">0</cx:pt>
          <cx:pt idx="922">0</cx:pt>
          <cx:pt idx="923">0</cx:pt>
          <cx:pt idx="924">0</cx:pt>
          <cx:pt idx="925">0</cx:pt>
          <cx:pt idx="926">0</cx:pt>
          <cx:pt idx="927">0</cx:pt>
          <cx:pt idx="928">0</cx:pt>
          <cx:pt idx="929">0</cx:pt>
          <cx:pt idx="930">0</cx:pt>
          <cx:pt idx="931">0</cx:pt>
          <cx:pt idx="932">0</cx:pt>
          <cx:pt idx="933">0</cx:pt>
          <cx:pt idx="934">0</cx:pt>
          <cx:pt idx="935">0</cx:pt>
          <cx:pt idx="936">0</cx:pt>
          <cx:pt idx="937">0</cx:pt>
          <cx:pt idx="938">0</cx:pt>
          <cx:pt idx="939">0</cx:pt>
          <cx:pt idx="940">0</cx:pt>
          <cx:pt idx="941">0</cx:pt>
          <cx:pt idx="942">0</cx:pt>
          <cx:pt idx="943">0</cx:pt>
          <cx:pt idx="944">0</cx:pt>
          <cx:pt idx="945">0</cx:pt>
          <cx:pt idx="946">0</cx:pt>
          <cx:pt idx="947">0</cx:pt>
          <cx:pt idx="948">0</cx:pt>
          <cx:pt idx="949">0</cx:pt>
          <cx:pt idx="950">0</cx:pt>
          <cx:pt idx="951">0</cx:pt>
          <cx:pt idx="952">0</cx:pt>
          <cx:pt idx="953">0</cx:pt>
          <cx:pt idx="954">0</cx:pt>
          <cx:pt idx="955">0</cx:pt>
          <cx:pt idx="956">0</cx:pt>
          <cx:pt idx="957">0</cx:pt>
          <cx:pt idx="958">0</cx:pt>
          <cx:pt idx="959">0</cx:pt>
          <cx:pt idx="960">0</cx:pt>
          <cx:pt idx="961">0</cx:pt>
          <cx:pt idx="962">0</cx:pt>
          <cx:pt idx="963">0</cx:pt>
          <cx:pt idx="964">0</cx:pt>
          <cx:pt idx="965">0</cx:pt>
          <cx:pt idx="966">0</cx:pt>
          <cx:pt idx="967">0</cx:pt>
          <cx:pt idx="968">0</cx:pt>
          <cx:pt idx="969">0</cx:pt>
          <cx:pt idx="970">0</cx:pt>
          <cx:pt idx="971">0</cx:pt>
          <cx:pt idx="972">0</cx:pt>
          <cx:pt idx="973">0</cx:pt>
          <cx:pt idx="974">0</cx:pt>
          <cx:pt idx="975">0</cx:pt>
          <cx:pt idx="976">0</cx:pt>
          <cx:pt idx="977">0</cx:pt>
          <cx:pt idx="978">0</cx:pt>
          <cx:pt idx="979">0</cx:pt>
          <cx:pt idx="980">0</cx:pt>
          <cx:pt idx="981">0</cx:pt>
          <cx:pt idx="982">0</cx:pt>
          <cx:pt idx="983">0</cx:pt>
          <cx:pt idx="984">0</cx:pt>
          <cx:pt idx="985">0</cx:pt>
          <cx:pt idx="986">0</cx:pt>
          <cx:pt idx="987">0</cx:pt>
          <cx:pt idx="988">0</cx:pt>
          <cx:pt idx="989">0</cx:pt>
          <cx:pt idx="990">0</cx:pt>
          <cx:pt idx="991">0</cx:pt>
          <cx:pt idx="992">0</cx:pt>
          <cx:pt idx="993">0</cx:pt>
          <cx:pt idx="994">0</cx:pt>
          <cx:pt idx="995">0</cx:pt>
          <cx:pt idx="996">0</cx:pt>
          <cx:pt idx="997">0</cx:pt>
          <cx:pt idx="998">0</cx:pt>
          <cx:pt idx="999">0</cx:pt>
          <cx:pt idx="1000">0</cx:pt>
          <cx:pt idx="1001">0</cx:pt>
          <cx:pt idx="1002">0</cx:pt>
          <cx:pt idx="1003">0</cx:pt>
          <cx:pt idx="1004">0</cx:pt>
          <cx:pt idx="1005">0</cx:pt>
          <cx:pt idx="1006">0</cx:pt>
          <cx:pt idx="1007">0</cx:pt>
          <cx:pt idx="1008">0</cx:pt>
          <cx:pt idx="1009">0</cx:pt>
          <cx:pt idx="1010">0</cx:pt>
          <cx:pt idx="1011">0</cx:pt>
          <cx:pt idx="1012">0</cx:pt>
          <cx:pt idx="1013">0</cx:pt>
          <cx:pt idx="1014">0</cx:pt>
          <cx:pt idx="1015">0</cx:pt>
          <cx:pt idx="1016">0</cx:pt>
          <cx:pt idx="1017">0</cx:pt>
          <cx:pt idx="1018">0</cx:pt>
          <cx:pt idx="1019">0</cx:pt>
          <cx:pt idx="1020">0</cx:pt>
          <cx:pt idx="1021">0</cx:pt>
          <cx:pt idx="1022">0</cx:pt>
          <cx:pt idx="1023">0</cx:pt>
          <cx:pt idx="1024">0</cx:pt>
          <cx:pt idx="1025">0</cx:pt>
          <cx:pt idx="1026">0</cx:pt>
          <cx:pt idx="1027">0</cx:pt>
          <cx:pt idx="1028">0</cx:pt>
          <cx:pt idx="1029">0</cx:pt>
          <cx:pt idx="1030">0</cx:pt>
          <cx:pt idx="1031">0</cx:pt>
          <cx:pt idx="1032">0</cx:pt>
          <cx:pt idx="1033">0</cx:pt>
          <cx:pt idx="1034">0</cx:pt>
          <cx:pt idx="1035">0</cx:pt>
          <cx:pt idx="1036">0</cx:pt>
          <cx:pt idx="1037">0</cx:pt>
          <cx:pt idx="1038">0</cx:pt>
          <cx:pt idx="1039">0</cx:pt>
          <cx:pt idx="1040">0</cx:pt>
          <cx:pt idx="1041">0</cx:pt>
          <cx:pt idx="1042">0</cx:pt>
          <cx:pt idx="1043">0</cx:pt>
          <cx:pt idx="1044">0</cx:pt>
          <cx:pt idx="1045">0</cx:pt>
          <cx:pt idx="1046">0</cx:pt>
          <cx:pt idx="1047">0</cx:pt>
          <cx:pt idx="1048">0</cx:pt>
          <cx:pt idx="1049">0</cx:pt>
          <cx:pt idx="1050">0</cx:pt>
          <cx:pt idx="1051">0</cx:pt>
          <cx:pt idx="1052">0</cx:pt>
          <cx:pt idx="1053">0</cx:pt>
          <cx:pt idx="1054">0</cx:pt>
          <cx:pt idx="1055">0</cx:pt>
          <cx:pt idx="1056">0</cx:pt>
          <cx:pt idx="1057">0</cx:pt>
          <cx:pt idx="1058">0</cx:pt>
          <cx:pt idx="1059">0</cx:pt>
          <cx:pt idx="1060">0</cx:pt>
          <cx:pt idx="1061">0</cx:pt>
          <cx:pt idx="1062">0</cx:pt>
          <cx:pt idx="1063">0</cx:pt>
          <cx:pt idx="1064">0</cx:pt>
          <cx:pt idx="1065">0</cx:pt>
          <cx:pt idx="1066">0</cx:pt>
          <cx:pt idx="1067">0</cx:pt>
          <cx:pt idx="1068">0</cx:pt>
          <cx:pt idx="1069">0</cx:pt>
          <cx:pt idx="1070">0</cx:pt>
          <cx:pt idx="1071">0</cx:pt>
          <cx:pt idx="1072">0</cx:pt>
          <cx:pt idx="1073">0</cx:pt>
          <cx:pt idx="1074">0</cx:pt>
          <cx:pt idx="1075">0</cx:pt>
          <cx:pt idx="1076">0</cx:pt>
          <cx:pt idx="1077">0</cx:pt>
          <cx:pt idx="1078">0</cx:pt>
          <cx:pt idx="1079">0</cx:pt>
          <cx:pt idx="1080">0</cx:pt>
          <cx:pt idx="1081">0</cx:pt>
          <cx:pt idx="1082">0</cx:pt>
          <cx:pt idx="1083">0</cx:pt>
          <cx:pt idx="1084">0</cx:pt>
          <cx:pt idx="1085">0</cx:pt>
          <cx:pt idx="1086">0</cx:pt>
          <cx:pt idx="1087">0</cx:pt>
          <cx:pt idx="1088">0</cx:pt>
          <cx:pt idx="1089">0</cx:pt>
          <cx:pt idx="1090">0</cx:pt>
          <cx:pt idx="1091">0</cx:pt>
          <cx:pt idx="1092">0</cx:pt>
          <cx:pt idx="1093">0</cx:pt>
          <cx:pt idx="1094">0</cx:pt>
          <cx:pt idx="1095">0</cx:pt>
          <cx:pt idx="1096">0</cx:pt>
          <cx:pt idx="1097">0</cx:pt>
          <cx:pt idx="1098">0</cx:pt>
          <cx:pt idx="1099">0</cx:pt>
          <cx:pt idx="1100">0</cx:pt>
          <cx:pt idx="1101">0</cx:pt>
          <cx:pt idx="1102">0</cx:pt>
          <cx:pt idx="1103">0</cx:pt>
          <cx:pt idx="1104">0</cx:pt>
          <cx:pt idx="1105">0</cx:pt>
          <cx:pt idx="1106">0</cx:pt>
          <cx:pt idx="1107">0</cx:pt>
          <cx:pt idx="1108">0</cx:pt>
          <cx:pt idx="1109">0</cx:pt>
          <cx:pt idx="1110">0</cx:pt>
          <cx:pt idx="1111">0</cx:pt>
          <cx:pt idx="1112">0</cx:pt>
          <cx:pt idx="1113">0</cx:pt>
          <cx:pt idx="1114">0</cx:pt>
          <cx:pt idx="1115">0</cx:pt>
          <cx:pt idx="1116">0</cx:pt>
          <cx:pt idx="1117">0</cx:pt>
          <cx:pt idx="1118">0</cx:pt>
          <cx:pt idx="1119">0</cx:pt>
          <cx:pt idx="1120">0</cx:pt>
          <cx:pt idx="1121">0</cx:pt>
          <cx:pt idx="1122">0</cx:pt>
          <cx:pt idx="1123">0</cx:pt>
          <cx:pt idx="1124">0</cx:pt>
          <cx:pt idx="1125">0</cx:pt>
          <cx:pt idx="1126">0</cx:pt>
          <cx:pt idx="1127">0</cx:pt>
          <cx:pt idx="1128">0</cx:pt>
          <cx:pt idx="1129">0</cx:pt>
          <cx:pt idx="1130">0</cx:pt>
          <cx:pt idx="1131">0</cx:pt>
          <cx:pt idx="1132">0</cx:pt>
          <cx:pt idx="1133">0</cx:pt>
          <cx:pt idx="1134">0</cx:pt>
          <cx:pt idx="1135">0</cx:pt>
          <cx:pt idx="1136">0</cx:pt>
          <cx:pt idx="1137">0</cx:pt>
          <cx:pt idx="1138">0</cx:pt>
          <cx:pt idx="1139">0</cx:pt>
          <cx:pt idx="1140">0</cx:pt>
          <cx:pt idx="1141">0</cx:pt>
          <cx:pt idx="1142">0</cx:pt>
          <cx:pt idx="1143">0</cx:pt>
          <cx:pt idx="1144">0</cx:pt>
          <cx:pt idx="1145">0</cx:pt>
          <cx:pt idx="1146">0</cx:pt>
          <cx:pt idx="1147">0</cx:pt>
          <cx:pt idx="1148">0</cx:pt>
          <cx:pt idx="1149">0</cx:pt>
          <cx:pt idx="1150">2</cx:pt>
          <cx:pt idx="1151">2</cx:pt>
          <cx:pt idx="1152">2</cx:pt>
          <cx:pt idx="1153">2</cx:pt>
          <cx:pt idx="1154">2</cx:pt>
          <cx:pt idx="1155">2</cx:pt>
          <cx:pt idx="1156">2</cx:pt>
          <cx:pt idx="1157">2</cx:pt>
          <cx:pt idx="1158">2</cx:pt>
          <cx:pt idx="1159">2</cx:pt>
          <cx:pt idx="1160">2</cx:pt>
          <cx:pt idx="1161">2</cx:pt>
          <cx:pt idx="1162">2</cx:pt>
          <cx:pt idx="1163">2</cx:pt>
          <cx:pt idx="1164">2</cx:pt>
          <cx:pt idx="1165">2</cx:pt>
          <cx:pt idx="1166">2</cx:pt>
          <cx:pt idx="1167">2</cx:pt>
          <cx:pt idx="1168">2</cx:pt>
          <cx:pt idx="1169">2</cx:pt>
          <cx:pt idx="1170">2</cx:pt>
          <cx:pt idx="1171">2</cx:pt>
          <cx:pt idx="1172">2</cx:pt>
          <cx:pt idx="1173">2</cx:pt>
          <cx:pt idx="1174">2</cx:pt>
          <cx:pt idx="1175">2</cx:pt>
          <cx:pt idx="1176">2</cx:pt>
          <cx:pt idx="1177">2</cx:pt>
          <cx:pt idx="1178">2</cx:pt>
          <cx:pt idx="1179">2</cx:pt>
          <cx:pt idx="1180">2</cx:pt>
          <cx:pt idx="1181">2</cx:pt>
          <cx:pt idx="1182">2</cx:pt>
          <cx:pt idx="1183">2</cx:pt>
          <cx:pt idx="1184">2</cx:pt>
          <cx:pt idx="1185">2</cx:pt>
          <cx:pt idx="1186">2</cx:pt>
          <cx:pt idx="1187">2</cx:pt>
          <cx:pt idx="1188">2</cx:pt>
          <cx:pt idx="1189">2</cx:pt>
          <cx:pt idx="1190">2</cx:pt>
          <cx:pt idx="1191">2</cx:pt>
          <cx:pt idx="1192">2</cx:pt>
          <cx:pt idx="1193">2</cx:pt>
          <cx:pt idx="1194">2</cx:pt>
          <cx:pt idx="1195">2</cx:pt>
          <cx:pt idx="1196">2</cx:pt>
          <cx:pt idx="1197">2</cx:pt>
          <cx:pt idx="1198">2</cx:pt>
          <cx:pt idx="1199">2</cx:pt>
          <cx:pt idx="1200">2</cx:pt>
          <cx:pt idx="1201">2</cx:pt>
          <cx:pt idx="1202">2</cx:pt>
          <cx:pt idx="1203">2</cx:pt>
          <cx:pt idx="1204">2</cx:pt>
          <cx:pt idx="1205">2</cx:pt>
          <cx:pt idx="1206">2</cx:pt>
          <cx:pt idx="1207">2</cx:pt>
          <cx:pt idx="1208">2</cx:pt>
          <cx:pt idx="1209">2</cx:pt>
          <cx:pt idx="1210">2</cx:pt>
          <cx:pt idx="1211">2</cx:pt>
          <cx:pt idx="1212">2</cx:pt>
          <cx:pt idx="1213">2</cx:pt>
          <cx:pt idx="1214">2</cx:pt>
          <cx:pt idx="1215">2</cx:pt>
          <cx:pt idx="1216">2</cx:pt>
          <cx:pt idx="1217">2</cx:pt>
          <cx:pt idx="1218">2</cx:pt>
          <cx:pt idx="1219">2</cx:pt>
          <cx:pt idx="1220">2</cx:pt>
          <cx:pt idx="1221">2</cx:pt>
          <cx:pt idx="1222">2</cx:pt>
          <cx:pt idx="1223">2</cx:pt>
          <cx:pt idx="1224">2</cx:pt>
          <cx:pt idx="1225">2</cx:pt>
          <cx:pt idx="1226">2</cx:pt>
          <cx:pt idx="1227">2</cx:pt>
          <cx:pt idx="1228">2</cx:pt>
          <cx:pt idx="1229">2</cx:pt>
          <cx:pt idx="1230">2</cx:pt>
          <cx:pt idx="1231">2</cx:pt>
          <cx:pt idx="1232">2</cx:pt>
          <cx:pt idx="1233">2</cx:pt>
          <cx:pt idx="1234">2</cx:pt>
          <cx:pt idx="1235">2</cx:pt>
          <cx:pt idx="1236">2</cx:pt>
          <cx:pt idx="1237">2</cx:pt>
          <cx:pt idx="1238">2</cx:pt>
          <cx:pt idx="1239">2</cx:pt>
          <cx:pt idx="1240">2</cx:pt>
          <cx:pt idx="1241">2</cx:pt>
          <cx:pt idx="1242">2</cx:pt>
          <cx:pt idx="1243">2</cx:pt>
          <cx:pt idx="1244">2</cx:pt>
          <cx:pt idx="1245">2</cx:pt>
          <cx:pt idx="1246">2</cx:pt>
          <cx:pt idx="1247">2</cx:pt>
          <cx:pt idx="1248">2</cx:pt>
          <cx:pt idx="1249">2</cx:pt>
          <cx:pt idx="1250">2</cx:pt>
          <cx:pt idx="1251">2</cx:pt>
          <cx:pt idx="1252">2</cx:pt>
          <cx:pt idx="1253">2</cx:pt>
          <cx:pt idx="1254">2</cx:pt>
          <cx:pt idx="1255">2</cx:pt>
          <cx:pt idx="1256">2</cx:pt>
          <cx:pt idx="1257">2</cx:pt>
          <cx:pt idx="1258">2</cx:pt>
          <cx:pt idx="1259">2</cx:pt>
          <cx:pt idx="1260">2</cx:pt>
          <cx:pt idx="1261">2</cx:pt>
          <cx:pt idx="1262">2</cx:pt>
          <cx:pt idx="1263">2</cx:pt>
          <cx:pt idx="1264">2</cx:pt>
          <cx:pt idx="1265">2</cx:pt>
          <cx:pt idx="1266">2</cx:pt>
          <cx:pt idx="1267">2</cx:pt>
          <cx:pt idx="1268">2</cx:pt>
          <cx:pt idx="1269">2</cx:pt>
          <cx:pt idx="1270">2</cx:pt>
          <cx:pt idx="1271">2</cx:pt>
          <cx:pt idx="1272">2</cx:pt>
          <cx:pt idx="1273">2</cx:pt>
          <cx:pt idx="1274">2</cx:pt>
          <cx:pt idx="1275">2</cx:pt>
          <cx:pt idx="1276">2</cx:pt>
          <cx:pt idx="1277">2</cx:pt>
          <cx:pt idx="1278">2</cx:pt>
          <cx:pt idx="1279">2</cx:pt>
          <cx:pt idx="1280">2</cx:pt>
          <cx:pt idx="1281">2</cx:pt>
          <cx:pt idx="1282">2</cx:pt>
          <cx:pt idx="1283">2</cx:pt>
          <cx:pt idx="1284">2</cx:pt>
          <cx:pt idx="1285">2</cx:pt>
          <cx:pt idx="1286">2</cx:pt>
          <cx:pt idx="1287">2</cx:pt>
          <cx:pt idx="1288">2</cx:pt>
          <cx:pt idx="1289">2</cx:pt>
          <cx:pt idx="1290">2</cx:pt>
          <cx:pt idx="1291">2</cx:pt>
          <cx:pt idx="1292">2</cx:pt>
          <cx:pt idx="1293">2</cx:pt>
          <cx:pt idx="1294">2</cx:pt>
          <cx:pt idx="1295">2</cx:pt>
          <cx:pt idx="1296">2</cx:pt>
          <cx:pt idx="1297">2</cx:pt>
          <cx:pt idx="1298">2</cx:pt>
          <cx:pt idx="1299">2</cx:pt>
          <cx:pt idx="1300">2</cx:pt>
          <cx:pt idx="1301">2</cx:pt>
          <cx:pt idx="1302">2</cx:pt>
          <cx:pt idx="1303">2</cx:pt>
          <cx:pt idx="1304">2</cx:pt>
          <cx:pt idx="1305">2</cx:pt>
          <cx:pt idx="1306">2</cx:pt>
          <cx:pt idx="1307">2</cx:pt>
          <cx:pt idx="1308">2</cx:pt>
          <cx:pt idx="1309">2</cx:pt>
          <cx:pt idx="1310">2</cx:pt>
          <cx:pt idx="1311">2</cx:pt>
          <cx:pt idx="1312">2</cx:pt>
          <cx:pt idx="1313">2</cx:pt>
          <cx:pt idx="1314">2</cx:pt>
          <cx:pt idx="1315">2</cx:pt>
          <cx:pt idx="1316">2</cx:pt>
          <cx:pt idx="1317">2</cx:pt>
          <cx:pt idx="1318">2</cx:pt>
          <cx:pt idx="1319">2</cx:pt>
          <cx:pt idx="1320">2</cx:pt>
          <cx:pt idx="1321">2</cx:pt>
          <cx:pt idx="1322">2</cx:pt>
          <cx:pt idx="1323">2</cx:pt>
          <cx:pt idx="1324">2</cx:pt>
          <cx:pt idx="1325">2</cx:pt>
          <cx:pt idx="1326">2</cx:pt>
          <cx:pt idx="1327">2</cx:pt>
          <cx:pt idx="1328">2</cx:pt>
          <cx:pt idx="1329">2</cx:pt>
          <cx:pt idx="1330">2</cx:pt>
          <cx:pt idx="1331">2</cx:pt>
          <cx:pt idx="1332">2</cx:pt>
          <cx:pt idx="1333">2</cx:pt>
          <cx:pt idx="1334">2</cx:pt>
          <cx:pt idx="1335">2</cx:pt>
          <cx:pt idx="1336">2</cx:pt>
          <cx:pt idx="1337">2</cx:pt>
          <cx:pt idx="1338">2</cx:pt>
          <cx:pt idx="1339">2</cx:pt>
          <cx:pt idx="1340">2</cx:pt>
          <cx:pt idx="1341">2</cx:pt>
          <cx:pt idx="1342">2</cx:pt>
          <cx:pt idx="1343">2</cx:pt>
          <cx:pt idx="1344">2</cx:pt>
          <cx:pt idx="1345">2</cx:pt>
          <cx:pt idx="1346">2</cx:pt>
          <cx:pt idx="1347">2</cx:pt>
          <cx:pt idx="1348">2</cx:pt>
          <cx:pt idx="1349">2</cx:pt>
          <cx:pt idx="1350">2</cx:pt>
          <cx:pt idx="1351">2</cx:pt>
          <cx:pt idx="1352">2</cx:pt>
          <cx:pt idx="1353">2</cx:pt>
          <cx:pt idx="1354">2</cx:pt>
          <cx:pt idx="1355">2</cx:pt>
          <cx:pt idx="1356">2</cx:pt>
          <cx:pt idx="1357">2</cx:pt>
          <cx:pt idx="1358">2</cx:pt>
          <cx:pt idx="1359">2</cx:pt>
          <cx:pt idx="1360">2</cx:pt>
          <cx:pt idx="1361">2</cx:pt>
          <cx:pt idx="1362">2</cx:pt>
          <cx:pt idx="1363">2</cx:pt>
          <cx:pt idx="1364">2</cx:pt>
          <cx:pt idx="1365">2</cx:pt>
          <cx:pt idx="1366">2</cx:pt>
          <cx:pt idx="1367">2</cx:pt>
          <cx:pt idx="1368">2</cx:pt>
          <cx:pt idx="1369">2</cx:pt>
          <cx:pt idx="1370">2</cx:pt>
          <cx:pt idx="1371">2</cx:pt>
          <cx:pt idx="1372">2</cx:pt>
          <cx:pt idx="1373">2</cx:pt>
          <cx:pt idx="1374">2</cx:pt>
          <cx:pt idx="1375">2</cx:pt>
          <cx:pt idx="1376">2</cx:pt>
          <cx:pt idx="1377">2</cx:pt>
          <cx:pt idx="1378">2</cx:pt>
          <cx:pt idx="1379">2</cx:pt>
          <cx:pt idx="1380">2</cx:pt>
          <cx:pt idx="1381">2</cx:pt>
          <cx:pt idx="1382">2</cx:pt>
          <cx:pt idx="1383">2</cx:pt>
          <cx:pt idx="1384">2</cx:pt>
          <cx:pt idx="1385">2</cx:pt>
          <cx:pt idx="1386">2</cx:pt>
          <cx:pt idx="1387">2</cx:pt>
          <cx:pt idx="1388">2</cx:pt>
          <cx:pt idx="1389">2</cx:pt>
          <cx:pt idx="1390">2</cx:pt>
          <cx:pt idx="1391">2</cx:pt>
          <cx:pt idx="1392">2</cx:pt>
          <cx:pt idx="1393">2</cx:pt>
          <cx:pt idx="1394">2</cx:pt>
          <cx:pt idx="1395">2</cx:pt>
          <cx:pt idx="1396">2</cx:pt>
          <cx:pt idx="1397">2</cx:pt>
          <cx:pt idx="1398">2</cx:pt>
          <cx:pt idx="1399">2</cx:pt>
          <cx:pt idx="1400">2</cx:pt>
          <cx:pt idx="1401">2</cx:pt>
          <cx:pt idx="1402">2</cx:pt>
          <cx:pt idx="1403">2</cx:pt>
          <cx:pt idx="1404">2</cx:pt>
          <cx:pt idx="1405">2</cx:pt>
          <cx:pt idx="1406">2</cx:pt>
          <cx:pt idx="1407">2</cx:pt>
          <cx:pt idx="1408">2</cx:pt>
          <cx:pt idx="1409">2</cx:pt>
          <cx:pt idx="1410">2</cx:pt>
          <cx:pt idx="1411">2</cx:pt>
          <cx:pt idx="1412">2</cx:pt>
          <cx:pt idx="1413">2</cx:pt>
          <cx:pt idx="1414">2</cx:pt>
          <cx:pt idx="1415">2</cx:pt>
          <cx:pt idx="1416">2</cx:pt>
          <cx:pt idx="1417">2</cx:pt>
          <cx:pt idx="1418">2</cx:pt>
          <cx:pt idx="1419">2</cx:pt>
          <cx:pt idx="1420">2</cx:pt>
          <cx:pt idx="1421">2</cx:pt>
          <cx:pt idx="1422">2</cx:pt>
          <cx:pt idx="1423">2</cx:pt>
          <cx:pt idx="1424">2</cx:pt>
          <cx:pt idx="1425">2</cx:pt>
          <cx:pt idx="1426">2</cx:pt>
          <cx:pt idx="1427">2</cx:pt>
          <cx:pt idx="1428">2</cx:pt>
          <cx:pt idx="1429">2</cx:pt>
          <cx:pt idx="1430">2</cx:pt>
          <cx:pt idx="1431">2</cx:pt>
          <cx:pt idx="1432">2</cx:pt>
          <cx:pt idx="1433">2</cx:pt>
          <cx:pt idx="1434">2</cx:pt>
          <cx:pt idx="1435">2</cx:pt>
          <cx:pt idx="1436">2</cx:pt>
          <cx:pt idx="1437">2</cx:pt>
          <cx:pt idx="1438">2</cx:pt>
          <cx:pt idx="1439">2</cx:pt>
          <cx:pt idx="1440">2</cx:pt>
          <cx:pt idx="1441">2</cx:pt>
          <cx:pt idx="1442">2</cx:pt>
          <cx:pt idx="1443">2</cx:pt>
          <cx:pt idx="1444">2</cx:pt>
          <cx:pt idx="1445">2</cx:pt>
          <cx:pt idx="1446">2</cx:pt>
          <cx:pt idx="1447">2</cx:pt>
          <cx:pt idx="1448">2</cx:pt>
          <cx:pt idx="1449">2</cx:pt>
          <cx:pt idx="1450">2</cx:pt>
          <cx:pt idx="1451">2</cx:pt>
          <cx:pt idx="1452">2</cx:pt>
          <cx:pt idx="1453">2</cx:pt>
          <cx:pt idx="1454">2</cx:pt>
          <cx:pt idx="1455">2</cx:pt>
          <cx:pt idx="1456">2</cx:pt>
          <cx:pt idx="1457">2</cx:pt>
          <cx:pt idx="1458">2</cx:pt>
          <cx:pt idx="1459">2</cx:pt>
          <cx:pt idx="1460">2</cx:pt>
          <cx:pt idx="1461">2</cx:pt>
          <cx:pt idx="1462">2</cx:pt>
          <cx:pt idx="1463">2</cx:pt>
          <cx:pt idx="1464">2</cx:pt>
          <cx:pt idx="1465">2</cx:pt>
          <cx:pt idx="1466">2</cx:pt>
          <cx:pt idx="1467">2</cx:pt>
          <cx:pt idx="1468">2</cx:pt>
          <cx:pt idx="1469">2</cx:pt>
          <cx:pt idx="1470">2</cx:pt>
          <cx:pt idx="1471">2</cx:pt>
          <cx:pt idx="1472">2</cx:pt>
          <cx:pt idx="1473">2</cx:pt>
          <cx:pt idx="1474">2</cx:pt>
          <cx:pt idx="1475">2</cx:pt>
          <cx:pt idx="1476">2</cx:pt>
          <cx:pt idx="1477">2</cx:pt>
          <cx:pt idx="1478">2</cx:pt>
          <cx:pt idx="1479">2</cx:pt>
          <cx:pt idx="1480">2</cx:pt>
          <cx:pt idx="1481">2</cx:pt>
          <cx:pt idx="1482">2</cx:pt>
          <cx:pt idx="1483">2</cx:pt>
          <cx:pt idx="1484">2</cx:pt>
          <cx:pt idx="1485">2</cx:pt>
          <cx:pt idx="1486">2</cx:pt>
          <cx:pt idx="1487">2</cx:pt>
          <cx:pt idx="1488">2</cx:pt>
          <cx:pt idx="1489">2</cx:pt>
          <cx:pt idx="1490">2</cx:pt>
          <cx:pt idx="1491">2</cx:pt>
          <cx:pt idx="1492">2</cx:pt>
          <cx:pt idx="1493">2</cx:pt>
          <cx:pt idx="1494">2</cx:pt>
          <cx:pt idx="1495">2</cx:pt>
          <cx:pt idx="1496">2</cx:pt>
          <cx:pt idx="1497">2</cx:pt>
          <cx:pt idx="1498">2</cx:pt>
          <cx:pt idx="1499">2</cx:pt>
          <cx:pt idx="1500">2</cx:pt>
          <cx:pt idx="1501">2</cx:pt>
          <cx:pt idx="1502">2</cx:pt>
          <cx:pt idx="1503">2</cx:pt>
          <cx:pt idx="1504">2</cx:pt>
          <cx:pt idx="1505">2</cx:pt>
          <cx:pt idx="1506">2</cx:pt>
          <cx:pt idx="1507">2</cx:pt>
          <cx:pt idx="1508">2</cx:pt>
          <cx:pt idx="1509">2</cx:pt>
          <cx:pt idx="1510">2</cx:pt>
          <cx:pt idx="1511">2</cx:pt>
          <cx:pt idx="1512">2</cx:pt>
          <cx:pt idx="1513">2</cx:pt>
          <cx:pt idx="1514">2</cx:pt>
          <cx:pt idx="1515">2</cx:pt>
          <cx:pt idx="1516">2</cx:pt>
          <cx:pt idx="1517">2</cx:pt>
          <cx:pt idx="1518">2</cx:pt>
          <cx:pt idx="1519">2</cx:pt>
          <cx:pt idx="1520">2</cx:pt>
          <cx:pt idx="1521">2</cx:pt>
          <cx:pt idx="1522">2</cx:pt>
          <cx:pt idx="1523">2</cx:pt>
          <cx:pt idx="1524">2</cx:pt>
          <cx:pt idx="1525">2</cx:pt>
          <cx:pt idx="1526">2</cx:pt>
          <cx:pt idx="1527">2</cx:pt>
          <cx:pt idx="1528">2</cx:pt>
          <cx:pt idx="1529">2</cx:pt>
          <cx:pt idx="1530">2</cx:pt>
          <cx:pt idx="1531">2</cx:pt>
          <cx:pt idx="1532">2</cx:pt>
          <cx:pt idx="1533">2</cx:pt>
          <cx:pt idx="1534">2</cx:pt>
          <cx:pt idx="1535">2</cx:pt>
          <cx:pt idx="1536">2</cx:pt>
          <cx:pt idx="1537">2</cx:pt>
          <cx:pt idx="1538">2</cx:pt>
          <cx:pt idx="1539">2</cx:pt>
          <cx:pt idx="1540">2</cx:pt>
          <cx:pt idx="1541">2</cx:pt>
          <cx:pt idx="1542">2</cx:pt>
          <cx:pt idx="1543">2</cx:pt>
          <cx:pt idx="1544">2</cx:pt>
          <cx:pt idx="1545">2</cx:pt>
          <cx:pt idx="1546">2</cx:pt>
          <cx:pt idx="1547">2</cx:pt>
          <cx:pt idx="1548">2</cx:pt>
          <cx:pt idx="1549">2</cx:pt>
          <cx:pt idx="1550">2</cx:pt>
          <cx:pt idx="1551">2</cx:pt>
          <cx:pt idx="1552">2</cx:pt>
          <cx:pt idx="1553">2</cx:pt>
          <cx:pt idx="1554">2</cx:pt>
          <cx:pt idx="1555">2</cx:pt>
          <cx:pt idx="1556">2</cx:pt>
          <cx:pt idx="1557">2</cx:pt>
          <cx:pt idx="1558">2</cx:pt>
          <cx:pt idx="1559">2</cx:pt>
          <cx:pt idx="1560">2</cx:pt>
          <cx:pt idx="1561">2</cx:pt>
          <cx:pt idx="1562">2</cx:pt>
          <cx:pt idx="1563">2</cx:pt>
          <cx:pt idx="1564">2</cx:pt>
          <cx:pt idx="1565">2</cx:pt>
          <cx:pt idx="1566">2</cx:pt>
          <cx:pt idx="1567">2</cx:pt>
          <cx:pt idx="1568">2</cx:pt>
          <cx:pt idx="1569">2</cx:pt>
          <cx:pt idx="1570">2</cx:pt>
          <cx:pt idx="1571">2</cx:pt>
          <cx:pt idx="1572">2</cx:pt>
          <cx:pt idx="1573">2</cx:pt>
          <cx:pt idx="1574">2</cx:pt>
          <cx:pt idx="1575">2</cx:pt>
          <cx:pt idx="1576">2</cx:pt>
          <cx:pt idx="1577">2</cx:pt>
          <cx:pt idx="1578">2</cx:pt>
          <cx:pt idx="1579">2</cx:pt>
          <cx:pt idx="1580">2</cx:pt>
          <cx:pt idx="1581">2</cx:pt>
          <cx:pt idx="1582">2</cx:pt>
          <cx:pt idx="1583">2</cx:pt>
          <cx:pt idx="1584">2</cx:pt>
          <cx:pt idx="1585">2</cx:pt>
          <cx:pt idx="1586">2</cx:pt>
          <cx:pt idx="1587">2</cx:pt>
          <cx:pt idx="1588">2</cx:pt>
          <cx:pt idx="1589">2</cx:pt>
          <cx:pt idx="1590">2</cx:pt>
          <cx:pt idx="1591">2</cx:pt>
          <cx:pt idx="1592">2</cx:pt>
          <cx:pt idx="1593">2</cx:pt>
          <cx:pt idx="1594">2</cx:pt>
          <cx:pt idx="1595">2</cx:pt>
          <cx:pt idx="1596">2</cx:pt>
          <cx:pt idx="1597">2</cx:pt>
          <cx:pt idx="1598">2</cx:pt>
          <cx:pt idx="1599">2</cx:pt>
          <cx:pt idx="1600">2</cx:pt>
          <cx:pt idx="1601">2</cx:pt>
          <cx:pt idx="1602">2</cx:pt>
          <cx:pt idx="1603">2</cx:pt>
          <cx:pt idx="1604">2</cx:pt>
          <cx:pt idx="1605">2</cx:pt>
          <cx:pt idx="1606">2</cx:pt>
          <cx:pt idx="1607">2</cx:pt>
          <cx:pt idx="1608">2</cx:pt>
          <cx:pt idx="1609">2</cx:pt>
          <cx:pt idx="1610">2</cx:pt>
          <cx:pt idx="1611">2</cx:pt>
          <cx:pt idx="1612">2</cx:pt>
          <cx:pt idx="1613">2</cx:pt>
          <cx:pt idx="1614">2</cx:pt>
          <cx:pt idx="1615">2</cx:pt>
          <cx:pt idx="1616">2</cx:pt>
          <cx:pt idx="1617">2</cx:pt>
          <cx:pt idx="1618">2</cx:pt>
          <cx:pt idx="1619">2</cx:pt>
          <cx:pt idx="1620">2</cx:pt>
          <cx:pt idx="1621">2</cx:pt>
          <cx:pt idx="1622">2</cx:pt>
          <cx:pt idx="1623">2</cx:pt>
          <cx:pt idx="1624">2</cx:pt>
          <cx:pt idx="1625">2</cx:pt>
          <cx:pt idx="1626">2</cx:pt>
          <cx:pt idx="1627">2</cx:pt>
          <cx:pt idx="1628">2</cx:pt>
          <cx:pt idx="1629">2</cx:pt>
          <cx:pt idx="1630">2</cx:pt>
          <cx:pt idx="1631">2</cx:pt>
          <cx:pt idx="1632">2</cx:pt>
          <cx:pt idx="1633">2</cx:pt>
          <cx:pt idx="1634">2</cx:pt>
          <cx:pt idx="1635">2</cx:pt>
          <cx:pt idx="1636">2</cx:pt>
          <cx:pt idx="1637">2</cx:pt>
          <cx:pt idx="1638">2</cx:pt>
          <cx:pt idx="1639">2</cx:pt>
          <cx:pt idx="1640">2</cx:pt>
          <cx:pt idx="1641">2</cx:pt>
          <cx:pt idx="1642">2</cx:pt>
          <cx:pt idx="1643">2</cx:pt>
          <cx:pt idx="1644">2</cx:pt>
          <cx:pt idx="1645">2</cx:pt>
          <cx:pt idx="1646">2</cx:pt>
          <cx:pt idx="1647">2</cx:pt>
          <cx:pt idx="1648">2</cx:pt>
          <cx:pt idx="1649">2</cx:pt>
          <cx:pt idx="1650">2</cx:pt>
          <cx:pt idx="1651">2</cx:pt>
          <cx:pt idx="1652">2</cx:pt>
          <cx:pt idx="1653">2</cx:pt>
          <cx:pt idx="1654">2</cx:pt>
          <cx:pt idx="1655">2</cx:pt>
          <cx:pt idx="1656">2</cx:pt>
          <cx:pt idx="1657">2</cx:pt>
          <cx:pt idx="1658">2</cx:pt>
          <cx:pt idx="1659">2</cx:pt>
          <cx:pt idx="1660">2</cx:pt>
          <cx:pt idx="1661">2</cx:pt>
          <cx:pt idx="1662">2</cx:pt>
          <cx:pt idx="1663">2</cx:pt>
          <cx:pt idx="1664">2</cx:pt>
          <cx:pt idx="1665">2</cx:pt>
          <cx:pt idx="1666">2</cx:pt>
          <cx:pt idx="1667">2</cx:pt>
          <cx:pt idx="1668">2</cx:pt>
          <cx:pt idx="1669">2</cx:pt>
          <cx:pt idx="1670">2</cx:pt>
          <cx:pt idx="1671">2</cx:pt>
          <cx:pt idx="1672">2</cx:pt>
          <cx:pt idx="1673">1.964695173</cx:pt>
          <cx:pt idx="1674">1.9301971130000002</cx:pt>
          <cx:pt idx="1675">1.859605</cx:pt>
          <cx:pt idx="1676">1.4229270000000001</cx:pt>
          <cx:pt idx="1677">0.35224319999999998</cx:pt>
          <cx:pt idx="1678">0</cx:pt>
          <cx:pt idx="1679">0</cx:pt>
          <cx:pt idx="1680">0</cx:pt>
          <cx:pt idx="1681">0</cx:pt>
          <cx:pt idx="1682">0</cx:pt>
          <cx:pt idx="1683">0</cx:pt>
          <cx:pt idx="1684">0</cx:pt>
          <cx:pt idx="1685">0</cx:pt>
          <cx:pt idx="1686">0</cx:pt>
          <cx:pt idx="1687">0</cx:pt>
          <cx:pt idx="1688">0</cx:pt>
          <cx:pt idx="1689">0</cx:pt>
          <cx:pt idx="1690">0</cx:pt>
          <cx:pt idx="1691">0</cx:pt>
          <cx:pt idx="1692">0</cx:pt>
          <cx:pt idx="1693">0</cx:pt>
          <cx:pt idx="1694">0</cx:pt>
          <cx:pt idx="1695">0</cx:pt>
          <cx:pt idx="1696">0</cx:pt>
          <cx:pt idx="1697">0</cx:pt>
          <cx:pt idx="1698">0</cx:pt>
          <cx:pt idx="1699">0</cx:pt>
          <cx:pt idx="1700">0</cx:pt>
          <cx:pt idx="1701">0</cx:pt>
          <cx:pt idx="1702">0</cx:pt>
          <cx:pt idx="1703">0</cx:pt>
          <cx:pt idx="1704">0</cx:pt>
          <cx:pt idx="1705">0</cx:pt>
          <cx:pt idx="1706">0</cx:pt>
          <cx:pt idx="1707">0</cx:pt>
          <cx:pt idx="1708">0</cx:pt>
          <cx:pt idx="1709">0</cx:pt>
          <cx:pt idx="1710">0</cx:pt>
          <cx:pt idx="1711">0</cx:pt>
          <cx:pt idx="1712">0</cx:pt>
          <cx:pt idx="1713">0</cx:pt>
          <cx:pt idx="1714">0</cx:pt>
          <cx:pt idx="1715">0</cx:pt>
          <cx:pt idx="1716">0.077408323129999998</cx:pt>
          <cx:pt idx="1717">0.11642258379999999</cx:pt>
          <cx:pt idx="1718">0.194141006</cx:pt>
          <cx:pt idx="1719">0.20563402830000002</cx:pt>
          <cx:pt idx="1720">0.23284516750000001</cx:pt>
          <cx:pt idx="1721">0.31025349060000001</cx:pt>
          <cx:pt idx="1722">0.34835683840000004</cx:pt>
          <cx:pt idx="1723">0.38706099999999999</cx:pt>
          <cx:pt idx="1724">1.9852650000000001</cx:pt>
          <cx:pt idx="1725">1.99809828</cx:pt>
          <cx:pt idx="1726">2</cx:pt>
          <cx:pt idx="1727">1.9867672440000002</cx:pt>
          <cx:pt idx="1728">1.9736405099999998</cx:pt>
          <cx:pt idx="1729">1.960407754</cx:pt>
          <cx:pt idx="1730">1.9469695809999998</cx:pt>
          <cx:pt idx="1731">1.933630805</cx:pt>
          <cx:pt idx="1732">1.9205040690000001</cx:pt>
          <cx:pt idx="1733">1.9164686420000001</cx:pt>
          <cx:pt idx="1734">1.9072713129999999</cx:pt>
          <cx:pt idx="1735">1.894137953</cx:pt>
          <cx:pt idx="1736">1.801197224</cx:pt>
          <cx:pt idx="1737">1.7881765089999999</cx:pt>
          <cx:pt idx="1738">1.7748377319999999</cx:pt>
          <cx:pt idx="1739">1.7616049760000001</cx:pt>
          <cx:pt idx="1740">1.7481668049999999</cx:pt>
          <cx:pt idx="1741">1.7351394640000002</cx:pt>
          <cx:pt idx="1742">1.7215952720000001</cx:pt>
          <cx:pt idx="1743">1.708362516</cx:pt>
          <cx:pt idx="1744">1.6951297600000002</cx:pt>
          <cx:pt idx="1745">1.6818970039999999</cx:pt>
          <cx:pt idx="1746">1.6686642459999999</cx:pt>
          <cx:pt idx="1747">1.65543149</cx:pt>
          <cx:pt idx="1748">1.6423047560000001</cx:pt>
          <cx:pt idx="1749">1.6290719999999999</cx:pt>
          <cx:pt idx="1750">0.80283127850000002</cx:pt>
          <cx:pt idx="1751">0.0018503009999999999</cx:pt>
          <cx:pt idx="1752">0.0020377955199999999</cx:pt>
          <cx:pt idx="1753">0.0022224239800000003</cx:pt>
          <cx:pt idx="1754">0.0024085316900000001</cx:pt>
          <cx:pt idx="1755">0.00259316015</cx:pt>
          <cx:pt idx="1756">0.0027777886200000003</cx:pt>
          <cx:pt idx="1757">0.0029624170799999999</cx:pt>
          <cx:pt idx="1758">0.0033331532600000004</cx:pt>
          <cx:pt idx="1759">0.0035177817199999999</cx:pt>
          <cx:pt idx="1760">0.0038855593999999999</cx:pt>
          <cx:pt idx="1761">0.0040716671099999997</cx:pt>
          <cx:pt idx="1762">0.0044394448100000001</cx:pt>
          <cx:pt idx="1763">0.0046269392999999997</cx:pt>
          <cx:pt idx="1764">0.00480870173</cx:pt>
          <cx:pt idx="1765">0.0051823039400000007</cx:pt>
          <cx:pt idx="1766">0.00554869484</cx:pt>
          <cx:pt idx="1767">0.0057390553800000001</cx:pt>
          <cx:pt idx="1768">0.0061083123099999999</cx:pt>
          <cx:pt idx="1769">0.0064732239499999998</cx:pt>
          <cx:pt idx="1770">0.0066608109199999994</cx:pt>
          <cx:pt idx="1771">0.0070285885899999999</cx:pt>
          <cx:pt idx="1772">0.0072160831100000003</cx:pt>
          <cx:pt idx="1773">0.0073978455200000006</cx:pt>
          <cx:pt idx="1774">0.0083224671100000005</cx:pt>
          <cx:pt idx="1775">0.0085113484000000003</cx:pt>
          <cx:pt idx="1776">0.0088806053299999993</cx:pt>
          <cx:pt idx="1777">0.0090652337900000001</cx:pt>
          <cx:pt idx="1778">0.00924986226</cx:pt>
          <cx:pt idx="1779">0.0094331039399999997</cx:pt>
          <cx:pt idx="1780">0.0096205984300000002</cx:pt>
          <cx:pt idx="1781">0.0098052268899999993</cx:pt>
          <cx:pt idx="1782">0.01017161779</cx:pt>
          <cx:pt idx="1783">0.010359112280000001</cx:pt>
          <cx:pt idx="1784">0.01072984846</cx:pt>
          <cx:pt idx="1785">0.010914476939999999</cx:pt>
          <cx:pt idx="1786">0.011096239349999999</cx:pt>
          <cx:pt idx="1787">0.01133994524</cx:pt>
          <cx:pt idx="1788">0.01146974911</cx:pt>
          <cx:pt idx="1789">0.01165151155</cx:pt>
          <cx:pt idx="1790">0.01202224772</cx:pt>
          <cx:pt idx="1791">0.012208262990000001</cx:pt>
          <cx:pt idx="1792">0.01257899916</cx:pt>
          <cx:pt idx="1793">0.012763627630000001</cx:pt>
          <cx:pt idx="1794">0.012945390059999999</cx:pt>
          <cx:pt idx="1795">0.01313288455</cx:pt>
          <cx:pt idx="1796">0.013318992270000002</cx:pt>
          <cx:pt idx="1797">0.01350066223</cx:pt>
          <cx:pt idx="1798">0.013869919180000001</cx:pt>
          <cx:pt idx="1799">0.01405889292</cx:pt>
          <cx:pt idx="1800">0.01411371749</cx:pt>
          <cx:pt idx="1801">0.01424352139</cx:pt>
          <cx:pt idx="1802">0.014425283820000001</cx:pt>
          <cx:pt idx="1803">0.014612778310000001</cx:pt>
          <cx:pt idx="1804">0.014794540739999999</cx:pt>
          <cx:pt idx="1805">0.01498203524</cx:pt>
          <cx:pt idx="1806">0.01516527692</cx:pt>
          <cx:pt idx="1807">0.015352771409999999</cx:pt>
          <cx:pt idx="1808">0.015534533850000001</cx:pt>
          <cx:pt idx="1809">0.015905177579999999</cx:pt>
          <cx:pt idx="1810">0.016089806040000001</cx:pt>
          <cx:pt idx="1811">0.01627730053</cx:pt>
          <cx:pt idx="1812">0.01645906296</cx:pt>
          <cx:pt idx="1813">0.016646557480000001</cx:pt>
          <cx:pt idx="1814">0.016829799140000001</cx:pt>
          <cx:pt idx="1815">0.016888876550000001</cx:pt>
          <cx:pt idx="1816">0.017203308900000002</cx:pt>
          <cx:pt idx="1817">0.01738655058</cx:pt>
          <cx:pt idx="1818">0.017571086600000001</cx:pt>
          <cx:pt idx="1819">0.01775432826</cx:pt>
          <cx:pt idx="1820">0.01793895672</cx:pt>
          <cx:pt idx="1821">0.018126451240000001</cx:pt>
          <cx:pt idx="1822">0.018308121199999999</cx:pt>
          <cx:pt idx="1823">0.018495615720000001</cx:pt>
          <cx:pt idx="1824">0.01867885738</cx:pt>
          <cx:pt idx="1825">0.018867738670000002</cx:pt>
          <cx:pt idx="1826">0.019232650319999999</cx:pt>
          <cx:pt idx="1827">0.01941875803</cx:pt>
          <cx:pt idx="1828">0.019606252550000001</cx:pt>
          <cx:pt idx="1829">0.0196668092</cx:pt>
          <cx:pt idx="1830">0.019788014959999999</cx:pt>
          <cx:pt idx="1831">0.01997255098</cx:pt>
          <cx:pt idx="1832">0.02016013794</cx:pt>
          <cx:pt idx="1833">0.020341807900000002</cx:pt>
          <cx:pt idx="1834">0.020527915609999999</cx:pt>
          <cx:pt idx="1835">0.02071541013</cx:pt>
          <cx:pt idx="1836">0.020897080090000002</cx:pt>
          <cx:pt idx="1837">0.021081708560000002</cx:pt>
          <cx:pt idx="1838">0.021452444729999999</cx:pt>
          <cx:pt idx="1839">0.021638459999999998</cx:pt>
          <cx:pt idx="1840">0.02203928749</cx:pt>
          <cx:pt idx="1841">0.071265811679999999</cx:pt>
          <cx:pt idx="1842">0.1212939909</cx:pt>
          <cx:pt idx="1843">0.1717229975</cx:pt>
          <cx:pt idx="1844">0.27255596100000001</cx:pt>
          <cx:pt idx="1845">0.32178248519999997</cx:pt>
          <cx:pt idx="1846">0.52229602939999997</cx:pt>
          <cx:pt idx="1847">0.57229915870000003</cx:pt>
          <cx:pt idx="1848">0.62232733779999994</cx:pt>
          <cx:pt idx="1849">0.72278452370000001</cx:pt>
          <cx:pt idx="1850">0.77396507959999994</cx:pt>
          <cx:pt idx="1851">0.82361748719999994</cx:pt>
          <cx:pt idx="1852">0.92364879560000002</cx:pt>
          <cx:pt idx="1853">0.97330119719999997</cx:pt>
          <cx:pt idx="1854">1.023304327</cx:pt>
          <cx:pt idx="1855">1.1241372839999999</cx:pt>
          <cx:pt idx="1856">1.1737896919999999</cx:pt>
          <cx:pt idx="1857">1.2238178710000001</cx:pt>
          <cx:pt idx="1858">1.2738209999999999</cx:pt>
          <cx:pt idx="1859">1.2842508930000001</cx:pt>
          <cx:pt idx="1860">1.2943518000000001</cx:pt>
          <cx:pt idx="1861">1.3047765530000002</cx:pt>
          <cx:pt idx="1862">1.3252251070000001</cx:pt>
          <cx:pt idx="1863">1.3356549999999998</cx:pt>
          <cx:pt idx="1864">1.335105628</cx:pt>
          <cx:pt idx="1865">1.3345518190000001</cx:pt>
          <cx:pt idx="1866">1.3334356039999999</cx:pt>
          <cx:pt idx="1867">1.332890669</cx:pt>
          <cx:pt idx="1868">1.332328264</cx:pt>
          <cx:pt idx="1869">1.331224805</cx:pt>
          <cx:pt idx="1870">1.330671274</cx:pt>
          <cx:pt idx="1871">1.33010859</cx:pt>
          <cx:pt idx="1872">1.3295636559999999</cx:pt>
          <cx:pt idx="1873">1.3284516</cx:pt>
          <cx:pt idx="1874">1.327885035</cx:pt>
          <cx:pt idx="1875">1.3273356630000002</cx:pt>
          <cx:pt idx="1876">1.3267904509999999</cx:pt>
          <cx:pt idx="1877">1.3245580210000001</cx:pt>
          <cx:pt idx="1878">1.3240086489999998</cx:pt>
          <cx:pt idx="1879">1.3234589999999999</cx:pt>
          <cx:pt idx="1880">1.3228965940000001</cx:pt>
          <cx:pt idx="1881">1.322351659</cx:pt>
          <cx:pt idx="1882">1.3212440409999999</cx:pt>
          <cx:pt idx="1883">1.3206857949999999</cx:pt>
          <cx:pt idx="1884">1.3201233889999999</cx:pt>
          <cx:pt idx="1885">1.319578454</cx:pt>
          <cx:pt idx="1886">1.318462239</cx:pt>
          <cx:pt idx="1887">1.3179125899999999</cx:pt>
          <cx:pt idx="1888">1.3173501839999999</cx:pt>
          <cx:pt idx="1889">1.3162514400000001</cx:pt>
          <cx:pt idx="1890">1.3156931940000001</cx:pt>
          <cx:pt idx="1891">1.3151307879999998</cx:pt>
          <cx:pt idx="1892">1.31402317</cx:pt>
          <cx:pt idx="1893">1.313478235</cx:pt>
          <cx:pt idx="1894">1.3129158300000001</cx:pt>
          <cx:pt idx="1895">1.3118126489999999</cx:pt>
          <cx:pt idx="1896">1.3112458060000001</cx:pt>
          <cx:pt idx="1897">1.3106964339999998</cx:pt>
          <cx:pt idx="1898">1.3095888160000002</cx:pt>
          <cx:pt idx="1899">1.3090394439999999</cx:pt>
          <cx:pt idx="1900">1.30847676</cx:pt>
          <cx:pt idx="1901">1.3079318259999999</cx:pt>
          <cx:pt idx="1902">1.30571243</cx:pt>
          <cx:pt idx="1903">1.3051586209999999</cx:pt>
          <cx:pt idx="1904">1.3045962149999999</cx:pt>
          <cx:pt idx="1905">1.3034930339999999</cx:pt>
          <cx:pt idx="1906">1.3029306279999999</cx:pt>
          <cx:pt idx="1907">1.3023854159999999</cx:pt>
          <cx:pt idx="1908">1.3018271699999999</cx:pt>
          <cx:pt idx="1909">1.301269201</cx:pt>
          <cx:pt idx="1910">1.3007198289999999</cx:pt>
          <cx:pt idx="1911">1.3001574229999999</cx:pt>
          <cx:pt idx="1912">1.2990498049999999</cx:pt>
          <cx:pt idx="1913">1.2985004330000001</cx:pt>
          <cx:pt idx="1914">1.29793775</cx:pt>
          <cx:pt idx="1915">1.297392815</cx:pt>
          <cx:pt idx="1916">1.2968390059999999</cx:pt>
          <cx:pt idx="1917">1.2962807599999999</cx:pt>
          <cx:pt idx="1918">1.2957272289999999</cx:pt>
          <cx:pt idx="1919">1.2951734189999999</cx:pt>
          <cx:pt idx="1920">1.2940572050000001</cx:pt>
          <cx:pt idx="1921">1.293511992</cx:pt>
          <cx:pt idx="1922">1.2929451489999999</cx:pt>
          <cx:pt idx="1923">1.29222273</cx:pt>
          <cx:pt idx="1924">1.2918378089999998</cx:pt>
          <cx:pt idx="1925">1.291292597</cx:pt>
          <cx:pt idx="1926">1.2907301910000002</cx:pt>
          <cx:pt idx="1927">1.2885149549999999</cx:pt>
          <cx:pt idx="1928">1.284067566</cx:pt>
          <cx:pt idx="1929">1.283518194</cx:pt>
          <cx:pt idx="1930">1.282972982</cx:pt>
          <cx:pt idx="1931">1.2818612039999999</cx:pt>
          <cx:pt idx="1932">1.2812987979999999</cx:pt>
          <cx:pt idx="1933">1.2807535859999999</cx:pt>
          <cx:pt idx="1934">1.280199777</cx:pt>
          <cx:pt idx="1935">1.2790879990000001</cx:pt>
          <cx:pt idx="1936">1.27853419</cx:pt>
          <cx:pt idx="1937">1.2779676250000001</cx:pt>
          <cx:pt idx="1938">1.2768686039999999</cx:pt>
          <cx:pt idx="1939">1.2763061980000001</cx:pt>
          <cx:pt idx="1940">1.2757609859999999</cx:pt>
          <cx:pt idx="1941">1.2746406109999999</cx:pt>
          <cx:pt idx="1942">1.2740953989999999</cx:pt>
          <cx:pt idx="1943">1.2735329930000001</cx:pt>
          <cx:pt idx="1944">1.2724256519999999</cx:pt>
          <cx:pt idx="1945">1.2718804400000001</cx:pt>
          <cx:pt idx="1946">1.2713180339999999</cx:pt>
          <cx:pt idx="1947">1.2702148529999999</cx:pt>
          <cx:pt idx="1948">1.2696524469999999</cx:pt>
          <cx:pt idx="1949">1.2691072350000001</cx:pt>
          <cx:pt idx="1950">1.2679868599999999</cx:pt>
          <cx:pt idx="1951">1.2674416479999999</cx:pt>
          <cx:pt idx="1952">1.266887839</cx:pt>
          <cx:pt idx="1953">1.265776061</cx:pt>
          <cx:pt idx="1954">1.265213656</cx:pt>
          <cx:pt idx="1955">1.264106038</cx:pt>
          <cx:pt idx="1956">1.263561103</cx:pt>
          <cx:pt idx="1957">1.2624490479999999</cx:pt>
          <cx:pt idx="1958">1.261895239</cx:pt>
          <cx:pt idx="1959">1.261328673</cx:pt>
          <cx:pt idx="1960">1.260225492</cx:pt>
          <cx:pt idx="1961">1.2591092770000001</cx:pt>
          <cx:pt idx="1962">1.2585685019999999</cx:pt>
          <cx:pt idx="1963">1.2580060959999999</cx:pt>
          <cx:pt idx="1964">1.256902915</cx:pt>
          <cx:pt idx="1965">1.2563405090000002</cx:pt>
          <cx:pt idx="1966">1.2557952969999999</cx:pt>
          <cx:pt idx="1967">1.2546835190000001</cx:pt>
          <cx:pt idx="1968">1.25412971</cx:pt>
          <cx:pt idx="1969">1.253575901</cx:pt>
          <cx:pt idx="1970">1.252468283</cx:pt>
          <cx:pt idx="1971">1.251905877</cx:pt>
          <cx:pt idx="1972">1.251356506</cx:pt>
          <cx:pt idx="1973">1.2502402910000001</cx:pt>
          <cx:pt idx="1974">1.2496909189999998</cx:pt>
          <cx:pt idx="1975">1.2491371100000002</cx:pt>
          <cx:pt idx="1976">1.2480294919999999</cx:pt>
          <cx:pt idx="1977">1.2474759600000001</cx:pt>
          <cx:pt idx="1978">1.2469177139999998</cx:pt>
          <cx:pt idx="1979">1.2463553080000001</cx:pt>
          <cx:pt idx="1980">1.244140349</cx:pt>
          <cx:pt idx="1981">1.243582103</cx:pt>
          <cx:pt idx="1982">1.242470325</cx:pt>
          <cx:pt idx="1983">1.2422928400000002</cx:pt>
          <cx:pt idx="1984">1.24192955</cx:pt>
          <cx:pt idx="1985">1.2413715809999999</cx:pt>
          <cx:pt idx="1986">1.2402639630000001</cx:pt>
          <cx:pt idx="1987">1.239710154</cx:pt>
          <cx:pt idx="1988">1.239147749</cx:pt>
          <cx:pt idx="1989">1.238598377</cx:pt>
          <cx:pt idx="1990">1.2374907589999999</cx:pt>
          <cx:pt idx="1991">1.2369283529999999</cx:pt>
          <cx:pt idx="1992">1.2363831410000001</cx:pt>
          <cx:pt idx="1993">1.2352713629999998</cx:pt>
          <cx:pt idx="1994">1.2347089570000001</cx:pt>
          <cx:pt idx="1995">1.234163745</cx:pt>
          <cx:pt idx="1996">1.233051967</cx:pt>
          <cx:pt idx="1997">1.2324981579999998</cx:pt>
          <cx:pt idx="1998">1.2319357520000001</cx:pt>
          <cx:pt idx="1999">1.2308284110000001</cx:pt>
          <cx:pt idx="2000">1.230278762</cx:pt>
          <cx:pt idx="2001">1.2297252299999999</cx:pt>
          <cx:pt idx="2002">1.2286176120000001</cx:pt>
          <cx:pt idx="2003">1.228050769</cx:pt>
          <cx:pt idx="2004">1.2275058350000001</cx:pt>
          <cx:pt idx="2005">1.2269434289999999</cx:pt>
          <cx:pt idx="2006">1.2258444070000001</cx:pt>
          <cx:pt idx="2007">1.225290598</cx:pt>
          <cx:pt idx="2008">1.224178821</cx:pt>
          <cx:pt idx="2009">1.2197444659999999</cx:pt>
          <cx:pt idx="2010">1.2191820600000001</cx:pt>
          <cx:pt idx="2011">1.218632411</cx:pt>
          <cx:pt idx="2012">1.21752507</cx:pt>
          <cx:pt idx="2013">1.216962664</cx:pt>
          <cx:pt idx="2014">1.2164130149999999</cx:pt>
          <cx:pt idx="2015">1.215859483</cx:pt>
          <cx:pt idx="2016">1.2153056739999999</cx:pt>
          <cx:pt idx="2017">1.214751865</cx:pt>
          <cx:pt idx="2018">1.214193619</cx:pt>
          <cx:pt idx="2019">1.2136356499999998</cx:pt>
          <cx:pt idx="2020">1.2130862790000001</cx:pt>
          <cx:pt idx="2021">1.2125238729999999</cx:pt>
          <cx:pt idx="2022">1.2119786610000001</cx:pt>
          <cx:pt idx="2023">1.210866883</cx:pt>
          <cx:pt idx="2024">1.2103130740000001</cx:pt>
          <cx:pt idx="2025">1.209759265</cx:pt>
          <cx:pt idx="2026">1.2086430500000001</cx:pt>
          <cx:pt idx="2027">1.208093678</cx:pt>
          <cx:pt idx="2028">1.2075398690000001</cx:pt>
          <cx:pt idx="2029">1.2064325279999999</cx:pt>
          <cx:pt idx="2030">1.205878719</cx:pt>
          <cx:pt idx="2031">1.205316313</cx:pt>
          <cx:pt idx="2032">1.2047666640000001</cx:pt>
          <cx:pt idx="2033">1.204213132</cx:pt>
          <cx:pt idx="2034">1.203650726</cx:pt>
          <cx:pt idx="2035">1.2031010770000001</cx:pt>
          <cx:pt idx="2036">1.2008861179999999</cx:pt>
          <cx:pt idx="2037">1.200332309</cx:pt>
          <cx:pt idx="2038">1.1981043169999999</cx:pt>
          <cx:pt idx="2039">1.197554945</cx:pt>
          <cx:pt idx="2040">1.196992539</cx:pt>
          <cx:pt idx="2041">1.195884921</cx:pt>
          <cx:pt idx="2042">1.195339986</cx:pt>
          <cx:pt idx="2043">1.19478174</cx:pt>
          <cx:pt idx="2044">1.192566781</cx:pt>
          <cx:pt idx="2045">1.191455003</cx:pt>
          <cx:pt idx="2046">1.1908925969999999</cx:pt>
          <cx:pt idx="2047">1.1903473849999999</cx:pt>
          <cx:pt idx="2048">1.1892397669999999</cx:pt>
          <cx:pt idx="2049">1.188681799</cx:pt>
          <cx:pt idx="2050">1.188119393</cx:pt>
          <cx:pt idx="2051">1.187011775</cx:pt>
          <cx:pt idx="2052">1.1864624029999999</cx:pt>
          <cx:pt idx="2053">1.185908594</cx:pt>
          <cx:pt idx="2054">1.1853547849999999</cx:pt>
          <cx:pt idx="2055">1.1847923790000001</cx:pt>
          <cx:pt idx="2056">1.1842474439999999</cx:pt>
          <cx:pt idx="2057">1.1836850379999999</cx:pt>
          <cx:pt idx="2058">1.182572983</cx:pt>
          <cx:pt idx="2059">1.1820280480000001</cx:pt>
          <cx:pt idx="2060">1.181465642</cx:pt>
          <cx:pt idx="2061">1.1809159929999999</cx:pt>
          <cx:pt idx="2062">1.1803624610000001</cx:pt>
          <cx:pt idx="2063">1.175919232</cx:pt>
          <cx:pt idx="2064">1.175361264</cx:pt>
          <cx:pt idx="2065">1.1748160519999999</cx:pt>
          <cx:pt idx="2066">1.1742536459999999</cx:pt>
          <cx:pt idx="2067">1.173708711</cx:pt>
          <cx:pt idx="2068">1.1731463050000002</cx:pt>
          <cx:pt idx="2069">1.172592496</cx:pt>
          <cx:pt idx="2070">1.1720428469999999</cx:pt>
          <cx:pt idx="2071">1.1714893150000001</cx:pt>
          <cx:pt idx="2072">1.170935506</cx:pt>
          <cx:pt idx="2073">1.1703730999999999</cx:pt>
          <cx:pt idx="2074">1.169269919</cx:pt>
          <cx:pt idx="2075">1.1687161100000001</cx:pt>
          <cx:pt idx="2076">1.168162301</cx:pt>
          <cx:pt idx="2077">1.1670505230000001</cx:pt>
          <cx:pt idx="2078">1.166496714</cx:pt>
          <cx:pt idx="2079">1.165934308</cx:pt>
          <cx:pt idx="2080">1.165389096</cx:pt>
          <cx:pt idx="2081">1.1648266899999999</cx:pt>
          <cx:pt idx="2082">1.164277319</cx:pt>
          <cx:pt idx="2083">1.1637235099999998</cx:pt>
          <cx:pt idx="2084">1.1626161690000001</cx:pt>
          <cx:pt idx="2085">1.1620579229999999</cx:pt>
          <cx:pt idx="2086">1.1614999539999999</cx:pt>
          <cx:pt idx="2087">1.159289155</cx:pt>
          <cx:pt idx="2088">1.1591116700000001</cx:pt>
          <cx:pt idx="2089">1.158731186</cx:pt>
          <cx:pt idx="2090">1.1576149710000001</cx:pt>
          <cx:pt idx="2091">1.1570697590000001</cx:pt>
          <cx:pt idx="2092">1.1565073529999998</cx:pt>
          <cx:pt idx="2093">1.155957981</cx:pt>
          <cx:pt idx="2094">1.154850363</cx:pt>
          <cx:pt idx="2095">1.154287957</cx:pt>
          <cx:pt idx="2096">1.1537430229999999</cx:pt>
          <cx:pt idx="2097">1.1515150300000001</cx:pt>
          <cx:pt idx="2098">1.150965381</cx:pt>
          <cx:pt idx="2099">1.1504115720000001</cx:pt>
          <cx:pt idx="2100">1.14985804</cx:pt>
          <cx:pt idx="2101">1.149295634</cx:pt>
          <cx:pt idx="2102">1.148750422</cx:pt>
          <cx:pt idx="2103">1.147630047</cx:pt>
          <cx:pt idx="2104">1.147084835</cx:pt>
          <cx:pt idx="2105">1.146522429</cx:pt>
          <cx:pt idx="2106">1.145977217</cx:pt>
          <cx:pt idx="2107">1.1448654389999999</cx:pt>
          <cx:pt idx="2108">1.1443030330000001</cx:pt>
          <cx:pt idx="2109">1.1437578209999999</cx:pt>
          <cx:pt idx="2110">1.1431954150000001</cx:pt>
          <cx:pt idx="2111">1.1426460430000001</cx:pt>
          <cx:pt idx="2112">1.142083637</cx:pt>
          <cx:pt idx="2113">1.141538425</cx:pt>
          <cx:pt idx="2114">1.1404310850000001</cx:pt>
          <cx:pt idx="2115">1.1398728389999999</cx:pt>
          <cx:pt idx="2116">1.1393104329999999</cx:pt>
          <cx:pt idx="2117">1.1382030919999999</cx:pt>
          <cx:pt idx="2118">1.1376578799999999</cx:pt>
          <cx:pt idx="2119">1.135983696</cx:pt>
          <cx:pt idx="2120">1.134876078</cx:pt>
          <cx:pt idx="2121">1.1343222690000001</cx:pt>
          <cx:pt idx="2122">1.1341492209999999</cx:pt>
          <cx:pt idx="2123">1.1337728970000001</cx:pt>
          <cx:pt idx="2124">1.131553501</cx:pt>
          <cx:pt idx="2125">1.1309910949999999</cx:pt>
          <cx:pt idx="2126">1.1298923519999999</cx:pt>
          <cx:pt idx="2127">1.1293299459999999</cx:pt>
          <cx:pt idx="2128">1.1287716990000001</cx:pt>
          <cx:pt idx="2129">1.1276643589999999</cx:pt>
          <cx:pt idx="2130">1.1271191469999999</cx:pt>
          <cx:pt idx="2131">1.1265567409999999</cx:pt>
          <cx:pt idx="2132">1.125998772</cx:pt>
          <cx:pt idx="2133">1.1258168499999999</cx:pt>
          <cx:pt idx="2134">1.12545356</cx:pt>
          <cx:pt idx="2135">1.1248997510000001</cx:pt>
          <cx:pt idx="2136">1.124337345</cx:pt>
          <cx:pt idx="2137">1.123792133</cx:pt>
          <cx:pt idx="2138">1.123229727</cx:pt>
          <cx:pt idx="2139">1.122680355</cx:pt>
          <cx:pt idx="2140">1.1221179489999999</cx:pt>
          <cx:pt idx="2141">1.121573014</cx:pt>
          <cx:pt idx="2142">1.1204609589999999</cx:pt>
          <cx:pt idx="2143">1.1198985530000001</cx:pt>
          <cx:pt idx="2144">1.119353619</cx:pt>
          <cx:pt idx="2145">1.118237404</cx:pt>
          <cx:pt idx="2146">1.117688032</cx:pt>
          <cx:pt idx="2147">1.117125626</cx:pt>
          <cx:pt idx="2148">1.1154727959999999</cx:pt>
          <cx:pt idx="2149">1.1149103899999999</cx:pt>
          <cx:pt idx="2150">1.1143610180000001</cx:pt>
          <cx:pt idx="2151">1.1132534000000001</cx:pt>
          <cx:pt idx="2152">1.112690994</cx:pt>
          <cx:pt idx="2153">1.112141622</cx:pt>
          <cx:pt idx="2154">1.111575056</cx:pt>
          <cx:pt idx="2155">1.1104804719999999</cx:pt>
          <cx:pt idx="2156">1.1099180660000001</cx:pt>
          <cx:pt idx="2157">1.109368694</cx:pt>
          <cx:pt idx="2158">1.1088148850000001</cx:pt>
          <cx:pt idx="2159">1.10769867</cx:pt>
          <cx:pt idx="2160">1.1071448610000001</cx:pt>
          <cx:pt idx="2161">1.1065954899999999</cx:pt>
          <cx:pt idx="2162">1.105479275</cx:pt>
          <cx:pt idx="2163">1.104934063</cx:pt>
          <cx:pt idx="2164">1.104371657</cx:pt>
          <cx:pt idx="2165">1.103268476</cx:pt>
          <cx:pt idx="2166">1.1027149439999999</cx:pt>
          <cx:pt idx="2167">1.1021525379999999</cx:pt>
          <cx:pt idx="2168">1.101602889</cx:pt>
          <cx:pt idx="2169">1.1004869509999999</cx:pt>
          <cx:pt idx="2170">1.0999417390000001</cx:pt>
          <cx:pt idx="2171">1.0993793329999999</cx:pt>
          <cx:pt idx="2172">1.0982761519999999</cx:pt>
          <cx:pt idx="2173">1.097722343</cx:pt>
          <cx:pt idx="2174">1.096614725</cx:pt>
          <cx:pt idx="2175">1.096052319</cx:pt>
          <cx:pt idx="2176">1.093833201</cx:pt>
          <cx:pt idx="2177">1.092176211</cx:pt>
          <cx:pt idx="2178">1.0916093680000001</cx:pt>
          <cx:pt idx="2179">1.091059996</cx:pt>
          <cx:pt idx="2180">1.088286791</cx:pt>
          <cx:pt idx="2181">1.087737419</cx:pt>
          <cx:pt idx="2182">1.0871836100000001</cx:pt>
          <cx:pt idx="2183">1.0866212040000001</cx:pt>
          <cx:pt idx="2184">1.085522461</cx:pt>
          <cx:pt idx="2185">1.084960055</cx:pt>
          <cx:pt idx="2186">1.084410683</cx:pt>
          <cx:pt idx="2187">1.083303065</cx:pt>
          <cx:pt idx="2188">1.0827406589999999</cx:pt>
          <cx:pt idx="2189">1.0821912869999999</cx:pt>
          <cx:pt idx="2190">1.0810836689999999</cx:pt>
          <cx:pt idx="2191">1.0805212630000001</cx:pt>
          <cx:pt idx="2192">1.079976051</cx:pt>
          <cx:pt idx="2193">1.078864273</cx:pt>
          <cx:pt idx="2194">1.0782977069999999</cx:pt>
          <cx:pt idx="2195">1.0777480580000001</cx:pt>
          <cx:pt idx="2196">1.0766448769999999</cx:pt>
          <cx:pt idx="2197">1.0760824710000001</cx:pt>
          <cx:pt idx="2198">1.0755289399999999</cx:pt>
          <cx:pt idx="2199">1.0744213220000001</cx:pt>
          <cx:pt idx="2200">1.07387195</cx:pt>
          <cx:pt idx="2201">1.073309544</cx:pt>
          <cx:pt idx="2202">1.0722105229999999</cx:pt>
          <cx:pt idx="2203">1.0716481170000001</cx:pt>
          <cx:pt idx="2204">1.071098745</cx:pt>
          <cx:pt idx="2205">1.0705449360000001</cx:pt>
          <cx:pt idx="2206">1.0699825300000001</cx:pt>
          <cx:pt idx="2207">1.0688751890000001</cx:pt>
          <cx:pt idx="2208">1.06832554</cx:pt>
          <cx:pt idx="2209">1.0677720079999999</cx:pt>
          <cx:pt idx="2210">1.0655526120000001</cx:pt>
          <cx:pt idx="2211">1.0649902060000001</cx:pt>
          <cx:pt idx="2212">1.0638911849999999</cx:pt>
          <cx:pt idx="2213">1.0633287789999999</cx:pt>
          <cx:pt idx="2214">1.062225599</cx:pt>
          <cx:pt idx="2215">1.0611093839999999</cx:pt>
          <cx:pt idx="2216">1.060555852</cx:pt>
          <cx:pt idx="2217">1.0600062029999999</cx:pt>
          <cx:pt idx="2218">1.0594437969999999</cx:pt>
          <cx:pt idx="2219">1.0588902650000001</cx:pt>
          <cx:pt idx="2220">1.058345053</cx:pt>
          <cx:pt idx="2221">1.057782647</cx:pt>
          <cx:pt idx="2222">1.057233275</cx:pt>
          <cx:pt idx="2223">1.0566794659999998</cx:pt>
          <cx:pt idx="2224">1.0561170600000001</cx:pt>
          <cx:pt idx="2225">1.055571848</cx:pt>
          <cx:pt idx="2226">1.0544556330000001</cx:pt>
          <cx:pt idx="2227">1.0539062610000001</cx:pt>
          <cx:pt idx="2228">1.0533438550000001</cx:pt>
          <cx:pt idx="2229">1.0527989209999999</cx:pt>
          <cx:pt idx="2230">1.0455783270000001</cx:pt>
          <cx:pt idx="2231">1.045024518</cx:pt>
          <cx:pt idx="2232">1.0444707090000001</cx:pt>
          <cx:pt idx="2233">1.043921337</cx:pt>
          <cx:pt idx="2234">1.0433675280000001</cx:pt>
          <cx:pt idx="2235">1.0428051220000001</cx:pt>
          <cx:pt idx="2236">1.041693344</cx:pt>
          <cx:pt idx="2237">1.0411484099999999</cx:pt>
          <cx:pt idx="2238">1.0405860040000001</cx:pt>
          <cx:pt idx="2239">1.0394783859999999</cx:pt>
          <cx:pt idx="2240">1.038924577</cx:pt>
          <cx:pt idx="2241">1.0383752049999999</cx:pt>
          <cx:pt idx="2242">1.0372675870000001</cx:pt>
          <cx:pt idx="2243">1.0367051809999999</cx:pt>
          <cx:pt idx="2244">1.036151372</cx:pt>
          <cx:pt idx="2245">1.0356019999999999</cx:pt>
          <cx:pt idx="2246">1.044319768</cx:pt>
          <cx:pt idx="2247">1.0527667169999999</cx:pt>
          <cx:pt idx="2248">1.061351224</cx:pt>
          <cx:pt idx="2249">1.070137771</cx:pt>
          <cx:pt idx="2250">1.0785847200000001</cx:pt>
          <cx:pt idx="2251">1.0873024870000001</cx:pt>
          <cx:pt idx="2252">1.095753735</cx:pt>
          <cx:pt idx="2253">1.1044715030000001</cx:pt>
          <cx:pt idx="2254">1.1129227500000001</cx:pt>
          <cx:pt idx="2255">1.164623237</cx:pt>
          <cx:pt idx="2256">1.173143265</cx:pt>
          <cx:pt idx="2257">1.2076102559999999</cx:pt>
          <cx:pt idx="2258">1.224843752</cx:pt>
          <cx:pt idx="2259">1.233295</cx:pt>
          <cx:pt idx="2260">2</cx:pt>
          <cx:pt idx="2261">2</cx:pt>
          <cx:pt idx="2262">2</cx:pt>
          <cx:pt idx="2263">2</cx:pt>
          <cx:pt idx="2264">2</cx:pt>
          <cx:pt idx="2265">2</cx:pt>
          <cx:pt idx="2266">2</cx:pt>
          <cx:pt idx="2267">1.847081</cx:pt>
          <cx:pt idx="2268">1.40215</cx:pt>
          <cx:pt idx="2269">1.038802</cx:pt>
          <cx:pt idx="2270">0.77590700000000001</cx:pt>
          <cx:pt idx="2271">0.60502350000000005</cx:pt>
          <cx:pt idx="2272">0.48554459999999999</cx:pt>
          <cx:pt idx="2273">0.49898081799999999</cx:pt>
          <cx:pt idx="2274">0.50909610000000005</cx:pt>
          <cx:pt idx="2275">0.2964021</cx:pt>
          <cx:pt idx="2276">0.3723051</cx:pt>
          <cx:pt idx="2277">0.39239930000000001</cx:pt>
          <cx:pt idx="2278">0</cx:pt>
          <cx:pt idx="2279">0.026071022290000002</cx:pt>
          <cx:pt idx="2280">0.027776060000000002</cx:pt>
          <cx:pt idx="2281">0.1021265</cx:pt>
          <cx:pt idx="2282">0.1017015</cx:pt>
          <cx:pt idx="2283">0.20734169999999999</cx:pt>
          <cx:pt idx="2284">0.66835109999999998</cx:pt>
          <cx:pt idx="2285">0.96232590000000007</cx:pt>
          <cx:pt idx="2286">0.94270548369999996</cx:pt>
          <cx:pt idx="2287">0.92974467110000003</cx:pt>
          <cx:pt idx="2288">0.89716669999999998</cx:pt>
          <cx:pt idx="2289">0.66486429999999996</cx:pt>
          <cx:pt idx="2290">0.48640149999999999</cx:pt>
          <cx:pt idx="2291">0.142487</cx:pt>
          <cx:pt idx="2292">0</cx:pt>
          <cx:pt idx="2293">0.03099375</cx:pt>
          <cx:pt idx="2294">0.31451689999999999</cx:pt>
          <cx:pt idx="2295">0.44238819999999995</cx:pt>
          <cx:pt idx="2296">0.55594440000000001</cx:pt>
          <cx:pt idx="2297">0.39822249999999998</cx:pt>
          <cx:pt idx="2298">0.2484335</cx:pt>
          <cx:pt idx="2299">0.19756309999999999</cx:pt>
          <cx:pt idx="2300">0.098140962110000007</cx:pt>
          <cx:pt idx="2301">0</cx:pt>
          <cx:pt idx="2302">0.034110630000000003</cx:pt>
          <cx:pt idx="2303">0.32756000000000002</cx:pt>
          <cx:pt idx="2304">0.45472477210000001</cx:pt>
          <cx:pt idx="2305">0.6234944</cx:pt>
          <cx:pt idx="2306">0.63427679999999997</cx:pt>
          <cx:pt idx="2307">0.81481329999999996</cx:pt>
          <cx:pt idx="2308">0.57394279999999998</cx:pt>
          <cx:pt idx="2309">0.38172199999999995</cx:pt>
          <cx:pt idx="2310">0.12678900000000001</cx:pt>
          <cx:pt idx="2311">0</cx:pt>
          <cx:pt idx="2312">0</cx:pt>
          <cx:pt idx="2313">0</cx:pt>
          <cx:pt idx="2314">0</cx:pt>
          <cx:pt idx="2315">0</cx:pt>
          <cx:pt idx="2316">0</cx:pt>
          <cx:pt idx="2317">0</cx:pt>
          <cx:pt idx="2318">0</cx:pt>
          <cx:pt idx="2319">0</cx:pt>
          <cx:pt idx="2320">0</cx:pt>
          <cx:pt idx="2321">0</cx:pt>
          <cx:pt idx="2322">0</cx:pt>
          <cx:pt idx="2323">0</cx:pt>
          <cx:pt idx="2324">0</cx:pt>
          <cx:pt idx="2325">0</cx:pt>
          <cx:pt idx="2326">0</cx:pt>
          <cx:pt idx="2327">0</cx:pt>
          <cx:pt idx="2328">0</cx:pt>
          <cx:pt idx="2329">0</cx:pt>
          <cx:pt idx="2330">0</cx:pt>
          <cx:pt idx="2331">0</cx:pt>
          <cx:pt idx="2332">0</cx:pt>
          <cx:pt idx="2333">0</cx:pt>
          <cx:pt idx="2334">0</cx:pt>
          <cx:pt idx="2335">0.043393150069999997</cx:pt>
          <cx:pt idx="2336">0.064835361750000001</cx:pt>
          <cx:pt idx="2337">0.08662394000000001</cx:pt>
          <cx:pt idx="2338">0.088646266619999997</cx:pt>
          <cx:pt idx="2339">0.35370399999999996</cx:pt>
          <cx:pt idx="2340">0.92974100879999999</cx:pt>
          <cx:pt idx="2341">1.4924279999999999</cx:pt>
          <cx:pt idx="2342">1.4948466809999998</cx:pt>
          <cx:pt idx="2343">1.7943090000000002</cx:pt>
          <cx:pt idx="2344">2</cx:pt>
          <cx:pt idx="2345">2</cx:pt>
          <cx:pt idx="2346">2</cx:pt>
          <cx:pt idx="2347">2</cx:pt>
          <cx:pt idx="2348">1.9166890000000001</cx:pt>
          <cx:pt idx="2349">1.6577680000000001</cx:pt>
          <cx:pt idx="2350">1.5182470000000001</cx:pt>
          <cx:pt idx="2351">1.3001410000000002</cx:pt>
          <cx:pt idx="2352">0.77019670000000007</cx:pt>
          <cx:pt idx="2353">0.88049000000000011</cx:pt>
          <cx:pt idx="2354">0.7080149</cx:pt>
          <cx:pt idx="2355">0.75792270000000006</cx:pt>
          <cx:pt idx="2356">0.70911789999999997</cx:pt>
          <cx:pt idx="2357">0.53823200000000004</cx:pt>
          <cx:pt idx="2358">0.48925479999999999</cx:pt>
          <cx:pt idx="2359">0.506247</cx:pt>
          <cx:pt idx="2360">0.4286623</cx:pt>
          <cx:pt idx="2361">0.62304300000000001</cx:pt>
          <cx:pt idx="2362">0.71627560000000001</cx:pt>
          <cx:pt idx="2363">0.89123630000000009</cx:pt>
          <cx:pt idx="2364">0.7407201000000001</cx:pt>
          <cx:pt idx="2365">0.6566902</cx:pt>
          <cx:pt idx="2366">0.67544169999999992</cx:pt>
          <cx:pt idx="2367">0.74536150000000001</cx:pt>
          <cx:pt idx="2368">0.68673360000000006</cx:pt>
          <cx:pt idx="2369">0.80199389999999993</cx:pt>
          <cx:pt idx="2370">0.95090920000000001</cx:pt>
          <cx:pt idx="2371">0.75682739999999993</cx:pt>
          <cx:pt idx="2372">0.69560640000000007</cx:pt>
          <cx:pt idx="2373">0.97568470000000007</cx:pt>
          <cx:pt idx="2374">1.0857049999999999</cx:pt>
          <cx:pt idx="2375">1.0734859999999999</cx:pt>
          <cx:pt idx="2376">0.88699085100000008</cx:pt>
          <cx:pt idx="2377">0.84008159999999998</cx:pt>
          <cx:pt idx="2378">0.88030420000000009</cx:pt>
          <cx:pt idx="2379">1.0980840000000001</cx:pt>
          <cx:pt idx="2380">1.1383118290000001</cx:pt>
          <cx:pt idx="2381">1.158501</cx:pt>
          <cx:pt idx="2382">0.91991240000000007</cx:pt>
          <cx:pt idx="2383">0.88827179999999994</cx:pt>
          <cx:pt idx="2384">1.182077</cx:pt>
          <cx:pt idx="2385">1.27362</cx:pt>
          <cx:pt idx="2386">1.1931829999999999</cx:pt>
          <cx:pt idx="2387">1.093421</cx:pt>
          <cx:pt idx="2388">1.0980129999999999</cx:pt>
          <cx:pt idx="2389">0.79410839999999994</cx:pt>
          <cx:pt idx="2390">0.66923929999999998</cx:pt>
          <cx:pt idx="2391">0.46338940000000001</cx:pt>
          <cx:pt idx="2392">0.24701129999999999</cx:pt>
          <cx:pt idx="2393">0.022399520000000003</cx:pt>
          <cx:pt idx="2394">0.029670621380000001</cx:pt>
          <cx:pt idx="2395">0.041519250000000001</cx:pt>
          <cx:pt idx="2396">0.013080400000000001</cx:pt>
          <cx:pt idx="2397">0.092148325329999989</cx:pt>
          <cx:pt idx="2398">0.097881040000000002</cx:pt>
          <cx:pt idx="2399">0.1595956</cx:pt>
          <cx:pt idx="2400">0.093729720000000002</cx:pt>
          <cx:pt idx="2401">0.06426774628000001</cx:pt>
          <cx:pt idx="2402">0.03476158</cx:pt>
          <cx:pt idx="2403">0.0095942693100000004</cx:pt>
          <cx:pt idx="2404">0.00868067101</cx:pt>
          <cx:pt idx="2405">0</cx:pt>
          <cx:pt idx="2406">0.025804029999999999</cx:pt>
          <cx:pt idx="2407">0.1310654</cx:pt>
          <cx:pt idx="2408">0.2447136</cx:pt>
          <cx:pt idx="2409">0.19508150000000002</cx:pt>
          <cx:pt idx="2410">0.2397389</cx:pt>
          <cx:pt idx="2411">0.30543239999999999</cx:pt>
          <cx:pt idx="2412">0.35521760000000002</cx:pt>
          <cx:pt idx="2413">0.33122880000000005</cx:pt>
          <cx:pt idx="2414">0.2301839</cx:pt>
          <cx:pt idx="2415">0.12888629999999998</cx:pt>
          <cx:pt idx="2416">0.06560545000000001</cx:pt>
          <cx:pt idx="2417">0.13918039999999998</cx:pt>
          <cx:pt idx="2418">0.1703153</cx:pt>
          <cx:pt idx="2419">0.095576149999999999</cx:pt>
          <cx:pt idx="2420">0.057163310000000002</cx:pt>
          <cx:pt idx="2421">0</cx:pt>
          <cx:pt idx="2422">0.14797160000000001</cx:pt>
          <cx:pt idx="2423">0.0011089509999999999</cx:pt>
          <cx:pt idx="2424">0.028507769999999998</cx:pt>
          <cx:pt idx="2425">0.081552019999999989</cx:pt>
          <cx:pt idx="2426">0</cx:pt>
          <cx:pt idx="2427">0.028320120000000001</cx:pt>
          <cx:pt idx="2428">0.026283517650000001</cx:pt>
          <cx:pt idx="2429">0.026263546910000001</cx:pt>
          <cx:pt idx="2430">0.024932906759999998</cx:pt>
          <cx:pt idx="2431">0.022150078139999998</cx:pt>
          <cx:pt idx="2432">0.02200916394</cx:pt>
          <cx:pt idx="2433">0.021061788639999999</cx:pt>
          <cx:pt idx="2434">0.020920249410000001</cx:pt>
          <cx:pt idx="2435">0.020497043069999998</cx:pt>
          <cx:pt idx="2436">0.01989219473</cx:pt>
          <cx:pt idx="2437">0.01950909118</cx:pt>
          <cx:pt idx="2438">0.019408279760000001</cx:pt>
          <cx:pt idx="2439">0.019368176979999999</cx:pt>
          <cx:pt idx="2440">0.018642395249999999</cx:pt>
          <cx:pt idx="2441">0.018621950700000001</cx:pt>
          <cx:pt idx="2442">0.018521139280000001</cx:pt>
          <cx:pt idx="2443">0.01842033794</cx:pt>
          <cx:pt idx="2444">0.018077810990000002</cx:pt>
          <cx:pt idx="2445">0.017633998799999998</cx:pt>
          <cx:pt idx="2446">0.015940397219999999</cx:pt>
          <cx:pt idx="2447">0.015577738230000001</cx:pt>
          <cx:pt idx="2448">0.01545648225</cx:pt>
          <cx:pt idx="2449">0.015335548880000001</cx:pt>
          <cx:pt idx="2450">0.015234737460000002</cx:pt>
          <cx:pt idx="2451">0.015073540000000002</cx:pt>
          <cx:pt idx="2452">0.42395189999999999</cx:pt>
          <cx:pt idx="2453">0.57284800000000002</cx:pt>
          <cx:pt idx="2454">0.61172649999999995</cx:pt>
          <cx:pt idx="2455">0.55716569999999999</cx:pt>
          <cx:pt idx="2456">0.68278139999999998</cx:pt>
          <cx:pt idx="2457">0.68239649629999999</cx:pt>
          <cx:pt idx="2458">0.63435580000000003</cx:pt>
          <cx:pt idx="2459">0.38310119999999998</cx:pt>
          <cx:pt idx="2460">0.38293503029999998</cx:pt>
          <cx:pt idx="2461">0.34146540000000003</cx:pt>
          <cx:pt idx="2462">0.24633739999999998</cx:pt>
          <cx:pt idx="2463">0.055391820000000001</cx:pt>
          <cx:pt idx="2464">0</cx:pt>
          <cx:pt idx="2465">0.14531539999999998</cx:pt>
          <cx:pt idx="2466">0.25898650000000001</cx:pt>
          <cx:pt idx="2467">0.1602394</cx:pt>
          <cx:pt idx="2468">0.02456322</cx:pt>
          <cx:pt idx="2469">0.02825637445</cx:pt>
          <cx:pt idx="2470">0.032563977229999999</cx:pt>
          <cx:pt idx="2471">0.036871580000000001</cx:pt>
          <cx:pt idx="2472">0.46619650000000001</cx:pt>
          <cx:pt idx="2473">0.94941990000000009</cx:pt>
          <cx:pt idx="2474">0.98754009999999992</cx:pt>
          <cx:pt idx="2475">0.79263059999999996</cx:pt>
          <cx:pt idx="2476">0.37747940000000002</cx:pt>
          <cx:pt idx="2477">0.22097750000000002</cx:pt>
          <cx:pt idx="2478">0.26265929999999998</cx:pt>
          <cx:pt idx="2479">0.3671624</cx:pt>
          <cx:pt idx="2480">0.63393480000000002</cx:pt>
          <cx:pt idx="2481">0.8048206</cx:pt>
          <cx:pt idx="2482">0.80426388380000002</cx:pt>
          <cx:pt idx="2483">0.73533559999999998</cx:pt>
          <cx:pt idx="2484">0.013507070000000001</cx:pt>
          <cx:pt idx="2485">0.077752970000000005</cx:pt>
          <cx:pt idx="2486">0.08006601931</cx:pt>
          <cx:pt idx="2487">0.36413679999999998</cx:pt>
          <cx:pt idx="2488">0.58671129999999994</cx:pt>
          <cx:pt idx="2489">0.73176640000000004</cx:pt>
          <cx:pt idx="2490">0.84867720000000002</cx:pt>
          <cx:pt idx="2491">0.81594160000000004</cx:pt>
          <cx:pt idx="2492">0.5061090667</cx:pt>
          <cx:pt idx="2493">0.35119280000000003</cx:pt>
          <cx:pt idx="2494">0.43475530000000001</cx:pt>
          <cx:pt idx="2495">0.77183980000000008</cx:pt>
          <cx:pt idx="2496">0.77368212080000009</cx:pt>
          <cx:pt idx="2497">1.2371399999999999</cx:pt>
          <cx:pt idx="2498">1.3634649999999999</cx:pt>
          <cx:pt idx="2499">1.328956</cx:pt>
          <cx:pt idx="2500">1.3577510000000002</cx:pt>
          <cx:pt idx="2501">1.305016</cx:pt>
          <cx:pt idx="2502">1.3236289999999999</cx:pt>
          <cx:pt idx="2503">1.4880690000000001</cx:pt>
          <cx:pt idx="2504">1.6914230000000001</cx:pt>
          <cx:pt idx="2505">1.804133</cx:pt>
          <cx:pt idx="2506">2</cx:pt>
          <cx:pt idx="2507">1.977326382</cx:pt>
          <cx:pt idx="2508">1.909497</cx:pt>
          <cx:pt idx="2509">1.4875020000000001</cx:pt>
          <cx:pt idx="2510">1.204358</cx:pt>
          <cx:pt idx="2511">1.1042589999999999</cx:pt>
          <cx:pt idx="2512">0.91068700000000002</cx:pt>
          <cx:pt idx="2513">1.095221</cx:pt>
          <cx:pt idx="2514">1.084384</cx:pt>
          <cx:pt idx="2515">0.76170640000000001</cx:pt>
          <cx:pt idx="2516">0.77639690000000006</cx:pt>
          <cx:pt idx="2517">0.71742440000000007</cx:pt>
          <cx:pt idx="2518">0.84250400000000003</cx:pt>
          <cx:pt idx="2519">0.88928914520000002</cx:pt>
          <cx:pt idx="2520">0.98105999999999993</cx:pt>
          <cx:pt idx="2521">1.2957749999999999</cx:pt>
          <cx:pt idx="2522">1.2623770000000001</cx:pt>
          <cx:pt idx="2523">0.93249629999999994</cx:pt>
          <cx:pt idx="2524">0.85162161710000006</cx:pt>
          <cx:pt idx="2525">0.81213869999999999</cx:pt>
          <cx:pt idx="2526">0.13571079999999999</cx:pt>
          <cx:pt idx="2527">0</cx:pt>
          <cx:pt idx="2528">0</cx:pt>
          <cx:pt idx="2529">0</cx:pt>
          <cx:pt idx="2530">0</cx:pt>
          <cx:pt idx="2531">0</cx:pt>
          <cx:pt idx="2532">0</cx:pt>
          <cx:pt idx="2533">0</cx:pt>
          <cx:pt idx="2534">0.036174549869999996</cx:pt>
          <cx:pt idx="2535">0.078217275190000005</cx:pt>
          <cx:pt idx="2536">0.084317049999999991</cx:pt>
          <cx:pt idx="2537">0.20908650000000001</cx:pt>
          <cx:pt idx="2538">0.25874160000000002</cx:pt>
          <cx:pt idx="2539">0.14928669999999999</cx:pt>
          <cx:pt idx="2540">0.3016296</cx:pt>
          <cx:pt idx="2541">0.69317130000000005</cx:pt>
          <cx:pt idx="2542">0.98820629999999998</cx:pt>
          <cx:pt idx="2543">1.162056</cx:pt>
          <cx:pt idx="2544">1.243398</cx:pt>
          <cx:pt idx="2545">0.91460400000000008</cx:pt>
          <cx:pt idx="2546">1.0412919999999999</cx:pt>
          <cx:pt idx="2547">1.1412450000000001</cx:pt>
          <cx:pt idx="2548">1.1754020000000001</cx:pt>
          <cx:pt idx="2549">1.032727</cx:pt>
          <cx:pt idx="2550">0.94900779999999996</cx:pt>
          <cx:pt idx="2551">0.44688529999999999</cx:pt>
          <cx:pt idx="2552">0.13890630000000001</cx:pt>
          <cx:pt idx="2553">0</cx:pt>
          <cx:pt idx="2554">0</cx:pt>
          <cx:pt idx="2555">0</cx:pt>
          <cx:pt idx="2556">0</cx:pt>
          <cx:pt idx="2557">0</cx:pt>
          <cx:pt idx="2558">0.068454609999999999</cx:pt>
          <cx:pt idx="2559">0.21804010000000001</cx:pt>
          <cx:pt idx="2560">0.053013539999999998</cx:pt>
          <cx:pt idx="2561">0</cx:pt>
          <cx:pt idx="2562">0.0080255647399999994</cx:pt>
          <cx:pt idx="2563">0.0092596490300000008</cx:pt>
          <cx:pt idx="2564">0.01112035403</cx:pt>
          <cx:pt idx="2565">0.016682693959999998</cx:pt>
          <cx:pt idx="2566">0.021001680000000002</cx:pt>
          <cx:pt idx="2567">0.1291774</cx:pt>
          <cx:pt idx="2568">0.12994504060000001</cx:pt>
          <cx:pt idx="2569">0.32228659999999998</cx:pt>
          <cx:pt idx="2570">0.46739520000000001</cx:pt>
          <cx:pt idx="2571">0.39832400000000001</cx:pt>
          <cx:pt idx="2572">0</cx:pt>
          <cx:pt idx="2573">0.060025760000000004</cx:pt>
          <cx:pt idx="2574">0.36657249999999997</cx:pt>
          <cx:pt idx="2575">0.56179190000000001</cx:pt>
          <cx:pt idx="2576">0.68060199999999993</cx:pt>
          <cx:pt idx="2577">0.70445279999999999</cx:pt>
          <cx:pt idx="2578">0.70283595139999999</cx:pt>
          <cx:pt idx="2579">0.50265029999999999</cx:pt>
          <cx:pt idx="2580">0.38714860000000001</cx:pt>
          <cx:pt idx="2581">0.30018919999999999</cx:pt>
          <cx:pt idx="2582">0</cx:pt>
          <cx:pt idx="2583">0</cx:pt>
          <cx:pt idx="2584">0</cx:pt>
          <cx:pt idx="2585">0</cx:pt>
          <cx:pt idx="2586">0</cx:pt>
          <cx:pt idx="2587">0</cx:pt>
          <cx:pt idx="2588">0</cx:pt>
          <cx:pt idx="2589">0</cx:pt>
          <cx:pt idx="2590">0.08123023</cx:pt>
          <cx:pt idx="2591">0.2687291</cx:pt>
          <cx:pt idx="2592">0.3850886</cx:pt>
          <cx:pt idx="2593">0.33600830000000004</cx:pt>
          <cx:pt idx="2594">0.15816</cx:pt>
          <cx:pt idx="2595">0.066375080000000003</cx:pt>
          <cx:pt idx="2596">0.11466290000000001</cx:pt>
          <cx:pt idx="2597">0</cx:pt>
          <cx:pt idx="2598">0.085434521760000007</cx:pt>
          <cx:pt idx="2599">0.1063412</cx:pt>
          <cx:pt idx="2600">0.49136859999999999</cx:pt>
          <cx:pt idx="2601">0.61820619999999993</cx:pt>
          <cx:pt idx="2602">0.45674509999999996</cx:pt>
          <cx:pt idx="2603">0.60569870000000003</cx:pt>
          <cx:pt idx="2604">0.60976560000000002</cx:pt>
          <cx:pt idx="2605">0.71868030000000005</cx:pt>
          <cx:pt idx="2606">0.7185326984</cx:pt>
          <cx:pt idx="2607">0.6793884</cx:pt>
          <cx:pt idx="2608">0.19757840000000002</cx:pt>
          <cx:pt idx="2609">0</cx:pt>
          <cx:pt idx="2610">0.2129456884</cx:pt>
          <cx:pt idx="2611">0.25115490000000001</cx:pt>
          <cx:pt idx="2612">0.51368769999999997</cx:pt>
          <cx:pt idx="2613">0.83461470000000004</cx:pt>
          <cx:pt idx="2614">0.94056550000000005</cx:pt>
          <cx:pt idx="2615">0.9627545999999999</cx:pt>
          <cx:pt idx="2616">1.0771839999999999</cx:pt>
          <cx:pt idx="2617">1.119923</cx:pt>
          <cx:pt idx="2618">0.8426115354</cx:pt>
          <cx:pt idx="2619">0.56099529999999997</cx:pt>
          <cx:pt idx="2620">0.36660710000000002</cx:pt>
          <cx:pt idx="2621">0.2294641</cx:pt>
          <cx:pt idx="2622">0.1097612</cx:pt>
          <cx:pt idx="2623">0</cx:pt>
          <cx:pt idx="2624">0.054266674640000005</cx:pt>
          <cx:pt idx="2625">0.067887909999999996</cx:pt>
          <cx:pt idx="2626">0.13098100000000001</cx:pt>
          <cx:pt idx="2627">0</cx:pt>
          <cx:pt idx="2628">0.00012071949</cx:pt>
          <cx:pt idx="2629">0.028450877900000001</cx:pt>
          <cx:pt idx="2630">0.033654799999999999</cx:pt>
          <cx:pt idx="2631">0.63251420000000003</cx:pt>
          <cx:pt idx="2632">0.64068068839999992</cx:pt>
          <cx:pt idx="2633">1.1530610000000001</cx:pt>
          <cx:pt idx="2634">1.2871940000000002</cx:pt>
          <cx:pt idx="2635">1.238078</cx:pt>
          <cx:pt idx="2636">1.277792</cx:pt>
          <cx:pt idx="2637">1.0248139999999999</cx:pt>
          <cx:pt idx="2638">0.57575100000000001</cx:pt>
          <cx:pt idx="2639">0.25521060000000001</cx:pt>
          <cx:pt idx="2640">0.00145915</cx:pt>
          <cx:pt idx="2641">0.03177774806</cx:pt>
          <cx:pt idx="2642">0.060489100000000004</cx:pt>
          <cx:pt idx="2643">0.25419190000000003</cx:pt>
          <cx:pt idx="2644">0.4452142</cx:pt>
          <cx:pt idx="2645">0.56544930000000004</cx:pt>
          <cx:pt idx="2646">0.71365599999999996</cx:pt>
          <cx:pt idx="2647">0.80472460000000001</cx:pt>
          <cx:pt idx="2648">0.78320210000000001</cx:pt>
          <cx:pt idx="2649">0.67267889999999997</cx:pt>
          <cx:pt idx="2650">0.62490810000000008</cx:pt>
          <cx:pt idx="2651">0.54980519999999999</cx:pt>
          <cx:pt idx="2652">0.33407829999999999</cx:pt>
          <cx:pt idx="2653">0.076025910000000002</cx:pt>
          <cx:pt idx="2654">0.28173373880000002</cx:pt>
          <cx:pt idx="2655">0.38502380000000003</cx:pt>
          <cx:pt idx="2656">0.63425640000000005</cx:pt>
          <cx:pt idx="2657">0.78125690000000003</cx:pt>
          <cx:pt idx="2658">0.58418389999999998</cx:pt>
          <cx:pt idx="2659">0.58192832420000007</cx:pt>
          <cx:pt idx="2660">0.010141020000000001</cx:pt>
          <cx:pt idx="2661">0.02770974679</cx:pt>
          <cx:pt idx="2662">0.049749170950000005</cx:pt>
          <cx:pt idx="2663">0.073988129690000001</cx:pt>
          <cx:pt idx="2664">0.076274720000000004</cx:pt>
          <cx:pt idx="2665">0.4250777</cx:pt>
          <cx:pt idx="2666">0.71505759999999996</cx:pt>
          <cx:pt idx="2667">0.83464267000000003</cx:pt>
          <cx:pt idx="2668">1.0755950000000001</cx:pt>
          <cx:pt idx="2669">1.105925</cx:pt>
          <cx:pt idx="2670">0.74886160000000002</cx:pt>
          <cx:pt idx="2671">0.66148870000000004</cx:pt>
          <cx:pt idx="2672">0.66183216029999992</cx:pt>
          <cx:pt idx="2673">0.70719149999999997</cx:pt>
          <cx:pt idx="2674">0.50869010000000003</cx:pt>
          <cx:pt idx="2675">0.4028851</cx:pt>
          <cx:pt idx="2676">0</cx:pt>
          <cx:pt idx="2677">0.0077328334700000004</cx:pt>
          <cx:pt idx="2678">0.050991072710000002</cx:pt>
          <cx:pt idx="2679">0.070655518109999996</cx:pt>
          <cx:pt idx="2680">0.090321929999999995</cx:pt>
          <cx:pt idx="2681">0.4229871</cx:pt>
          <cx:pt idx="2682">0.66126689999999999</cx:pt>
          <cx:pt idx="2683">0.78007340000000003</cx:pt>
          <cx:pt idx="2684">0.75904880000000008</cx:pt>
          <cx:pt idx="2685">0.91897419999999996</cx:pt>
          <cx:pt idx="2686">1.269493</cx:pt>
          <cx:pt idx="2687">1.8919269999999999</cx:pt>
          <cx:pt idx="2688">2</cx:pt>
          <cx:pt idx="2689">1.990139077</cx:pt>
          <cx:pt idx="2690">1.9802929230000001</cx:pt>
          <cx:pt idx="2691">1.968512</cx:pt>
          <cx:pt idx="2692">1.7562483330000001</cx:pt>
          <cx:pt idx="2693">1.3331979999999999</cx:pt>
          <cx:pt idx="2694">1.1358379999999999</cx:pt>
          <cx:pt idx="2695">0.53179009999999993</cx:pt>
          <cx:pt idx="2696">0.36266219999999999</cx:pt>
          <cx:pt idx="2697">0.22878649870000001</cx:pt>
          <cx:pt idx="2698">0.16130800000000001</cx:pt>
          <cx:pt idx="2699">0</cx:pt>
          <cx:pt idx="2700">0.00028182685000000001</cx:pt>
          <cx:pt idx="2701">0.0039726058600000006</cx:pt>
          <cx:pt idx="2702">0.0048270490299999998</cx:pt>
          <cx:pt idx="2703">0.0093789576799999993</cx:pt>
          <cx:pt idx="2704">0.01165590784</cx:pt>
          <cx:pt idx="2705">0.015364469999999998</cx:pt>
          <cx:pt idx="2706">0.092638830000000005</cx:pt>
          <cx:pt idx="2707">0</cx:pt>
          <cx:pt idx="2708">0.058611707959999995</cx:pt>
          <cx:pt idx="2709">0.2348870831</cx:pt>
          <cx:pt idx="2710">0.35164090000000003</cx:pt>
          <cx:pt idx="2711">0.67328399999999999</cx:pt>
          <cx:pt idx="2712">1.02363</cx:pt>
          <cx:pt idx="2713">1.0896680000000001</cx:pt>
          <cx:pt idx="2714">1.127229</cx:pt>
          <cx:pt idx="2715">1.0128459999999999</cx:pt>
          <cx:pt idx="2716">0.86594870000000002</cx:pt>
          <cx:pt idx="2717">0.68734269999999997</cx:pt>
          <cx:pt idx="2718">0.59114240000000007</cx:pt>
          <cx:pt idx="2719">0.48142699999999999</cx:pt>
          <cx:pt idx="2720">0.42972709999999997</cx:pt>
          <cx:pt idx="2721">0.43806809999999996</cx:pt>
          <cx:pt idx="2722">0.70938959999999995</cx:pt>
          <cx:pt idx="2723">1.121343</cx:pt>
          <cx:pt idx="2724">1.4071070000000001</cx:pt>
          <cx:pt idx="2725">1.585817</cx:pt>
          <cx:pt idx="2726">1.6963509999999999</cx:pt>
          <cx:pt idx="2727">1.6188399999999998</cx:pt>
          <cx:pt idx="2728">1.243938</cx:pt>
          <cx:pt idx="2729">0.96810069999999993</cx:pt>
          <cx:pt idx="2730">0.83505930000000006</cx:pt>
          <cx:pt idx="2731">0.77978229999999993</cx:pt>
          <cx:pt idx="2732">0.65325109999999997</cx:pt>
          <cx:pt idx="2733">0</cx:pt>
          <cx:pt idx="2734">0</cx:pt>
          <cx:pt idx="2735">0</cx:pt>
          <cx:pt idx="2736">0</cx:pt>
          <cx:pt idx="2737">0</cx:pt>
          <cx:pt idx="2738">0</cx:pt>
          <cx:pt idx="2739">0</cx:pt>
          <cx:pt idx="2740">0</cx:pt>
          <cx:pt idx="2741">0</cx:pt>
          <cx:pt idx="2742">0.2222259</cx:pt>
          <cx:pt idx="2743">0.37112209999999995</cx:pt>
          <cx:pt idx="2744">0.43050829999999995</cx:pt>
          <cx:pt idx="2745">0.4123328</cx:pt>
          <cx:pt idx="2746">0.45329829999999999</cx:pt>
          <cx:pt idx="2747">0.37626530000000002</cx:pt>
          <cx:pt idx="2748">0.25047330000000001</cx:pt>
          <cx:pt idx="2749">0.41504809999999998</cx:pt>
          <cx:pt idx="2750">0.26318913129999999</cx:pt>
          <cx:pt idx="2751">0.18682490000000002</cx:pt>
          <cx:pt idx="2752">0.2007265</cx:pt>
          <cx:pt idx="2753">0.11573159999999999</cx:pt>
          <cx:pt idx="2754">0.106889</cx:pt>
          <cx:pt idx="2755">0.15924379999999999</cx:pt>
          <cx:pt idx="2756">0.26599099999999998</cx:pt>
          <cx:pt idx="2757">0.16100539999999999</cx:pt>
          <cx:pt idx="2758">0.021208499999999998</cx:pt>
          <cx:pt idx="2759">0</cx:pt>
          <cx:pt idx="2760">0.0047430191700000004</cx:pt>
          <cx:pt idx="2761">0.23903579400000002</cx:pt>
          <cx:pt idx="2762">0.35858410000000002</cx:pt>
          <cx:pt idx="2763">0.71569339999999992</cx:pt>
          <cx:pt idx="2764">0.89612650000000005</cx:pt>
          <cx:pt idx="2765">1.0387150000000001</cx:pt>
          <cx:pt idx="2766">1.3559430000000001</cx:pt>
          <cx:pt idx="2767">1.373486</cx:pt>
          <cx:pt idx="2768">1.378577333</cx:pt>
          <cx:pt idx="2769">1.481061</cx:pt>
          <cx:pt idx="2770">2</cx:pt>
          <cx:pt idx="2771">1.999296569</cx:pt>
          <cx:pt idx="2772">1.838211048</cx:pt>
          <cx:pt idx="2773">1.820481</cx:pt>
          <cx:pt idx="2774">1.3345390000000001</cx:pt>
          <cx:pt idx="2775">0.99131969999999991</cx:pt>
          <cx:pt idx="2776">0.77885189999999993</cx:pt>
          <cx:pt idx="2777">0.57608020000000004</cx:pt>
          <cx:pt idx="2778">0.50737270000000001</cx:pt>
          <cx:pt idx="2779">0.40507559999999998</cx:pt>
          <cx:pt idx="2780">0.100658</cx:pt>
          <cx:pt idx="2781">0</cx:pt>
          <cx:pt idx="2782">0</cx:pt>
          <cx:pt idx="2783">0</cx:pt>
          <cx:pt idx="2784">0</cx:pt>
          <cx:pt idx="2785">0</cx:pt>
          <cx:pt idx="2786">0</cx:pt>
          <cx:pt idx="2787">0</cx:pt>
          <cx:pt idx="2788">0</cx:pt>
          <cx:pt idx="2789">0</cx:pt>
          <cx:pt idx="2790">0.091453639219999994</cx:pt>
          <cx:pt idx="2791">0.21434080000000003</cx:pt>
          <cx:pt idx="2792">0.62490800000000002</cx:pt>
          <cx:pt idx="2793">0.85445629999999995</cx:pt>
          <cx:pt idx="2794">1.0558110000000001</cx:pt>
          <cx:pt idx="2795">1.3430709999999999</cx:pt>
          <cx:pt idx="2796">1.4500210000000002</cx:pt>
          <cx:pt idx="2797">1.3739785200000001</cx:pt>
          <cx:pt idx="2798">1.299126</cx:pt>
          <cx:pt idx="2799">1.037156</cx:pt>
          <cx:pt idx="2800">0.85122759999999997</cx:pt>
          <cx:pt idx="2801">0.7912479</cx:pt>
          <cx:pt idx="2802">0.95551609999999998</cx:pt>
          <cx:pt idx="2803">0.96536522149999993</cx:pt>
          <cx:pt idx="2804">1.203638</cx:pt>
          <cx:pt idx="2805">1.327998</cx:pt>
          <cx:pt idx="2806">1.3624639999999999</cx:pt>
          <cx:pt idx="2807">1.47</cx:pt>
          <cx:pt idx="2808">1.9679490000000002</cx:pt>
          <cx:pt idx="2809">2</cx:pt>
          <cx:pt idx="2810">1.8616467320000001</cx:pt>
          <cx:pt idx="2811">1.8275270000000001</cx:pt>
          <cx:pt idx="2812">0.84143579999999996</cx:pt>
          <cx:pt idx="2813">0.1091632</cx:pt>
          <cx:pt idx="2814">0</cx:pt>
          <cx:pt idx="2815">0.040658677259999998</cx:pt>
          <cx:pt idx="2816">0.29541810000000002</cx:pt>
          <cx:pt idx="2817">0.49736609999999998</cx:pt>
          <cx:pt idx="2818">0.52781169999999999</cx:pt>
          <cx:pt idx="2819">0.21221129999999999</cx:pt>
          <cx:pt idx="2820">0</cx:pt>
          <cx:pt idx="2821">0</cx:pt>
          <cx:pt idx="2822">0</cx:pt>
          <cx:pt idx="2823">0</cx:pt>
          <cx:pt idx="2824">0</cx:pt>
          <cx:pt idx="2825">0.21884440000000002</cx:pt>
          <cx:pt idx="2826">1.1373139999999999</cx:pt>
          <cx:pt idx="2827">1.743058</cx:pt>
          <cx:pt idx="2828">1.9738470000000001</cx:pt>
          <cx:pt idx="2829">1.9823411120000001</cx:pt>
          <cx:pt idx="2830">1.983967338</cx:pt>
          <cx:pt idx="2831">1.9882074299999999</cx:pt>
          <cx:pt idx="2832">1.9949301230000001</cx:pt>
          <cx:pt idx="2833">2</cx:pt>
          <cx:pt idx="2834">1.974964908</cx:pt>
          <cx:pt idx="2835">1.9540389999999999</cx:pt>
          <cx:pt idx="2836">1.663673</cx:pt>
          <cx:pt idx="2837">1.6232439999999999</cx:pt>
          <cx:pt idx="2838">1.699932</cx:pt>
          <cx:pt idx="2839">1.9543350000000002</cx:pt>
          <cx:pt idx="2840">2</cx:pt>
          <cx:pt idx="2841">1.9305909999999999</cx:pt>
          <cx:pt idx="2842">1.7199690000000001</cx:pt>
          <cx:pt idx="2843">1.5870500000000001</cx:pt>
          <cx:pt idx="2844">1.5850696500000001</cx:pt>
          <cx:pt idx="2845">1.343715</cx:pt>
          <cx:pt idx="2846">1.028</cx:pt>
          <cx:pt idx="2847">0.6495533913</cx:pt>
          <cx:pt idx="2848">0.2826767</cx:pt>
          <cx:pt idx="2849">0.020231849999999999</cx:pt>
          <cx:pt idx="2850">0.020216422440000003</cx:pt>
          <cx:pt idx="2851">0.017250679170000002</cx:pt>
          <cx:pt idx="2852">0.012587239489999999</cx:pt>
          <cx:pt idx="2853">0.01062312713</cx:pt>
          <cx:pt idx="2854">0.01026348224</cx:pt>
          <cx:pt idx="2855">0.0096268046000000003</cx:pt>
          <cx:pt idx="2856">0.0089566176300000001</cx:pt>
          <cx:pt idx="2857">0.0079601292199999989</cx:pt>
          <cx:pt idx="2858">0.0043190564799999998</cx:pt>
          <cx:pt idx="2859">0.0019899908499999997</cx:pt>
          <cx:pt idx="2860">0.00132494638</cx:pt>
          <cx:pt idx="2861">0</cx:pt>
          <cx:pt idx="2862">0.0039305453899999999</cx:pt>
          <cx:pt idx="2863">0.036024666660000003</cx:pt>
          <cx:pt idx="2864">0.075975879999999996</cx:pt>
          <cx:pt idx="2865">0.2270549</cx:pt>
          <cx:pt idx="2866">0.27282630000000002</cx:pt>
          <cx:pt idx="2867">0.38032400000000005</cx:pt>
          <cx:pt idx="2868">0.37309460379999998</cx:pt>
          <cx:pt idx="2869">0.15472079999999999</cx:pt>
          <cx:pt idx="2870">0</cx:pt>
          <cx:pt idx="2871">0.06902925</cx:pt>
          <cx:pt idx="2872">0.29030529999999999</cx:pt>
          <cx:pt idx="2873">0.51299795690000005</cx:pt>
          <cx:pt idx="2874">0.84787329999999994</cx:pt>
          <cx:pt idx="2875">0.92550479789999995</cx:pt>
          <cx:pt idx="2876">0.96328289999999994</cx:pt>
          <cx:pt idx="2877">0.89434960000000008</cx:pt>
          <cx:pt idx="2878">0.52176450000000008</cx:pt>
          <cx:pt idx="2879">0.25706019999999996</cx:pt>
          <cx:pt idx="2880">0.2524834138</cx:pt>
          <cx:pt idx="2881">0.02640141</cx:pt>
          <cx:pt idx="2882">0.0894065</cx:pt>
          <cx:pt idx="2883">0</cx:pt>
          <cx:pt idx="2884">0.2210887</cx:pt>
          <cx:pt idx="2885">0.46564909999999998</cx:pt>
          <cx:pt idx="2886">0.74868950000000001</cx:pt>
          <cx:pt idx="2887">1.006535</cx:pt>
          <cx:pt idx="2888">0.9952190635</cx:pt>
          <cx:pt idx="2889">0.98328149999999992</cx:pt>
          <cx:pt idx="2890">1.607424</cx:pt>
          <cx:pt idx="2891">1.8864510000000001</cx:pt>
          <cx:pt idx="2892">2</cx:pt>
          <cx:pt idx="2893">1.9395783789999999</cx:pt>
          <cx:pt idx="2894">1.907173</cx:pt>
          <cx:pt idx="2895">1.7889169999999999</cx:pt>
          <cx:pt idx="2896">1.8333109999999999</cx:pt>
          <cx:pt idx="2897">1.972901</cx:pt>
          <cx:pt idx="2898">2</cx:pt>
          <cx:pt idx="2899">1.9225409999999998</cx:pt>
          <cx:pt idx="2900">1.7713859999999999</cx:pt>
          <cx:pt idx="2901">1.7063969999999999</cx:pt>
          <cx:pt idx="2902">1.779695</cx:pt>
          <cx:pt idx="2903">1.5294669999999999</cx:pt>
          <cx:pt idx="2904">1.5854150000000002</cx:pt>
          <cx:pt idx="2905">1.077299</cx:pt>
          <cx:pt idx="2906">0.78212619999999999</cx:pt>
          <cx:pt idx="2907">0.63035780000000008</cx:pt>
          <cx:pt idx="2908">0.59275080000000002</cx:pt>
          <cx:pt idx="2909">0.83077780000000001</cx:pt>
          <cx:pt idx="2910">1.50238</cx:pt>
          <cx:pt idx="2911">2</cx:pt>
          <cx:pt idx="2912">1.9238050000000002</cx:pt>
          <cx:pt idx="2913">1.9158984530000001</cx:pt>
          <cx:pt idx="2914">1.1778310000000001</cx:pt>
          <cx:pt idx="2915">0.76271730000000004</cx:pt>
          <cx:pt idx="2916">0.1376829</cx:pt>
          <cx:pt idx="2917">0</cx:pt>
          <cx:pt idx="2918">0</cx:pt>
          <cx:pt idx="2919">0</cx:pt>
          <cx:pt idx="2920">0</cx:pt>
          <cx:pt idx="2921">0</cx:pt>
          <cx:pt idx="2922">0</cx:pt>
          <cx:pt idx="2923">0</cx:pt>
          <cx:pt idx="2924">0</cx:pt>
          <cx:pt idx="2925">0</cx:pt>
          <cx:pt idx="2926">0.11074529999999999</cx:pt>
          <cx:pt idx="2927">0.47829070000000001</cx:pt>
          <cx:pt idx="2928">0.48951094640000004</cx:pt>
          <cx:pt idx="2929">0.8284338</cx:pt>
          <cx:pt idx="2930">1.273055</cx:pt>
          <cx:pt idx="2931">1.5636859999999999</cx:pt>
          <cx:pt idx="2932">1.7539410000000002</cx:pt>
          <cx:pt idx="2933">1.753661905</cx:pt>
          <cx:pt idx="2934">1.7533750000000001</cx:pt>
          <cx:pt idx="2935">1.581968</cx:pt>
          <cx:pt idx="2936">1.2997890000000001</cx:pt>
          <cx:pt idx="2937">0.75972660000000003</cx:pt>
          <cx:pt idx="2938">0.68949110000000002</cx:pt>
          <cx:pt idx="2939">0.69079390270000007</cx:pt>
          <cx:pt idx="2940">0.77273199999999997</cx:pt>
          <cx:pt idx="2941">1.0433300000000001</cx:pt>
          <cx:pt idx="2942">1.026958</cx:pt>
          <cx:pt idx="2943">0.71024770000000004</cx:pt>
          <cx:pt idx="2944">0.68889549999999999</cx:pt>
          <cx:pt idx="2945">0.66754329999999995</cx:pt>
          <cx:pt idx="2946">0.51156990000000002</cx:pt>
          <cx:pt idx="2947">0</cx:pt>
          <cx:pt idx="2948">0</cx:pt>
          <cx:pt idx="2949">0</cx:pt>
          <cx:pt idx="2950">0</cx:pt>
          <cx:pt idx="2951">0.1365036</cx:pt>
          <cx:pt idx="2952">0.50977800000000006</cx:pt>
          <cx:pt idx="2953">0.60973129999999998</cx:pt>
          <cx:pt idx="2954">0.64350870000000004</cx:pt>
          <cx:pt idx="2955">0.6169694</cx:pt>
          <cx:pt idx="2956">0.84938990000000003</cx:pt>
          <cx:pt idx="2957">0.91763400000000006</cx:pt>
          <cx:pt idx="2958">1.052026565</cx:pt>
          <cx:pt idx="2959">1.4625870000000001</cx:pt>
          <cx:pt idx="2960">1.5573320000000002</cx:pt>
          <cx:pt idx="2961">1.5054400000000001</cx:pt>
          <cx:pt idx="2962">1.1983570000000001</cx:pt>
          <cx:pt idx="2963">1.1270499999999999</cx:pt>
          <cx:pt idx="2964">1.2949789999999999</cx:pt>
          <cx:pt idx="2965">1.3219509999999999</cx:pt>
          <cx:pt idx="2966">1.2828120000000001</cx:pt>
          <cx:pt idx="2967">1.4038710000000001</cx:pt>
          <cx:pt idx="2968">1.2900160000000001</cx:pt>
          <cx:pt idx="2969">1.6495410000000001</cx:pt>
          <cx:pt idx="2970">1.814292</cx:pt>
          <cx:pt idx="2971">1.9538820000000001</cx:pt>
          <cx:pt idx="2972">2</cx:pt>
          <cx:pt idx="2973">1.8336078409999998</cx:pt>
          <cx:pt idx="2974">1.8111412010000001</cx:pt>
          <cx:pt idx="2975">1.7886689999999998</cx:pt>
          <cx:pt idx="2976">1.5791110000000002</cx:pt>
          <cx:pt idx="2977">1.4543029999999999</cx:pt>
          <cx:pt idx="2978">1.408922</cx:pt>
          <cx:pt idx="2979">0.97445020000000004</cx:pt>
          <cx:pt idx="2980">0.66773480000000007</cx:pt>
          <cx:pt idx="2981">0.46456616519999999</cx:pt>
          <cx:pt idx="2982">0.2864987</cx:pt>
          <cx:pt idx="2983">0.13654170000000002</cx:pt>
          <cx:pt idx="2984">0.1873609</cx:pt>
          <cx:pt idx="2985">0</cx:pt>
          <cx:pt idx="2986">0.055215405750000002</cx:pt>
          <cx:pt idx="2987">0.10329670000000001</cx:pt>
          <cx:pt idx="2988">0.29982579999999998</cx:pt>
          <cx:pt idx="2989">0.2784565</cx:pt>
          <cx:pt idx="2990">0.040134530000000002</cx:pt>
          <cx:pt idx="2991">0</cx:pt>
          <cx:pt idx="2992">0.0050531112300000007</cx:pt>
          <cx:pt idx="2993">0.061578527269999996</cx:pt>
          <cx:pt idx="2994">0.087373825820000001</cx:pt>
          <cx:pt idx="2995">0.097762920000000003</cx:pt>
          <cx:pt idx="2996">0</cx:pt>
          <cx:pt idx="2997">0.11829729999999999</cx:pt>
          <cx:pt idx="2998">0.12217403600000001</cx:pt>
          <cx:pt idx="2999">0.61354930000000008</cx:pt>
          <cx:pt idx="3000">1.320125</cx:pt>
          <cx:pt idx="3001">1.317731344</cx:pt>
          <cx:pt idx="3002">1.1994910000000001</cx:pt>
          <cx:pt idx="3003">1.43946</cx:pt>
          <cx:pt idx="3004">1.464847397</cx:pt>
          <cx:pt idx="3005">1.5156350000000001</cx:pt>
          <cx:pt idx="3006">1.6395459999999999</cx:pt>
          <cx:pt idx="3007">1.8037917200000002</cx:pt>
          <cx:pt idx="3008">1.9681209999999998</cx:pt>
          <cx:pt idx="3009">2</cx:pt>
          <cx:pt idx="3010">1.8779586539999999</cx:pt>
          <cx:pt idx="3011">1.7605170000000001</cx:pt>
          <cx:pt idx="3012">1.4562139999999999</cx:pt>
          <cx:pt idx="3013">1.3003479999999998</cx:pt>
          <cx:pt idx="3014">1.2265889999999999</cx:pt>
          <cx:pt idx="3015">0.68680269999999988</cx:pt>
          <cx:pt idx="3016">0.32037999999999994</cx:pt>
          <cx:pt idx="3017">0.20215900000000001</cx:pt>
          <cx:pt idx="3018">0</cx:pt>
          <cx:pt idx="3019">0</cx:pt>
          <cx:pt idx="3020">0</cx:pt>
          <cx:pt idx="3021">0</cx:pt>
          <cx:pt idx="3022">0</cx:pt>
          <cx:pt idx="3023">0</cx:pt>
          <cx:pt idx="3024">0</cx:pt>
          <cx:pt idx="3025">0.073364403019999996</cx:pt>
          <cx:pt idx="3026">0.176562</cx:pt>
          <cx:pt idx="3027">0.4469648</cx:pt>
          <cx:pt idx="3028">0.63469340000000007</cx:pt>
          <cx:pt idx="3029">0.69795879999999999</cx:pt>
          <cx:pt idx="3030">0.51313640000000005</cx:pt>
          <cx:pt idx="3031">0.029262199999999999</cx:pt>
          <cx:pt idx="3032">0.027347853639999999</cx:pt>
          <cx:pt idx="3033">0.02502632963</cx:pt>
          <cx:pt idx="3034">0.024057989649999997</cx:pt>
          <cx:pt idx="3035">0.020779410000000002</cx:pt>
          <cx:pt idx="3036">0.32389499999999999</cx:pt>
          <cx:pt idx="3037">0.41995350000000004</cx:pt>
          <cx:pt idx="3038">0.31036859999999999</cx:pt>
          <cx:pt idx="3039">0.1009259</cx:pt>
          <cx:pt idx="3040">0</cx:pt>
          <cx:pt idx="3041">0.084234628480000004</cx:pt>
          <cx:pt idx="3042">0.2120698</cx:pt>
          <cx:pt idx="3043">0.52621470000000004</cx:pt>
          <cx:pt idx="3044">0.91586070000000008</cx:pt>
          <cx:pt idx="3045">1.0870679999999999</cx:pt>
          <cx:pt idx="3046">1.3000720000000001</cx:pt>
          <cx:pt idx="3047">1.21587</cx:pt>
          <cx:pt idx="3048">0.48743580000000003</cx:pt>
          <cx:pt idx="3049">0.039253759999999999</cx:pt>
          <cx:pt idx="3050">0</cx:pt>
          <cx:pt idx="3051">0.0018060816399999998</cx:pt>
          <cx:pt idx="3052">0.01528028</cx:pt>
          <cx:pt idx="3053">0.1449134</cx:pt>
          <cx:pt idx="3054">0.21354040000000002</cx:pt>
          <cx:pt idx="3055">0.16367860000000001</cx:pt>
          <cx:pt idx="3056">0.17639299999999999</cx:pt>
          <cx:pt idx="3057">0.5942442</cx:pt>
          <cx:pt idx="3058">0.85050409999999999</cx:pt>
          <cx:pt idx="3059">1.045509</cx:pt>
          <cx:pt idx="3060">1.097148</cx:pt>
          <cx:pt idx="3061">0.95514500000000002</cx:pt>
          <cx:pt idx="3062">0.83382210000000001</cx:pt>
          <cx:pt idx="3063">0.85894770269999998</cx:pt>
          <cx:pt idx="3064">0.88506259999999992</cx:pt>
          <cx:pt idx="3065">1.2061390000000001</cx:pt>
          <cx:pt idx="3066">1.3568907590000001</cx:pt>
          <cx:pt idx="3067">1.5212680000000001</cx:pt>
          <cx:pt idx="3068">1.5402250000000002</cx:pt>
          <cx:pt idx="3069">1.3905320000000001</cx:pt>
          <cx:pt idx="3070">1.1095140000000001</cx:pt>
          <cx:pt idx="3071">1.1046665710000001</cx:pt>
          <cx:pt idx="3072">0.80697269999999999</cx:pt>
          <cx:pt idx="3073">0.64735339999999997</cx:pt>
          <cx:pt idx="3074">0.62475849999999999</cx:pt>
          <cx:pt idx="3075">0.73091579999999989</cx:pt>
          <cx:pt idx="3076">0.6457832</cx:pt>
          <cx:pt idx="3077">0.76911669999999999</cx:pt>
          <cx:pt idx="3078">0.76542540100000001</cx:pt>
          <cx:pt idx="3079">0.58161779999999996</cx:pt>
          <cx:pt idx="3080">0.42278759999999999</cx:pt>
          <cx:pt idx="3081">0.32421289999999997</cx:pt>
          <cx:pt idx="3082">0.38460630000000001</cx:pt>
          <cx:pt idx="3083">0.54196579999999994</cx:pt>
          <cx:pt idx="3084">0.55402909999999994</cx:pt>
          <cx:pt idx="3085">0.31839190000000001</cx:pt>
          <cx:pt idx="3086">0.11503450000000001</cx:pt>
          <cx:pt idx="3087">0.12828500000000001</cx:pt>
          <cx:pt idx="3088">0.19406582060000002</cx:pt>
          <cx:pt idx="3089">0.32615450000000001</cx:pt>
          <cx:pt idx="3090">0.73504440000000004</cx:pt>
          <cx:pt idx="3091">1.0434829999999999</cx:pt>
          <cx:pt idx="3092">1.275161</cx:pt>
          <cx:pt idx="3093">1.5565620000000002</cx:pt>
          <cx:pt idx="3094">1.476599</cx:pt>
          <cx:pt idx="3095">1.4806834719999999</cx:pt>
          <cx:pt idx="3096">1.818303</cx:pt>
          <cx:pt idx="3097">1.8470629999999999</cx:pt>
          <cx:pt idx="3098">1.7427440000000001</cx:pt>
          <cx:pt idx="3099">1.8705000000000001</cx:pt>
          <cx:pt idx="3100">1.8327717290000001</cx:pt>
          <cx:pt idx="3101">1.7762639999999998</cx:pt>
          <cx:pt idx="3102">1.675737</cx:pt>
          <cx:pt idx="3103">2</cx:pt>
          <cx:pt idx="3104">1.9893388089999999</cx:pt>
          <cx:pt idx="3105">1.9564980000000001</cx:pt>
          <cx:pt idx="3106">1.8120830000000001</cx:pt>
          <cx:pt idx="3107">1.8043469999999999</cx:pt>
          <cx:pt idx="3108">1.633124</cx:pt>
          <cx:pt idx="3109">1.5081249999999999</cx:pt>
          <cx:pt idx="3110">1.444836</cx:pt>
          <cx:pt idx="3111">1.5539810000000001</cx:pt>
          <cx:pt idx="3112">1.0322469999999999</cx:pt>
          <cx:pt idx="3113">0.87289599999999989</cx:pt>
          <cx:pt idx="3114">0.8169947327</cx:pt>
          <cx:pt idx="3115">0.76535989999999998</cx:pt>
          <cx:pt idx="3116">0.78041050000000001</cx:pt>
          <cx:pt idx="3117">1.0840890000000001</cx:pt>
          <cx:pt idx="3118">1.4855869999999998</cx:pt>
          <cx:pt idx="3119">1.8014169999999998</cx:pt>
          <cx:pt idx="3120">1.970764</cx:pt>
          <cx:pt idx="3121">1.9853399469999999</cx:pt>
          <cx:pt idx="3122">2</cx:pt>
          <cx:pt idx="3123">1.9942500599999999</cx:pt>
          <cx:pt idx="3124">1.9120341170000001</cx:pt>
          <cx:pt idx="3125">1.8773589999999998</cx:pt>
          <cx:pt idx="3126">1.7470289999999999</cx:pt>
          <cx:pt idx="3127">1.684912</cx:pt>
          <cx:pt idx="3128">1.2107649999999999</cx:pt>
          <cx:pt idx="3129">1.10365</cx:pt>
          <cx:pt idx="3130">1.101846031</cx:pt>
          <cx:pt idx="3131">0.86969819999999998</cx:pt>
          <cx:pt idx="3132">0.8606599774</cx:pt>
          <cx:pt idx="3133">0.58090529999999996</cx:pt>
          <cx:pt idx="3134">0.22356239999999999</cx:pt>
          <cx:pt idx="3135">0</cx:pt>
          <cx:pt idx="3136">0.11697210650000001</cx:pt>
          <cx:pt idx="3137">0.16872599999999999</cx:pt>
          <cx:pt idx="3138">0.26764530000000003</cx:pt>
          <cx:pt idx="3139">0.29226980000000002</cx:pt>
          <cx:pt idx="3140">0.47973059999999995</cx:pt>
          <cx:pt idx="3141">0.52266060000000003</cx:pt>
          <cx:pt idx="3142">0.50052529999999995</cx:pt>
          <cx:pt idx="3143">0.336395</cx:pt>
          <cx:pt idx="3144">0.29748570000000002</cx:pt>
          <cx:pt idx="3145">0.37105300000000002</cx:pt>
          <cx:pt idx="3146">0.52249979999999996</cx:pt>
          <cx:pt idx="3147">0.82335559999999997</cx:pt>
          <cx:pt idx="3148">1.4215059999999999</cx:pt>
          <cx:pt idx="3149">1.7266509999999999</cx:pt>
          <cx:pt idx="3150">1.9169069999999999</cx:pt>
          <cx:pt idx="3151">2</cx:pt>
          <cx:pt idx="3152">1.9592509999999999</cx:pt>
          <cx:pt idx="3153">1.8975559999999998</cx:pt>
          <cx:pt idx="3154">2</cx:pt>
          <cx:pt idx="3155">2</cx:pt>
          <cx:pt idx="3156">2</cx:pt>
          <cx:pt idx="3157">2</cx:pt>
          <cx:pt idx="3158">1.8376070000000002</cx:pt>
          <cx:pt idx="3159">1.8189839240000001</cx:pt>
          <cx:pt idx="3160">1.368209</cx:pt>
          <cx:pt idx="3161">1.0160750000000001</cx:pt>
          <cx:pt idx="3162">0.80927440000000006</cx:pt>
          <cx:pt idx="3163">0.44923689999999999</cx:pt>
          <cx:pt idx="3164">0.62878540000000005</cx:pt>
          <cx:pt idx="3165">0.62597795209999996</cx:pt>
          <cx:pt idx="3166">0.54326960000000002</cx:pt>
          <cx:pt idx="3167">0.54137889559999997</cx:pt>
          <cx:pt idx="3168">0.065867690000000007</cx:pt>
          <cx:pt idx="3169">0.16451899999999997</cx:pt>
          <cx:pt idx="3170">0.15098890000000001</cx:pt>
          <cx:pt idx="3171">0.24060239999999999</cx:pt>
          <cx:pt idx="3172">0.84803580000000001</cx:pt>
          <cx:pt idx="3173">1.0362739999999999</cx:pt>
          <cx:pt idx="3174">1.7068809999999999</cx:pt>
          <cx:pt idx="3175">1.963382</cx:pt>
          <cx:pt idx="3176">2</cx:pt>
          <cx:pt idx="3177">1.9389336660000001</cx:pt>
          <cx:pt idx="3178">1.8168010000000001</cx:pt>
          <cx:pt idx="3179">1.445748</cx:pt>
          <cx:pt idx="3180">1.039868</cx:pt>
          <cx:pt idx="3181">0.95305019999999996</cx:pt>
          <cx:pt idx="3182">1.104895</cx:pt>
          <cx:pt idx="3183">1.050246</cx:pt>
          <cx:pt idx="3184">0.96273949999999997</cx:pt>
          <cx:pt idx="3185">0.80606909999999998</cx:pt>
          <cx:pt idx="3186">0.54680280000000003</cx:pt>
          <cx:pt idx="3187">0.48248789999999997</cx:pt>
          <cx:pt idx="3188">0.52109070000000002</cx:pt>
          <cx:pt idx="3189">0.4347975</cx:pt>
          <cx:pt idx="3190">0.070982320000000002</cx:pt>
          <cx:pt idx="3191">0</cx:pt>
          <cx:pt idx="3192">0.049256659999999994</cx:pt>
          <cx:pt idx="3193">0.1425466</cx:pt>
          <cx:pt idx="3194">0.22921119999999998</cx:pt>
          <cx:pt idx="3195">0.48274050000000002</cx:pt>
          <cx:pt idx="3196">0.64629259999999999</cx:pt>
          <cx:pt idx="3197">1.249652</cx:pt>
          <cx:pt idx="3198">1.3794679999999999</cx:pt>
          <cx:pt idx="3199">1.3597839999999999</cx:pt>
          <cx:pt idx="3200">1.4301730000000001</cx:pt>
          <cx:pt idx="3201">1.3906129999999999</cx:pt>
          <cx:pt idx="3202">1.5332669999999999</cx:pt>
          <cx:pt idx="3203">1.4211009999999999</cx:pt>
          <cx:pt idx="3204">1.5219649999999998</cx:pt>
          <cx:pt idx="3205">1.9793000000000001</cx:pt>
          <cx:pt idx="3206">1.981962875</cx:pt>
          <cx:pt idx="3207">1.9839693009999999</cx:pt>
          <cx:pt idx="3208">1.985975727</cx:pt>
          <cx:pt idx="3209">1.9979935739999999</cx:pt>
          <cx:pt idx="3210">2</cx:pt>
          <cx:pt idx="3211">1.7439410000000002</cx:pt>
          <cx:pt idx="3212">1.7303188840000001</cx:pt>
          <cx:pt idx="3213">1.1741299999999999</cx:pt>
          <cx:pt idx="3214">0.7824354</cx:pt>
          <cx:pt idx="3215">0.52097510000000002</cx:pt>
          <cx:pt idx="3216">0</cx:pt>
          <cx:pt idx="3217">0.055080634479999994</cx:pt>
          <cx:pt idx="3218">0.2987957</cx:pt>
          <cx:pt idx="3219">0.59065210000000001</cx:pt>
          <cx:pt idx="3220">0.83813680010000002</cx:pt>
          <cx:pt idx="3221">1.0619459999999998</cx:pt>
          <cx:pt idx="3222">1.3180340000000001</cx:pt>
          <cx:pt idx="3223">1.693146</cx:pt>
          <cx:pt idx="3224">1.82389</cx:pt>
          <cx:pt idx="3225">1.781471077</cx:pt>
          <cx:pt idx="3226">1.7436970000000001</cx:pt>
          <cx:pt idx="3227">1.7625010000000001</cx:pt>
          <cx:pt idx="3228">1.604069</cx:pt>
          <cx:pt idx="3229">1.0208349999999999</cx:pt>
          <cx:pt idx="3230">0.94248676819999999</cx:pt>
          <cx:pt idx="3231">0.87167060000000007</cx:pt>
          <cx:pt idx="3232">0.40939560000000003</cx:pt>
          <cx:pt idx="3233">0.38892058969999999</cx:pt>
          <cx:pt idx="3234">0.37067800000000001</cx:pt>
          <cx:pt idx="3235">0.47737139999999995</cx:pt>
          <cx:pt idx="3236">0.3756717</cx:pt>
          <cx:pt idx="3237">0.45701310000000001</cx:pt>
          <cx:pt idx="3238">1.2491729999999999</cx:pt>
          <cx:pt idx="3239">1.2548830369999999</cx:pt>
          <cx:pt idx="3240">1.4880230000000001</cx:pt>
          <cx:pt idx="3241">1.7681610000000001</cx:pt>
          <cx:pt idx="3242">1.8498849999999998</cx:pt>
          <cx:pt idx="3243">1.697006</cx:pt>
          <cx:pt idx="3244">1.6103800000000001</cx:pt>
          <cx:pt idx="3245">1.612883531</cx:pt>
          <cx:pt idx="3246">1.9350559999999999</cx:pt>
          <cx:pt idx="3247">1.937105125</cx:pt>
          <cx:pt idx="3248">2</cx:pt>
          <cx:pt idx="3249">1.994469147</cx:pt>
          <cx:pt idx="3250">1.9386192470000001</cx:pt>
          <cx:pt idx="3251">1.9219457610000001</cx:pt>
          <cx:pt idx="3252">1.8773249999999999</cx:pt>
          <cx:pt idx="3253">1.5843499999999999</cx:pt>
          <cx:pt idx="3254">1.4371389999999999</cx:pt>
          <cx:pt idx="3255">1.323475</cx:pt>
          <cx:pt idx="3256">0.91676800000000003</cx:pt>
          <cx:pt idx="3257">0.24110589999999998</cx:pt>
          <cx:pt idx="3258">0</cx:pt>
          <cx:pt idx="3259">0</cx:pt>
          <cx:pt idx="3260">0</cx:pt>
          <cx:pt idx="3261">0</cx:pt>
          <cx:pt idx="3262">0</cx:pt>
          <cx:pt idx="3263">0</cx:pt>
          <cx:pt idx="3264">0.1255126</cx:pt>
          <cx:pt idx="3265">0.29466740000000002</cx:pt>
          <cx:pt idx="3266">0.47339680000000001</cx:pt>
          <cx:pt idx="3267">0.77038830000000003</cx:pt>
          <cx:pt idx="3268">0.84066180000000001</cx:pt>
          <cx:pt idx="3269">0.7648353</cx:pt>
          <cx:pt idx="3270">0.97546499999999992</cx:pt>
          <cx:pt idx="3271">1.3770789999999999</cx:pt>
          <cx:pt idx="3272">2</cx:pt>
          <cx:pt idx="3273">1.9645973989999999</cx:pt>
          <cx:pt idx="3274">1.9288640000000001</cx:pt>
          <cx:pt idx="3275">1.4591589999999999</cx:pt>
          <cx:pt idx="3276">0.69565659999999996</cx:pt>
          <cx:pt idx="3277">0.083080070000000006</cx:pt>
          <cx:pt idx="3278">0.079783919499999995</cx:pt>
          <cx:pt idx="3279">0</cx:pt>
          <cx:pt idx="3280">0.0051950280199999999</cx:pt>
          <cx:pt idx="3281">0.019587229180000002</cx:pt>
          <cx:pt idx="3282">0.020565280000000002</cx:pt>
          <cx:pt idx="3283">0.23268830000000001</cx:pt>
          <cx:pt idx="3284">0.01573956</cx:pt>
          <cx:pt idx="3285">0</cx:pt>
          <cx:pt idx="3286">0.18889105310000001</cx:pt>
          <cx:pt idx="3287">0.2791767</cx:pt>
          <cx:pt idx="3288">0.71832980000000002</cx:pt>
          <cx:pt idx="3289">0.85677099999999995</cx:pt>
          <cx:pt idx="3290">0.8766467</cx:pt>
          <cx:pt idx="3291">0.80076150000000001</cx:pt>
          <cx:pt idx="3292">0.63424880000000006</cx:pt>
          <cx:pt idx="3293">0</cx:pt>
          <cx:pt idx="3294">0.20211858429999999</cx:pt>
          <cx:pt idx="3295">0.29586259999999998</cx:pt>
          <cx:pt idx="3296">0.70467609999999992</cx:pt>
          <cx:pt idx="3297">0.88964699999999997</cx:pt>
          <cx:pt idx="3298">0.89087887700000001</cx:pt>
          <cx:pt idx="3299">0.92870940000000002</cx:pt>
          <cx:pt idx="3300">0.77267459999999999</cx:pt>
          <cx:pt idx="3301">0.58276320000000004</cx:pt>
          <cx:pt idx="3302">0.5781829624</cx:pt>
          <cx:pt idx="3303">0.46737620000000002</cx:pt>
          <cx:pt idx="3304">0.61945090000000003</cx:pt>
          <cx:pt idx="3305">0.95852649999999995</cx:pt>
          <cx:pt idx="3306">1.204618</cx:pt>
          <cx:pt idx="3307">1.315831</cx:pt>
          <cx:pt idx="3308">1.869634</cx:pt>
          <cx:pt idx="3309">2</cx:pt>
          <cx:pt idx="3310">1.7507400000000002</cx:pt>
          <cx:pt idx="3311">1.3654789999999999</cx:pt>
          <cx:pt idx="3312">0.71426500000000004</cx:pt>
          <cx:pt idx="3313">0.49758429999999998</cx:pt>
          <cx:pt idx="3314">0.46766360000000001</cx:pt>
          <cx:pt idx="3315">0.46412855069999998</cx:pt>
          <cx:pt idx="3316">0.28384120000000002</cx:pt>
          <cx:pt idx="3317">0.46348754079999999</cx:pt>
          <cx:pt idx="3318">0.80612660000000003</cx:pt>
          <cx:pt idx="3319">0.86077520000000007</cx:pt>
          <cx:pt idx="3320">1.057005</cx:pt>
          <cx:pt idx="3321">1.2362709999999999</cx:pt>
          <cx:pt idx="3322">1.1388450000000001</cx:pt>
          <cx:pt idx="3323">0.87774039999999998</cx:pt>
          <cx:pt idx="3324">0.81926180000000004</cx:pt>
          <cx:pt idx="3325">0.82094007410000003</cx:pt>
          <cx:pt idx="3326">0.90450969999999997</cx:pt>
          <cx:pt idx="3327">0.86637789999999992</cx:pt>
          <cx:pt idx="3328">0.89584320000000006</cx:pt>
          <cx:pt idx="3329">1.04359</cx:pt>
          <cx:pt idx="3330">1.2759720000000001</cx:pt>
          <cx:pt idx="3331">1.3821299999999999</cx:pt>
          <cx:pt idx="3332">1.1448069999999999</cx:pt>
          <cx:pt idx="3333">1.1455275330000001</cx:pt>
          <cx:pt idx="3334">1.238251</cx:pt>
          <cx:pt idx="3335">1.2496028109999999</cx:pt>
          <cx:pt idx="3336">1.9579920000000002</cx:pt>
          <cx:pt idx="3337">2</cx:pt>
          <cx:pt idx="3338">1.983599235</cx:pt>
          <cx:pt idx="3339">1.968688</cx:pt>
          <cx:pt idx="3340">1.8595439999999999</cx:pt>
          <cx:pt idx="3341">0.75438810000000001</cx:pt>
          <cx:pt idx="3342">0.52794180000000002</cx:pt>
          <cx:pt idx="3343">0.4224736</cx:pt>
          <cx:pt idx="3344">0.22291149999999998</cx:pt>
          <cx:pt idx="3345">0.034187099999999998</cx:pt>
          <cx:pt idx="3346">0</cx:pt>
          <cx:pt idx="3347">0.054326530000000005</cx:pt>
          <cx:pt idx="3348">0.2158987</cx:pt>
          <cx:pt idx="3349">0.2506916092</cx:pt>
          <cx:pt idx="3350">0.26148290000000002</cx:pt>
          <cx:pt idx="3351">0.12520896880000001</cx:pt>
          <cx:pt idx="3352">0</cx:pt>
          <cx:pt idx="3353">0</cx:pt>
          <cx:pt idx="3354">0</cx:pt>
          <cx:pt idx="3355">0</cx:pt>
          <cx:pt idx="3356">0.13050819999999999</cx:pt>
          <cx:pt idx="3357">0.77564820000000001</cx:pt>
          <cx:pt idx="3358">0.97555510000000001</cx:pt>
          <cx:pt idx="3359">1.256114</cx:pt>
          <cx:pt idx="3360">1.4029419999999999</cx:pt>
          <cx:pt idx="3361">1.6447450000000001</cx:pt>
          <cx:pt idx="3362">1.9501580000000001</cx:pt>
          <cx:pt idx="3363">2</cx:pt>
          <cx:pt idx="3364">1.90727212</cx:pt>
          <cx:pt idx="3365">1.875482791</cx:pt>
          <cx:pt idx="3366">1.8448900000000001</cx:pt>
          <cx:pt idx="3367">1.7279550000000001</cx:pt>
          <cx:pt idx="3368">1.5405709999999999</cx:pt>
          <cx:pt idx="3369">1.444218</cx:pt>
          <cx:pt idx="3370">0.81138440000000001</cx:pt>
          <cx:pt idx="3371">0.36749160000000003</cx:pt>
          <cx:pt idx="3372">0.33302490000000001</cx:pt>
          <cx:pt idx="3373">0.031824249999999998</cx:pt>
          <cx:pt idx="3374">0</cx:pt>
          <cx:pt idx="3375">0.01705753942</cx:pt>
          <cx:pt idx="3376">0.032475239999999995</cx:pt>
          <cx:pt idx="3377">0.4463821</cx:pt>
          <cx:pt idx="3378">0.60734139999999992</cx:pt>
          <cx:pt idx="3379">0.51732210000000001</cx:pt>
          <cx:pt idx="3380">0.62887949999999992</cx:pt>
          <cx:pt idx="3381">0.72216920000000007</cx:pt>
          <cx:pt idx="3382">0.96282330000000005</cx:pt>
          <cx:pt idx="3383">1.2903340000000001</cx:pt>
          <cx:pt idx="3384">1.478675</cx:pt>
          <cx:pt idx="3385">1.6295630000000001</cx:pt>
          <cx:pt idx="3386">1.774246</cx:pt>
          <cx:pt idx="3387">2</cx:pt>
          <cx:pt idx="3388">2</cx:pt>
          <cx:pt idx="3389">2</cx:pt>
          <cx:pt idx="3390">2</cx:pt>
          <cx:pt idx="3391">1.7519960000000001</cx:pt>
          <cx:pt idx="3392">1.340133486</cx:pt>
          <cx:pt idx="3393">0.96749600000000002</cx:pt>
          <cx:pt idx="3394">0.71355310000000005</cx:pt>
          <cx:pt idx="3395">0.054090119999999998</cx:pt>
          <cx:pt idx="3396">0</cx:pt>
          <cx:pt idx="3397">0.098654734029999996</cx:pt>
          <cx:pt idx="3398">0.17210339999999999</cx:pt>
          <cx:pt idx="3399">0.1807116369</cx:pt>
          <cx:pt idx="3400">0.72211560000000008</cx:pt>
          <cx:pt idx="3401">1.361434</cx:pt>
          <cx:pt idx="3402">1.367155823</cx:pt>
          <cx:pt idx="3403">1.84012</cx:pt>
          <cx:pt idx="3404">2</cx:pt>
          <cx:pt idx="3405">1.9891220000000001</cx:pt>
          <cx:pt idx="3406">1.879518</cx:pt>
          <cx:pt idx="3407">1.495214</cx:pt>
          <cx:pt idx="3408">1.4119190000000001</cx:pt>
          <cx:pt idx="3409">1.3956819999999999</cx:pt>
          <cx:pt idx="3410">0.98395779999999999</cx:pt>
          <cx:pt idx="3411">0.89495720000000001</cx:pt>
          <cx:pt idx="3412">1.1579380000000001</cx:pt>
          <cx:pt idx="3413">1.1744049999999999</cx:pt>
          <cx:pt idx="3414">1.138294444</cx:pt>
          <cx:pt idx="3415">1.1049359999999999</cx:pt>
          <cx:pt idx="3416">0.99667209999999995</cx:pt>
          <cx:pt idx="3417">1.024489854</cx:pt>
          <cx:pt idx="3418">1.0505929999999999</cx:pt>
          <cx:pt idx="3419">1.0002719999999998</cx:pt>
          <cx:pt idx="3420">1.093148</cx:pt>
          <cx:pt idx="3421">1.2523839999999999</cx:pt>
          <cx:pt idx="3422">1.3597640000000002</cx:pt>
          <cx:pt idx="3423">1.1339109999999999</cx:pt>
          <cx:pt idx="3424">1.132531746</cx:pt>
          <cx:pt idx="3425">1.076217</cx:pt>
          <cx:pt idx="3426">0.9598145266</cx:pt>
          <cx:pt idx="3427">0.83607029999999993</cx:pt>
          <cx:pt idx="3428">0.94077259999999996</cx:pt>
          <cx:pt idx="3429">1.2598399999999998</cx:pt>
          <cx:pt idx="3430">1.492375</cx:pt>
          <cx:pt idx="3431">1.6367099999999999</cx:pt>
          <cx:pt idx="3432">1.5704570000000002</cx:pt>
          <cx:pt idx="3433">1.6653169999999999</cx:pt>
          <cx:pt idx="3434">1.738923</cx:pt>
          <cx:pt idx="3435">1.7189320000000001</cx:pt>
          <cx:pt idx="3436">1.4171950000000002</cx:pt>
          <cx:pt idx="3437">1.337577</cx:pt>
          <cx:pt idx="3438">1.4219440000000001</cx:pt>
          <cx:pt idx="3439">1.0930169999999999</cx:pt>
          <cx:pt idx="3440">0.95694979999999996</cx:pt>
          <cx:pt idx="3441">0.65685689999999997</cx:pt>
          <cx:pt idx="3442">0.65000559999999996</cx:pt>
          <cx:pt idx="3443">0.29892389999999996</cx:pt>
          <cx:pt idx="3444">0</cx:pt>
          <cx:pt idx="3445">0.137408</cx:pt>
          <cx:pt idx="3446">0.57942399999999994</cx:pt>
          <cx:pt idx="3447">0.66164630000000002</cx:pt>
          <cx:pt idx="3448">0.80326580000000003</cx:pt>
          <cx:pt idx="3449">1.0342310000000001</cx:pt>
          <cx:pt idx="3450">1.2524059999999999</cx:pt>
          <cx:pt idx="3451">1.5410069999999998</cx:pt>
          <cx:pt idx="3452">1.5780730000000001</cx:pt>
          <cx:pt idx="3453">1.430747</cx:pt>
          <cx:pt idx="3454">1.344082</cx:pt>
          <cx:pt idx="3455">1.4501249999999999</cx:pt>
          <cx:pt idx="3456">1.428223</cx:pt>
          <cx:pt idx="3457">1.3600559999999999</cx:pt>
          <cx:pt idx="3458">1.1010389999999999</cx:pt>
          <cx:pt idx="3459">1.1353520000000001</cx:pt>
          <cx:pt idx="3460">1.0224550000000001</cx:pt>
          <cx:pt idx="3461">1.239595</cx:pt>
          <cx:pt idx="3462">1.3359479999999999</cx:pt>
          <cx:pt idx="3463">1.5002019999999998</cx:pt>
          <cx:pt idx="3464">1.5712409999999999</cx:pt>
          <cx:pt idx="3465">1.215033</cx:pt>
          <cx:pt idx="3466">1.089728</cx:pt>
          <cx:pt idx="3467">1.13751</cx:pt>
          <cx:pt idx="3468">1.57585</cx:pt>
          <cx:pt idx="3469">1.5787231019999999</cx:pt>
          <cx:pt idx="3470">1.6482300000000001</cx:pt>
          <cx:pt idx="3471">1.5402340000000001</cx:pt>
          <cx:pt idx="3472">1.5395098270000001</cx:pt>
          <cx:pt idx="3473">1.4469640000000001</cx:pt>
          <cx:pt idx="3474">1.3808639999999999</cx:pt>
          <cx:pt idx="3475">1.3762710460000001</cx:pt>
          <cx:pt idx="3476">1.235223</cx:pt>
          <cx:pt idx="3477">0.86313609999999996</cx:pt>
          <cx:pt idx="3478">0.33625509999999997</cx:pt>
          <cx:pt idx="3479">0.1527008</cx:pt>
          <cx:pt idx="3480">0</cx:pt>
          <cx:pt idx="3481">0.0046207087399999999</cx:pt>
          <cx:pt idx="3482">0.011400850000000001</cx:pt>
          <cx:pt idx="3483">0.48478160000000003</cx:pt>
          <cx:pt idx="3484">0.50358265300000005</cx:pt>
          <cx:pt idx="3485">1.0762690000000001</cx:pt>
          <cx:pt idx="3486">1.474359</cx:pt>
          <cx:pt idx="3487">1.7576750000000001</cx:pt>
          <cx:pt idx="3488">1.760559032</cx:pt>
          <cx:pt idx="3489">1.9405789999999998</cx:pt>
          <cx:pt idx="3490">1.942453862</cx:pt>
          <cx:pt idx="3491">2</cx:pt>
          <cx:pt idx="3492">1.8474919999999999</cx:pt>
          <cx:pt idx="3493">1.6144970000000001</cx:pt>
          <cx:pt idx="3494">1.4893829999999999</cx:pt>
          <cx:pt idx="3495">1.7108889999999999</cx:pt>
          <cx:pt idx="3496">2</cx:pt>
          <cx:pt idx="3497">1.996334104</cx:pt>
          <cx:pt idx="3498">1.9943954389999998</cx:pt>
          <cx:pt idx="3499">1.9924282090000001</cx:pt>
          <cx:pt idx="3500">1.988520361</cx:pt>
          <cx:pt idx="3501">1.9882785319999998</cx:pt>
          <cx:pt idx="3502">1.9870712150000001</cx:pt>
          <cx:pt idx="3503">1.9821750520000001</cx:pt>
          <cx:pt idx="3504">1.9811980900000001</cx:pt>
          <cx:pt idx="3505">1.9809524769999998</cx:pt>
          <cx:pt idx="3506">1.9807220000000001</cx:pt>
          <cx:pt idx="3507">1.3096709999999998</cx:pt>
          <cx:pt idx="3508">1.219867</cx:pt>
          <cx:pt idx="3509">1.2754730000000001</cx:pt>
          <cx:pt idx="3510">1.527922</cx:pt>
          <cx:pt idx="3511">1.5482579999999999</cx:pt>
          <cx:pt idx="3512">1.4222489999999999</cx:pt>
          <cx:pt idx="3513">1.094854</cx:pt>
          <cx:pt idx="3514">1.0275669999999999</cx:pt>
          <cx:pt idx="3515">0.76592669999999996</cx:pt>
          <cx:pt idx="3516">0.45162860000000005</cx:pt>
          <cx:pt idx="3517">0.35539000000000004</cx:pt>
          <cx:pt idx="3518">0.4675532</cx:pt>
          <cx:pt idx="3519">0.25202140000000001</cx:pt>
          <cx:pt idx="3520">0.26374009999999998</cx:pt>
          <cx:pt idx="3521">0.43032910000000002</cx:pt>
          <cx:pt idx="3522">0.2955643</cx:pt>
          <cx:pt idx="3523">0.32677970000000001</cx:pt>
          <cx:pt idx="3524">0.1941977</cx:pt>
          <cx:pt idx="3525">0.1065374</cx:pt>
          <cx:pt idx="3526">0.25813469999999999</cx:pt>
          <cx:pt idx="3527">0.12550303839999999</cx:pt>
          <cx:pt idx="3528">0</cx:pt>
          <cx:pt idx="3529">0</cx:pt>
          <cx:pt idx="3530">0</cx:pt>
          <cx:pt idx="3531">0</cx:pt>
          <cx:pt idx="3532">0.03542080047</cx:pt>
          <cx:pt idx="3533">0.058187514069999995</cx:pt>
          <cx:pt idx="3534">0.096778690000000001</cx:pt>
          <cx:pt idx="3535">0.26601019999999997</cx:pt>
          <cx:pt idx="3536">0.57992510000000008</cx:pt>
          <cx:pt idx="3537">0.93420460000000005</cx:pt>
          <cx:pt idx="3538">0.97510509999999995</cx:pt>
          <cx:pt idx="3539">0.84128467009999996</cx:pt>
          <cx:pt idx="3540">0.75378670000000003</cx:pt>
          <cx:pt idx="3541">0.65080789999999988</cx:pt>
          <cx:pt idx="3542">0.44986710000000002</cx:pt>
          <cx:pt idx="3543">0</cx:pt>
          <cx:pt idx="3544">0</cx:pt>
          <cx:pt idx="3545">0</cx:pt>
          <cx:pt idx="3546">0</cx:pt>
          <cx:pt idx="3547">0</cx:pt>
          <cx:pt idx="3548">0</cx:pt>
          <cx:pt idx="3549">0.1965886</cx:pt>
          <cx:pt idx="3550">0.43961719999999999</cx:pt>
          <cx:pt idx="3551">0.59824049999999995</cx:pt>
          <cx:pt idx="3552">0.65472759999999997</cx:pt>
          <cx:pt idx="3553">0.59701500000000007</cx:pt>
          <cx:pt idx="3554">0.71596349999999997</cx:pt>
          <cx:pt idx="3555">0.6589994213999999</cx:pt>
          <cx:pt idx="3556">0.55351039999999996</cx:pt>
          <cx:pt idx="3557">0.62248219999999999</cx:pt>
          <cx:pt idx="3558">0.52593699999999999</cx:pt>
          <cx:pt idx="3559">0.25113610000000003</cx:pt>
          <cx:pt idx="3560">0.16952660000000003</cx:pt>
          <cx:pt idx="3561">0.23593240000000001</cx:pt>
          <cx:pt idx="3562">0.11874570000000001</cx:pt>
          <cx:pt idx="3563">0</cx:pt>
          <cx:pt idx="3564">0</cx:pt>
          <cx:pt idx="3565">0</cx:pt>
          <cx:pt idx="3566">0</cx:pt>
          <cx:pt idx="3567">0.025489767819999998</cx:pt>
          <cx:pt idx="3568">0.077266669999999996</cx:pt>
          <cx:pt idx="3569">0.413968</cx:pt>
          <cx:pt idx="3570">0.60793900000000001</cx:pt>
          <cx:pt idx="3571">0.58296990000000004</cx:pt>
          <cx:pt idx="3572">0.98370250000000004</cx:pt>
          <cx:pt idx="3573">0.98868565110000006</cx:pt>
          <cx:pt idx="3574">1.299571</cx:pt>
          <cx:pt idx="3575">1.3064545839999999</cx:pt>
          <cx:pt idx="3576">1.741104</cx:pt>
          <cx:pt idx="3577">1.9961959999999999</cx:pt>
          <cx:pt idx="3578">1.9956943620000001</cx:pt>
          <cx:pt idx="3579">1.777585</cx:pt>
          <cx:pt idx="3580">1.5061410000000002</cx:pt>
          <cx:pt idx="3581">1.3158459999999998</cx:pt>
          <cx:pt idx="3582">0.96057100000000006</cx:pt>
          <cx:pt idx="3583">0.90588390000000008</cx:pt>
          <cx:pt idx="3584">0.42955399999999999</cx:pt>
          <cx:pt idx="3585">0.061909249999999999</cx:pt>
          <cx:pt idx="3586">0.059925376599999997</cx:pt>
          <cx:pt idx="3587">0</cx:pt>
          <cx:pt idx="3588">0</cx:pt>
          <cx:pt idx="3589">0</cx:pt>
          <cx:pt idx="3590">0</cx:pt>
          <cx:pt idx="3591">0</cx:pt>
          <cx:pt idx="3592">0</cx:pt>
          <cx:pt idx="3593">0.12427784629999999</cx:pt>
          <cx:pt idx="3594">0.16230236749999999</cx:pt>
          <cx:pt idx="3595">0.26158999999999999</cx:pt>
          <cx:pt idx="3596">0.57171379999999994</cx:pt>
          <cx:pt idx="3597">0.57129865530000001</cx:pt>
          <cx:pt idx="3598">0.52070300000000003</cx:pt>
          <cx:pt idx="3599">0.2700919</cx:pt>
          <cx:pt idx="3600">0.26594693880000003</cx:pt>
          <cx:pt idx="3601">0</cx:pt>
          <cx:pt idx="3602">0.033685221040000005</cx:pt>
          <cx:pt idx="3603">0.063938965769999995</cx:pt>
          <cx:pt idx="3604">0.07138448</cx:pt>
          <cx:pt idx="3605">0</cx:pt>
          <cx:pt idx="3606">0</cx:pt>
          <cx:pt idx="3607">0</cx:pt>
          <cx:pt idx="3608">0</cx:pt>
          <cx:pt idx="3609">0</cx:pt>
          <cx:pt idx="3610">0</cx:pt>
          <cx:pt idx="3611">0</cx:pt>
          <cx:pt idx="3612">0</cx:pt>
          <cx:pt idx="3613">0</cx:pt>
          <cx:pt idx="3614">0</cx:pt>
          <cx:pt idx="3615">0</cx:pt>
          <cx:pt idx="3616">0</cx:pt>
          <cx:pt idx="3617">0</cx:pt>
          <cx:pt idx="3618">0.53673990000000005</cx:pt>
          <cx:pt idx="3619">0.71573710000000001</cx:pt>
          <cx:pt idx="3620">0.89707009999999998</cx:pt>
          <cx:pt idx="3621">1.1655660000000001</cx:pt>
          <cx:pt idx="3622">1.5279640000000001</cx:pt>
          <cx:pt idx="3623">1.7784599999999999</cx:pt>
          <cx:pt idx="3624">1.7802131639999998</cx:pt>
          <cx:pt idx="3625">1.929195</cx:pt>
          <cx:pt idx="3626">1.7666360000000001</cx:pt>
          <cx:pt idx="3627">1.7248929999999998</cx:pt>
          <cx:pt idx="3628">1.454067</cx:pt>
          <cx:pt idx="3629">1.2118800000000001</cx:pt>
          <cx:pt idx="3630">1.3591300000000002</cx:pt>
          <cx:pt idx="3631">1.495852</cx:pt>
          <cx:pt idx="3632">1.9999090000000002</cx:pt>
          <cx:pt idx="3633">1.8156919999999999</cx:pt>
          <cx:pt idx="3634">1.65343</cx:pt>
          <cx:pt idx="3635">1.6246309999999999</cx:pt>
          <cx:pt idx="3636">1.313836936</cx:pt>
          <cx:pt idx="3637">1.003196</cx:pt>
          <cx:pt idx="3638">0.58534930000000007</cx:pt>
          <cx:pt idx="3639">0.64279390000000003</cx:pt>
          <cx:pt idx="3640">0.77884789999999993</cx:pt>
          <cx:pt idx="3641">0.87513372570000003</cx:pt>
          <cx:pt idx="3642">0.92575269999999998</cx:pt>
          <cx:pt idx="3643">1.38127</cx:pt>
          <cx:pt idx="3644">1.859445</cx:pt>
          <cx:pt idx="3645">2</cx:pt>
          <cx:pt idx="3646">1.9124860000000001</cx:pt>
          <cx:pt idx="3647">1.7774529999999999</cx:pt>
          <cx:pt idx="3648">1.695112</cx:pt>
          <cx:pt idx="3649">1.706026</cx:pt>
          <cx:pt idx="3650">1.8715039999999998</cx:pt>
          <cx:pt idx="3651">1.8715890669999999</cx:pt>
          <cx:pt idx="3652">1.882549</cx:pt>
          <cx:pt idx="3653">1.996864</cx:pt>
          <cx:pt idx="3654">1.9882820280000002</cx:pt>
          <cx:pt idx="3655">1.9180067569999999</cx:pt>
          <cx:pt idx="3656">1.909289464</cx:pt>
          <cx:pt idx="3657">1.8394900000000001</cx:pt>
          <cx:pt idx="3658">1.838313106</cx:pt>
          <cx:pt idx="3659">1.5273750000000001</cx:pt>
          <cx:pt idx="3660">1.4337249999999999</cx:pt>
          <cx:pt idx="3661">1.3537999999999999</cx:pt>
          <cx:pt idx="3662">1.1638549999999999</cx:pt>
          <cx:pt idx="3663">0.99123251150000002</cx:pt>
          <cx:pt idx="3664">0.80903940000000008</cx:pt>
          <cx:pt idx="3665">0.81071914820000002</cx:pt>
          <cx:pt idx="3666">1.022043</cx:pt>
          <cx:pt idx="3667">1.077305</cx:pt>
          <cx:pt idx="3668">0.88264480000000001</cx:pt>
          <cx:pt idx="3669">0.97524956759999992</cx:pt>
          <cx:pt idx="3670">1.005968</cx:pt>
          <cx:pt idx="3671">1.1732750000000001</cx:pt>
          <cx:pt idx="3672">1.7349299999999999</cx:pt>
          <cx:pt idx="3673">1.90374</cx:pt>
          <cx:pt idx="3674">2</cx:pt>
          <cx:pt idx="3675">1.9751560000000001</cx:pt>
          <cx:pt idx="3676">1.788416</cx:pt>
          <cx:pt idx="3677">1.7056370000000001</cx:pt>
          <cx:pt idx="3678">1.822786</cx:pt>
          <cx:pt idx="3679">1.947594</cx:pt>
          <cx:pt idx="3680">2</cx:pt>
          <cx:pt idx="3681">1.979841467</cx:pt>
          <cx:pt idx="3682">1.959838191</cx:pt>
          <cx:pt idx="3683">1.8997582470000001</cx:pt>
          <cx:pt idx="3684">1.8899920000000001</cx:pt>
          <cx:pt idx="3685">1.77962</cx:pt>
          <cx:pt idx="3686">1.778964175</cx:pt>
          <cx:pt idx="3687">1.7651429999999999</cx:pt>
          <cx:pt idx="3688">1.6865209999999999</cx:pt>
          <cx:pt idx="3689">1.72072</cx:pt>
          <cx:pt idx="3690">1.836681</cx:pt>
          <cx:pt idx="3691">1.7480250000000002</cx:pt>
          <cx:pt idx="3692">1.7844450000000001</cx:pt>
          <cx:pt idx="3693">1.9647600000000001</cx:pt>
          <cx:pt idx="3694">1.9887239999999999</cx:pt>
          <cx:pt idx="3695">1.9275849999999999</cx:pt>
          <cx:pt idx="3696">1.76793</cx:pt>
          <cx:pt idx="3697">1.7706926340000002</cx:pt>
          <cx:pt idx="3698">1.9376589999999998</cx:pt>
          <cx:pt idx="3699">1.939508351</cx:pt>
          <cx:pt idx="3700">2</cx:pt>
          <cx:pt idx="3701">1.9744619999999999</cx:pt>
          <cx:pt idx="3702">1.7241569999999999</cx:pt>
          <cx:pt idx="3703">1.413268</cx:pt>
          <cx:pt idx="3704">1.3305099999999999</cx:pt>
          <cx:pt idx="3705">1.4445671379999998</cx:pt>
          <cx:pt idx="3706">1.4987079999999999</cx:pt>
          <cx:pt idx="3707">1.7826750000000002</cx:pt>
          <cx:pt idx="3708">1.7849546319999998</cx:pt>
          <cx:pt idx="3709">2</cx:pt>
          <cx:pt idx="3710">1.9599959999999998</cx:pt>
          <cx:pt idx="3711">1.495844</cx:pt>
          <cx:pt idx="3712">1.3249649999999999</cx:pt>
          <cx:pt idx="3713">1.3141659999999999</cx:pt>
          <cx:pt idx="3714">1.169138</cx:pt>
          <cx:pt idx="3715">0.84890370000000004</cx:pt>
          <cx:pt idx="3716">0.57824089999999995</cx:pt>
          <cx:pt idx="3717">0.5404468</cx:pt>
          <cx:pt idx="3718">0.27022341589999999</cx:pt>
          <cx:pt idx="3719">0</cx:pt>
          <cx:pt idx="3720">0.012318098539999999</cx:pt>
          <cx:pt idx="3721">0.029873460000000001</cx:pt>
          <cx:pt idx="3722">0.024703339999999997</cx:pt>
          <cx:pt idx="3723">0.024510052039999997</cx:pt>
          <cx:pt idx="3724">0.012058621490000001</cx:pt>
          <cx:pt idx="3725">0</cx:pt>
          <cx:pt idx="3726">0.095842179999999999</cx:pt>
          <cx:pt idx="3727">0.37896030000000003</cx:pt>
          <cx:pt idx="3728">0.26615509999999998</cx:pt>
          <cx:pt idx="3729">0</cx:pt>
          <cx:pt idx="3730">0.057548458240000003</cx:pt>
          <cx:pt idx="3731">0.079805130000000002</cx:pt>
          <cx:pt idx="3732">0.093633045070000004</cx:pt>
          <cx:pt idx="3733">0.45032200000000006</cx:pt>
          <cx:pt idx="3734">0.63586779999999998</cx:pt>
          <cx:pt idx="3735">0.61610432110000002</cx:pt>
          <cx:pt idx="3736">0.57733750000000006</cx:pt>
          <cx:pt idx="3737">0.4614528</cx:pt>
          <cx:pt idx="3738">0.51525532929999995</cx:pt>
          <cx:pt idx="3739">0.56623159999999995</cx:pt>
          <cx:pt idx="3740">0.32543089999999997</cx:pt>
          <cx:pt idx="3741">0</cx:pt>
          <cx:pt idx="3742">0.024579314550000002</cx:pt>
          <cx:pt idx="3743">0.032731596459999998</cx:pt>
          <cx:pt idx="3744">0.18786580759999999</cx:pt>
          <cx:pt idx="3745">0.20423160580000002</cx:pt>
          <cx:pt idx="3746">0.2449277</cx:pt>
          <cx:pt idx="3747">0.25215712600000001</cx:pt>
          <cx:pt idx="3748">0.70318150000000001</cx:pt>
          <cx:pt idx="3749">0.71087602239999992</cx:pt>
          <cx:pt idx="3750">0.94329960000000002</cx:pt>
          <cx:pt idx="3751">1.086911</cx:pt>
          <cx:pt idx="3752">1.0547420000000001</cx:pt>
          <cx:pt idx="3753">1.3361050000000001</cx:pt>
          <cx:pt idx="3754">1.3553639999999998</cx:pt>
          <cx:pt idx="3755">1.1880470000000001</cx:pt>
          <cx:pt idx="3756">1.324803</cx:pt>
          <cx:pt idx="3757">1.3265376119999999</cx:pt>
          <cx:pt idx="3758">1.431373</cx:pt>
          <cx:pt idx="3759">1.759827</cx:pt>
          <cx:pt idx="3760">2</cx:pt>
          <cx:pt idx="3761">1.9915379450000001</cx:pt>
          <cx:pt idx="3762">1.974872535</cx:pt>
          <cx:pt idx="3763">1.9584700000000002</cx:pt>
          <cx:pt idx="3764">0.97475200000000006</cx:pt>
          <cx:pt idx="3765">0.62039599999999995</cx:pt>
          <cx:pt idx="3766">0.1503379</cx:pt>
          <cx:pt idx="3767">0</cx:pt>
          <cx:pt idx="3768">0</cx:pt>
          <cx:pt idx="3769">0</cx:pt>
          <cx:pt idx="3770">0</cx:pt>
          <cx:pt idx="3771">0</cx:pt>
          <cx:pt idx="3772">0</cx:pt>
          <cx:pt idx="3773">0.119257</cx:pt>
          <cx:pt idx="3774">0.34191180000000004</cx:pt>
          <cx:pt idx="3775">0.64323869999999994</cx:pt>
          <cx:pt idx="3776">0.85612799999999989</cx:pt>
          <cx:pt idx="3777">1.2496989999999999</cx:pt>
          <cx:pt idx="3778">1.147559</cx:pt>
          <cx:pt idx="3779">0</cx:pt>
          <cx:pt idx="3780">0</cx:pt>
          <cx:pt idx="3781">0</cx:pt>
          <cx:pt idx="3782">0.096411603319999997</cx:pt>
          <cx:pt idx="3783">0.1158212</cx:pt>
          <cx:pt idx="3784">0.28244849999999999</cx:pt>
          <cx:pt idx="3785">0.58805320000000005</cx:pt>
          <cx:pt idx="3786">0.81817640000000003</cx:pt>
          <cx:pt idx="3787">1.015155714</cx:pt>
          <cx:pt idx="3788">1.204730498</cx:pt>
          <cx:pt idx="3789">1.5853039999999998</cx:pt>
          <cx:pt idx="3790">2</cx:pt>
          <cx:pt idx="3791">2</cx:pt>
          <cx:pt idx="3792">2</cx:pt>
          <cx:pt idx="3793">1.7423029999999999</cx:pt>
          <cx:pt idx="3794">1.7385813289999998</cx:pt>
          <cx:pt idx="3795">1.026905</cx:pt>
          <cx:pt idx="3796">0.38471369999999999</cx:pt>
          <cx:pt idx="3797">0</cx:pt>
          <cx:pt idx="3798">0</cx:pt>
          <cx:pt idx="3799">0</cx:pt>
          <cx:pt idx="3800">0</cx:pt>
          <cx:pt idx="3801">0</cx:pt>
          <cx:pt idx="3802">0</cx:pt>
          <cx:pt idx="3803">0</cx:pt>
          <cx:pt idx="3804">0</cx:pt>
          <cx:pt idx="3805">0</cx:pt>
          <cx:pt idx="3806">0.025755788540000001</cx:pt>
          <cx:pt idx="3807">0.1535774</cx:pt>
          <cx:pt idx="3808">0.2026733</cx:pt>
          <cx:pt idx="3809">0.20387171859999997</cx:pt>
          <cx:pt idx="3810">0.52169514569999997</cx:pt>
          <cx:pt idx="3811">0.8357635000000001</cx:pt>
          <cx:pt idx="3812">0.8351554967</cx:pt>
          <cx:pt idx="3813">0.7778006999999999</cx:pt>
          <cx:pt idx="3814">0.65063680000000002</cx:pt>
          <cx:pt idx="3815">0.44274849999999999</cx:pt>
          <cx:pt idx="3816">0.26884479999999999</cx:pt>
          <cx:pt idx="3817">0.3427635</cx:pt>
          <cx:pt idx="3818">0.50820724279999996</cx:pt>
          <cx:pt idx="3819">0.67242729999999995</cx:pt>
          <cx:pt idx="3820">0.72327580000000002</cx:pt>
          <cx:pt idx="3821">0.5842986</cx:pt>
          <cx:pt idx="3822">0.65188624100000003</cx:pt>
          <cx:pt idx="3823">0.68438029999999994</cx:pt>
          <cx:pt idx="3824">0.93116180000000004</cx:pt>
          <cx:pt idx="3825">0.90887320000000005</cx:pt>
          <cx:pt idx="3826">0.79989999999999994</cx:pt>
          <cx:pt idx="3827">0.68347899999999995</cx:pt>
          <cx:pt idx="3828">0.66417550000000003</cx:pt>
          <cx:pt idx="3829">0.85049200000000003</cx:pt>
          <cx:pt idx="3830">1.1355310000000001</cx:pt>
          <cx:pt idx="3831">1.2936570000000001</cx:pt>
          <cx:pt idx="3832">1.2954288249999999</cx:pt>
          <cx:pt idx="3833">1.4073070000000001</cx:pt>
          <cx:pt idx="3834">1.3668279999999999</cx:pt>
          <cx:pt idx="3835">1.5072989999999999</cx:pt>
          <cx:pt idx="3836">1.6220079999999999</cx:pt>
          <cx:pt idx="3837">1.8460409999999998</cx:pt>
          <cx:pt idx="3838">1.9563120000000001</cx:pt>
          <cx:pt idx="3839">2</cx:pt>
          <cx:pt idx="3840">1.9383889999999999</cx:pt>
          <cx:pt idx="3841">1.443179</cx:pt>
          <cx:pt idx="3842">1.337003932</cx:pt>
          <cx:pt idx="3843">1.2678610000000001</cx:pt>
          <cx:pt idx="3844">1.148415</cx:pt>
          <cx:pt idx="3845">1.264453</cx:pt>
          <cx:pt idx="3846">1.4583470000000001</cx:pt>
          <cx:pt idx="3847">1.5463900000000002</cx:pt>
          <cx:pt idx="3848">1.611877</cx:pt>
          <cx:pt idx="3849">1.5944139999999998</cx:pt>
          <cx:pt idx="3850">0.96527699999999994</cx:pt>
          <cx:pt idx="3851">0.59177290000000005</cx:pt>
          <cx:pt idx="3852">0.49400250000000001</cx:pt>
          <cx:pt idx="3853">0.58292670000000002</cx:pt>
          <cx:pt idx="3854">0.78811819999999999</cx:pt>
          <cx:pt idx="3855">0.91168679999999991</cx:pt>
          <cx:pt idx="3856">0.85209789999999996</cx:pt>
          <cx:pt idx="3857">0.85220155590000002</cx:pt>
          <cx:pt idx="3858">0.87756479999999992</cx:pt>
          <cx:pt idx="3859">0.62952869999999994</cx:pt>
          <cx:pt idx="3860">0.42587550000000002</cx:pt>
          <cx:pt idx="3861">0.29999549999999997</cx:pt>
          <cx:pt idx="3862">0.29912584720000002</cx:pt>
          <cx:pt idx="3863">0.27089020000000003</cx:pt>
          <cx:pt idx="3864">0.2688223213</cx:pt>
          <cx:pt idx="3865">0</cx:pt>
          <cx:pt idx="3866">0.0057655872599999998</cx:pt>
          <cx:pt idx="3867">0.0070487487999999999</cx:pt>
          <cx:pt idx="3868">0.010887353779999999</cx:pt>
          <cx:pt idx="3869">0.012809216199999999</cx:pt>
          <cx:pt idx="3870">0.01409717756</cx:pt>
          <cx:pt idx="3871">0.015349939999999999</cx:pt>
          <cx:pt idx="3872">0.38716900000000004</cx:pt>
          <cx:pt idx="3873">0.39910173770000001</cx:pt>
          <cx:pt idx="3874">1.3059889999999998</cx:pt>
          <cx:pt idx="3875">1.5788489999999999</cx:pt>
          <cx:pt idx="3876">2</cx:pt>
          <cx:pt idx="3877">1.982191842</cx:pt>
          <cx:pt idx="3878">1.964404</cx:pt>
          <cx:pt idx="3879">1.7214130000000001</cx:pt>
          <cx:pt idx="3880">1.285563</cx:pt>
          <cx:pt idx="3881">1.166984</cx:pt>
          <cx:pt idx="3882">1.1243129999999999</cx:pt>
          <cx:pt idx="3883">1.237249</cx:pt>
          <cx:pt idx="3884">0.55733549999999998</cx:pt>
          <cx:pt idx="3885">0.26413880000000001</cx:pt>
          <cx:pt idx="3886">0.076027159999999996</cx:pt>
          <cx:pt idx="3887">0</cx:pt>
          <cx:pt idx="3888">0.14295559999999999</cx:pt>
          <cx:pt idx="3889">0.22318639999999998</cx:pt>
          <cx:pt idx="3890">0.16724900000000001</cx:pt>
          <cx:pt idx="3891">0.21523209999999998</cx:pt>
          <cx:pt idx="3892">0.29163329999999998</cx:pt>
          <cx:pt idx="3893">0.12707389999999999</cx:pt>
          <cx:pt idx="3894">0.16563839999999999</cx:pt>
          <cx:pt idx="3895">0.34900120000000001</cx:pt>
          <cx:pt idx="3896">0.46807580000000004</cx:pt>
          <cx:pt idx="3897">0.2917302</cx:pt>
          <cx:pt idx="3898">0.28793039449999996</cx:pt>
          <cx:pt idx="3899">0.1665778</cx:pt>
          <cx:pt idx="3900">0.1475062</cx:pt>
          <cx:pt idx="3901">0.34756629999999999</cx:pt>
          <cx:pt idx="3902">0.7986588</cx:pt>
          <cx:pt idx="3903">0.81112140600000004</cx:pt>
          <cx:pt idx="3904">1.130037</cx:pt>
          <cx:pt idx="3905">1.382293</cx:pt>
          <cx:pt idx="3906">1.383841876</cx:pt>
          <cx:pt idx="3907">1.4805219999999999</cx:pt>
          <cx:pt idx="3908">1.516918</cx:pt>
          <cx:pt idx="3909">1.362554</cx:pt>
          <cx:pt idx="3910">1.5031489999999998</cx:pt>
          <cx:pt idx="3911">1.9288130000000001</cx:pt>
          <cx:pt idx="3912">2</cx:pt>
          <cx:pt idx="3913">1.8977789999999999</cx:pt>
          <cx:pt idx="3914">1.8968037799999999</cx:pt>
          <cx:pt idx="3915">1.835931</cx:pt>
          <cx:pt idx="3916">2</cx:pt>
          <cx:pt idx="3917">2</cx:pt>
          <cx:pt idx="3918">2</cx:pt>
          <cx:pt idx="3919">2</cx:pt>
          <cx:pt idx="3920">2</cx:pt>
          <cx:pt idx="3921">2</cx:pt>
          <cx:pt idx="3922">2</cx:pt>
          <cx:pt idx="3923">2</cx:pt>
          <cx:pt idx="3924">1.5694779999999999</cx:pt>
          <cx:pt idx="3925">0.96700050000000004</cx:pt>
          <cx:pt idx="3926">0.51854359999999999</cx:pt>
          <cx:pt idx="3927">0</cx:pt>
          <cx:pt idx="3928">0</cx:pt>
          <cx:pt idx="3929">0</cx:pt>
          <cx:pt idx="3930">8.1903750000000003e-05</cx:pt>
          <cx:pt idx="3931">0.074065010000000001</cx:pt>
          <cx:pt idx="3932">0.72705580000000003</cx:pt>
          <cx:pt idx="3933">0.82297449999999994</cx:pt>
          <cx:pt idx="3934">0.82256468760000001</cx:pt>
          <cx:pt idx="3935">0.79595343760000004</cx:pt>
          <cx:pt idx="3936">0.74357699999999993</cx:pt>
          <cx:pt idx="3937">0.8813358</cx:pt>
          <cx:pt idx="3938">1.0981289999999999</cx:pt>
          <cx:pt idx="3939">1.1861729999999999</cx:pt>
          <cx:pt idx="3940">0.95153109999999996</cx:pt>
          <cx:pt idx="3941">0.89634609999999992</cx:pt>
          <cx:pt idx="3942">0.94364210000000004</cx:pt>
          <cx:pt idx="3943">1.3768790000000002</cx:pt>
          <cx:pt idx="3944">2</cx:pt>
          <cx:pt idx="3945">1.997408302</cx:pt>
          <cx:pt idx="3946">1.9818386430000001</cx:pt>
          <cx:pt idx="3947">1.9636578199999999</cx:pt>
          <cx:pt idx="3948">1.9584757210000001</cx:pt>
          <cx:pt idx="3949">1.9532520919999998</cx:pt>
          <cx:pt idx="3950">1.9248070000000002</cx:pt>
          <cx:pt idx="3951">1.9092131480000001</cx:pt>
          <cx:pt idx="3952">1.41516</cx:pt>
          <cx:pt idx="3953">1.0135080000000001</cx:pt>
          <cx:pt idx="3954">0.49500968849999999</cx:pt>
          <cx:pt idx="3955">0</cx:pt>
          <cx:pt idx="3956">0.0067219468100000006</cx:pt>
          <cx:pt idx="3957">0.014092899999999998</cx:pt>
          <cx:pt idx="3958">0.080307259999999991</cx:pt>
          <cx:pt idx="3959">0.27849070000000004</cx:pt>
          <cx:pt idx="3960">0.59745470000000001</cx:pt>
          <cx:pt idx="3961">0.54433770000000004</cx:pt>
          <cx:pt idx="3962">0.77208609999999989</cx:pt>
          <cx:pt idx="3963">1.2092000000000001</cx:pt>
          <cx:pt idx="3964">1.4945459999999999</cx:pt>
          <cx:pt idx="3965">1.5971986229999999</cx:pt>
          <cx:pt idx="3966">1.6929750000000001</cx:pt>
          <cx:pt idx="3967">1.6482480000000002</cx:pt>
          <cx:pt idx="3968">1.641456872</cx:pt>
          <cx:pt idx="3969">0.78042719999999999</cx:pt>
          <cx:pt idx="3970">0.73025000000000007</cx:pt>
          <cx:pt idx="3971">0.75148650000000006</cx:pt>
          <cx:pt idx="3972">0.84633520000000007</cx:pt>
          <cx:pt idx="3973">0.8443516605000001</cx:pt>
          <cx:pt idx="3974">0.5888601</cx:pt>
          <cx:pt idx="3975">0.44639329999999999</cx:pt>
          <cx:pt idx="3976">0.56179129999999999</cx:pt>
          <cx:pt idx="3977">0.46168480000000001</cx:pt>
          <cx:pt idx="3978">0.31810739999999998</cx:pt>
          <cx:pt idx="3979">0.10464359999999999</cx:pt>
          <cx:pt idx="3980">0</cx:pt>
          <cx:pt idx="3981">0.034408139819999996</cx:pt>
          <cx:pt idx="3982">0.20643160000000002</cx:pt>
          <cx:pt idx="3983">0.44681989999999999</cx:pt>
          <cx:pt idx="3984">0.5172852</cx:pt>
          <cx:pt idx="3985">0.48059730000000001</cx:pt>
          <cx:pt idx="3986">0.54805289999999995</cx:pt>
          <cx:pt idx="3987">0.66721530000000007</cx:pt>
          <cx:pt idx="3988">0.65484570000000009</cx:pt>
          <cx:pt idx="3989">0.8131602</cx:pt>
          <cx:pt idx="3990">0.72999629999999993</cx:pt>
          <cx:pt idx="3991">0.94553929999999997</cx:pt>
          <cx:pt idx="3992">1.168604</cx:pt>
          <cx:pt idx="3993">1.3015569999999999</cx:pt>
          <cx:pt idx="3994">1.281911</cx:pt>
          <cx:pt idx="3995">1.152393</cx:pt>
          <cx:pt idx="3996">1.1784910000000002</cx:pt>
          <cx:pt idx="3997">1.342978</cx:pt>
          <cx:pt idx="3998">1.3458256560000001</cx:pt>
          <cx:pt idx="3999">1.6928829999999999</cx:pt>
          <cx:pt idx="4000">2</cx:pt>
          <cx:pt idx="4001">2</cx:pt>
          <cx:pt idx="4002">2</cx:pt>
          <cx:pt idx="4003">1.961849</cx:pt>
          <cx:pt idx="4004">1.807871</cx:pt>
          <cx:pt idx="4005">2</cx:pt>
          <cx:pt idx="4006">1.9791377720000001</cx:pt>
          <cx:pt idx="4007">1.968711882</cx:pt>
          <cx:pt idx="4008">1.86424404</cx:pt>
          <cx:pt idx="4009">1.854142</cx:pt>
          <cx:pt idx="4010">1.8911230000000001</cx:pt>
          <cx:pt idx="4011">2</cx:pt>
          <cx:pt idx="4012">1.698976</cx:pt>
          <cx:pt idx="4013">1.5990770000000001</cx:pt>
          <cx:pt idx="4014">1.6039598369999999</cx:pt>
          <cx:pt idx="4015">1.9172499999999999</cx:pt>
          <cx:pt idx="4016">2</cx:pt>
          <cx:pt idx="4017">1.9727269999999999</cx:pt>
          <cx:pt idx="4018">1.6834610000000001</cx:pt>
          <cx:pt idx="4019">1.6167769999999999</cx:pt>
          <cx:pt idx="4020">1.1229720000000001</cx:pt>
          <cx:pt idx="4021">0.96036829999999995</cx:pt>
          <cx:pt idx="4022">0.8449433999999999</cx:pt>
          <cx:pt idx="4023">1.1095869999999999</cx:pt>
          <cx:pt idx="4024">1.154657</cx:pt>
          <cx:pt idx="4025">1.1079219999999999</cx:pt>
          <cx:pt idx="4026">1.111774</cx:pt>
          <cx:pt idx="4027">1.063965</cx:pt>
          <cx:pt idx="4028">1.165662</cx:pt>
          <cx:pt idx="4029">1.173083171</cx:pt>
          <cx:pt idx="4030">1.4139120000000001</cx:pt>
          <cx:pt idx="4031">1.4314609999999999</cx:pt>
          <cx:pt idx="4032">1.4275934880000001</cx:pt>
          <cx:pt idx="4033">0.95624140000000002</cx:pt>
          <cx:pt idx="4034">0.2690341</cx:pt>
          <cx:pt idx="4035">0.053617070000000003</cx:pt>
          <cx:pt idx="4036">0</cx:pt>
          <cx:pt idx="4037">0.019359671950000001</cx:pt>
          <cx:pt idx="4038">0.026984635259999997</cx:pt>
          <cx:pt idx="4039">0.03469810433</cx:pt>
          <cx:pt idx="4040">0.04238271263</cx:pt>
          <cx:pt idx="4041">0.057840434980000001</cx:pt>
          <cx:pt idx="4042">0.080861551759999997</cx:pt>
          <cx:pt idx="4043">0.08470385591</cx:pt>
          <cx:pt idx="4044">0.088575020369999993</cx:pt>
          <cx:pt idx="4045">0.1154980863</cx:pt>
          <cx:pt idx="4046">0.1192211</cx:pt>
          <cx:pt idx="4047">0.13360929999999999</cx:pt>
          <cx:pt idx="4048">0.061573740000000002</cx:pt>
          <cx:pt idx="4049">0.091981129999999994</cx:pt>
          <cx:pt idx="4050">0.051362209999999998</cx:pt>
          <cx:pt idx="4051">0.094762979999999997</cx:pt>
          <cx:pt idx="4052">0.63198169999999998</cx:pt>
          <cx:pt idx="4053">0.91931039999999997</cx:pt>
          <cx:pt idx="4054">1.4153399999999998</cx:pt>
          <cx:pt idx="4055">1.6256250000000001</cx:pt>
          <cx:pt idx="4056">1.626924563</cx:pt>
          <cx:pt idx="4057">1.7949879999999998</cx:pt>
          <cx:pt idx="4058">1.7514580000000002</cx:pt>
          <cx:pt idx="4059">1.4484190000000001</cx:pt>
          <cx:pt idx="4060">1.2118960000000001</cx:pt>
          <cx:pt idx="4061">1.0997129999999999</cx:pt>
          <cx:pt idx="4062">1.0985721990000001</cx:pt>
          <cx:pt idx="4063">1.0615330000000001</cx:pt>
          <cx:pt idx="4064">1.1361750000000002</cx:pt>
          <cx:pt idx="4065">0.95139529999999994</cx:pt>
          <cx:pt idx="4066">0.57666580000000001</cx:pt>
          <cx:pt idx="4067">0.088725450000000011</cx:pt>
          <cx:pt idx="4068">0</cx:pt>
          <cx:pt idx="4069">0.087076759999999989</cx:pt>
          <cx:pt idx="4070">0.089753771730000001</cx:pt>
          <cx:pt idx="4071">0.60572389999999998</cx:pt>
          <cx:pt idx="4072">0.69537549999999992</cx:pt>
          <cx:pt idx="4073">0.70847300000000002</cx:pt>
          <cx:pt idx="4074">0.84278520000000001</cx:pt>
          <cx:pt idx="4075">1.0439000000000001</cx:pt>
          <cx:pt idx="4076">1.1763710000000001</cx:pt>
          <cx:pt idx="4077">1.0536179999999999</cx:pt>
          <cx:pt idx="4078">0.68179900000000004</cx:pt>
          <cx:pt idx="4079">0.67431134290000005</cx:pt>
          <cx:pt idx="4080">0.1937731</cx:pt>
          <cx:pt idx="4081">0.02293303</cx:pt>
          <cx:pt idx="4082">0</cx:pt>
          <cx:pt idx="4083">0.058864496700000005</cx:pt>
          <cx:pt idx="4084">0.1159009</cx:pt>
          <cx:pt idx="4085">0.20848120000000001</cx:pt>
          <cx:pt idx="4086">0.0055150580000000006</cx:pt>
          <cx:pt idx="4087">0.1794182349</cx:pt>
          <cx:pt idx="4088">0.21110019999999999</cx:pt>
          <cx:pt idx="4089">0.28852879999999997</cx:pt>
          <cx:pt idx="4090">0.137742</cx:pt>
          <cx:pt idx="4091">0.033132229999999999</cx:pt>
          <cx:pt idx="4092">0</cx:pt>
          <cx:pt idx="4093">0.23533860000000001</cx:pt>
          <cx:pt idx="4094">0.30240449999999996</cx:pt>
          <cx:pt idx="4095">0.2588765529</cx:pt>
          <cx:pt idx="4096">0.2167</cx:pt>
          <cx:pt idx="4097">0.29143180000000002</cx:pt>
          <cx:pt idx="4098">0.44500469999999998</cx:pt>
          <cx:pt idx="4099">0.44674668930000005</cx:pt>
          <cx:pt idx="4100">0.91417720000000002</cx:pt>
          <cx:pt idx="4101">1.2024900000000001</cx:pt>
          <cx:pt idx="4102">1.4659909999999998</cx:pt>
          <cx:pt idx="4103">1.558584</cx:pt>
          <cx:pt idx="4104">1.857351</cx:pt>
          <cx:pt idx="4105">1.924574</cx:pt>
          <cx:pt idx="4106">1.56016</cx:pt>
          <cx:pt idx="4107">1.1439550000000001</cx:pt>
          <cx:pt idx="4108">0.7951815000000001</cx:pt>
          <cx:pt idx="4109">0.60950740000000003</cx:pt>
          <cx:pt idx="4110">0.57707030000000004</cx:pt>
          <cx:pt idx="4111">0.57770495529999999</cx:pt>
          <cx:pt idx="4112">0.74669399999999997</cx:pt>
          <cx:pt idx="4113">0.55540210000000001</cx:pt>
          <cx:pt idx="4114">0.43795409999999996</cx:pt>
          <cx:pt idx="4115">0.54487740000000007</cx:pt>
          <cx:pt idx="4116">0.8648342</cx:pt>
          <cx:pt idx="4117">1.1208119999999999</cx:pt>
          <cx:pt idx="4118">1.4655549999999999</cx:pt>
          <cx:pt idx="4119">1.729471</cx:pt>
          <cx:pt idx="4120">1.7973969999999999</cx:pt>
          <cx:pt idx="4121">1.6751549999999999</cx:pt>
          <cx:pt idx="4122">0.83418750000000008</cx:pt>
          <cx:pt idx="4123">0.83162958290000011</cx:pt>
          <cx:pt idx="4124">0.50166060000000001</cx:pt>
          <cx:pt idx="4125">0.091686989999999996</cx:pt>
          <cx:pt idx="4126">0</cx:pt>
          <cx:pt idx="4127">0</cx:pt>
          <cx:pt idx="4128">0</cx:pt>
          <cx:pt idx="4129">0</cx:pt>
          <cx:pt idx="4130">0</cx:pt>
          <cx:pt idx="4131">0.019686708719999998</cx:pt>
          <cx:pt idx="4132">0.06882982</cx:pt>
          <cx:pt idx="4133">0.38476999999999995</cx:pt>
          <cx:pt idx="4134">0.52798290000000003</cx:pt>
          <cx:pt idx="4135">0.52869388240000004</cx:pt>
          <cx:pt idx="4136">0.90509130000000004</cx:pt>
          <cx:pt idx="4137">0.91512846059999997</cx:pt>
          <cx:pt idx="4138">1.241012212</cx:pt>
          <cx:pt idx="4139">1.8850089999999999</cx:pt>
          <cx:pt idx="4140">2</cx:pt>
          <cx:pt idx="4141">2</cx:pt>
          <cx:pt idx="4142">2</cx:pt>
          <cx:pt idx="4143">2</cx:pt>
          <cx:pt idx="4144">2</cx:pt>
          <cx:pt idx="4145">2</cx:pt>
          <cx:pt idx="4146">2</cx:pt>
          <cx:pt idx="4147">2</cx:pt>
          <cx:pt idx="4148">1.880969154</cx:pt>
          <cx:pt idx="4149">1.6450260000000001</cx:pt>
          <cx:pt idx="4150">0.93467679999999997</cx:pt>
          <cx:pt idx="4151">0.27407419999999999</cx:pt>
          <cx:pt idx="4152">0</cx:pt>
          <cx:pt idx="4153">0.1812256538</cx:pt>
          <cx:pt idx="4154">0.20165849999999999</cx:pt>
          <cx:pt idx="4155">0.55746969999999996</cx:pt>
          <cx:pt idx="4156">0.81044629999999995</cx:pt>
          <cx:pt idx="4157">0.82051799999999997</cx:pt>
          <cx:pt idx="4158">0.61992626110000004</cx:pt>
          <cx:pt idx="4159">0.42085340000000004</cx:pt>
          <cx:pt idx="4160">0.2616735</cx:pt>
          <cx:pt idx="4161">0.17247460000000001</cx:pt>
          <cx:pt idx="4162">0</cx:pt>
          <cx:pt idx="4163">0.081230280000000002</cx:pt>
          <cx:pt idx="4164">0.046303950000000003</cx:pt>
          <cx:pt idx="4165">0.091556130000000013</cx:pt>
          <cx:pt idx="4166">0.22934640000000001</cx:pt>
          <cx:pt idx="4167">0.42071309999999995</cx:pt>
          <cx:pt idx="4168">0.52497830000000001</cx:pt>
          <cx:pt idx="4169">0.47322639999999999</cx:pt>
          <cx:pt idx="4170">0.27894910000000001</cx:pt>
          <cx:pt idx="4171">0</cx:pt>
          <cx:pt idx="4172">0.00045796884000000001</cx:pt>
          <cx:pt idx="4173">0.029960010229999997</cx:pt>
          <cx:pt idx="4174">0.16293340000000001</cx:pt>
          <cx:pt idx="4175">0.68073359999999994</cx:pt>
          <cx:pt idx="4176">0.93150959999999994</cx:pt>
          <cx:pt idx="4177">1.188142</cx:pt>
          <cx:pt idx="4178">1.2599590000000001</cx:pt>
          <cx:pt idx="4179">1.326173</cx:pt>
          <cx:pt idx="4180">1.6594820000000001</cx:pt>
          <cx:pt idx="4181">1.6281939999999999</cx:pt>
          <cx:pt idx="4182">1.6287700359999999</cx:pt>
          <cx:pt idx="4183">1.678785</cx:pt>
          <cx:pt idx="4184">1.9005300000000001</cx:pt>
          <cx:pt idx="4185">2</cx:pt>
          <cx:pt idx="4186">1.9013730000000002</cx:pt>
          <cx:pt idx="4187">1.6951879999999999</cx:pt>
          <cx:pt idx="4188">1.6190010000000001</cx:pt>
          <cx:pt idx="4189">1.69737</cx:pt>
          <cx:pt idx="4190">1.6671100000000001</cx:pt>
          <cx:pt idx="4191">1.526292</cx:pt>
          <cx:pt idx="4192">0.9130777000000001</cx:pt>
          <cx:pt idx="4193">0.52045029999999992</cx:pt>
          <cx:pt idx="4194">0.12352460000000001</cx:pt>
          <cx:pt idx="4195">0</cx:pt>
          <cx:pt idx="4196">0</cx:pt>
          <cx:pt idx="4197">0</cx:pt>
          <cx:pt idx="4198">0</cx:pt>
          <cx:pt idx="4199">0</cx:pt>
          <cx:pt idx="4200">0</cx:pt>
          <cx:pt idx="4201">0</cx:pt>
          <cx:pt idx="4202">0.23639623180000002</cx:pt>
          <cx:pt idx="4203">0.26559751510000001</cx:pt>
          <cx:pt idx="4204">0.32492873690000001</cx:pt>
          <cx:pt idx="4205">0.38333129999999999</cx:pt>
          <cx:pt idx="4206">0</cx:pt>
          <cx:pt idx="4207">0</cx:pt>
          <cx:pt idx="4208">0</cx:pt>
          <cx:pt idx="4209">0</cx:pt>
          <cx:pt idx="4210">0</cx:pt>
          <cx:pt idx="4211">0</cx:pt>
          <cx:pt idx="4212">0</cx:pt>
          <cx:pt idx="4213">0</cx:pt>
          <cx:pt idx="4214">0</cx:pt>
          <cx:pt idx="4215">0</cx:pt>
          <cx:pt idx="4216">0</cx:pt>
          <cx:pt idx="4217">0</cx:pt>
          <cx:pt idx="4218">0</cx:pt>
          <cx:pt idx="4219">0</cx:pt>
          <cx:pt idx="4220">0</cx:pt>
          <cx:pt idx="4221">0</cx:pt>
          <cx:pt idx="4222">0</cx:pt>
          <cx:pt idx="4223">0</cx:pt>
          <cx:pt idx="4224">0</cx:pt>
          <cx:pt idx="4225">0</cx:pt>
          <cx:pt idx="4226">0</cx:pt>
          <cx:pt idx="4227">0</cx:pt>
          <cx:pt idx="4228">0</cx:pt>
          <cx:pt idx="4229">0</cx:pt>
          <cx:pt idx="4230">0</cx:pt>
          <cx:pt idx="4231">0</cx:pt>
          <cx:pt idx="4232">0</cx:pt>
          <cx:pt idx="4233">0</cx:pt>
          <cx:pt idx="4234">0</cx:pt>
          <cx:pt idx="4235">0</cx:pt>
          <cx:pt idx="4236">0</cx:pt>
          <cx:pt idx="4237">0</cx:pt>
          <cx:pt idx="4238">0</cx:pt>
          <cx:pt idx="4239">0</cx:pt>
          <cx:pt idx="4240">0</cx:pt>
          <cx:pt idx="4241">0</cx:pt>
          <cx:pt idx="4242">0</cx:pt>
          <cx:pt idx="4243">0</cx:pt>
          <cx:pt idx="4244">0</cx:pt>
          <cx:pt idx="4245">0</cx:pt>
          <cx:pt idx="4246">0</cx:pt>
          <cx:pt idx="4247">0</cx:pt>
          <cx:pt idx="4248">0</cx:pt>
          <cx:pt idx="4249">0</cx:pt>
          <cx:pt idx="4250">0</cx:pt>
          <cx:pt idx="4251">0</cx:pt>
          <cx:pt idx="4252">0</cx:pt>
          <cx:pt idx="4253">0</cx:pt>
          <cx:pt idx="4254">0</cx:pt>
          <cx:pt idx="4255">0</cx:pt>
          <cx:pt idx="4256">0</cx:pt>
          <cx:pt idx="4257">0</cx:pt>
          <cx:pt idx="4258">0</cx:pt>
          <cx:pt idx="4259">0</cx:pt>
          <cx:pt idx="4260">0</cx:pt>
          <cx:pt idx="4261">0</cx:pt>
          <cx:pt idx="4262">0</cx:pt>
          <cx:pt idx="4263">0</cx:pt>
          <cx:pt idx="4264">0</cx:pt>
          <cx:pt idx="4265">0</cx:pt>
          <cx:pt idx="4266">0</cx:pt>
          <cx:pt idx="4267">0</cx:pt>
          <cx:pt idx="4268">0</cx:pt>
          <cx:pt idx="4269">0</cx:pt>
          <cx:pt idx="4270">0</cx:pt>
          <cx:pt idx="4271">0</cx:pt>
          <cx:pt idx="4272">0</cx:pt>
          <cx:pt idx="4273">0</cx:pt>
          <cx:pt idx="4274">0</cx:pt>
          <cx:pt idx="4275">0</cx:pt>
          <cx:pt idx="4276">0</cx:pt>
          <cx:pt idx="4277">0</cx:pt>
          <cx:pt idx="4278">0</cx:pt>
          <cx:pt idx="4279">0</cx:pt>
          <cx:pt idx="4280">0</cx:pt>
          <cx:pt idx="4281">0</cx:pt>
          <cx:pt idx="4282">0</cx:pt>
          <cx:pt idx="4283">0</cx:pt>
          <cx:pt idx="4284">0</cx:pt>
          <cx:pt idx="4285">0</cx:pt>
          <cx:pt idx="4286">0</cx:pt>
          <cx:pt idx="4287">0</cx:pt>
          <cx:pt idx="4288">0</cx:pt>
          <cx:pt idx="4289">0</cx:pt>
          <cx:pt idx="4290">0</cx:pt>
          <cx:pt idx="4291">0</cx:pt>
          <cx:pt idx="4292">0</cx:pt>
          <cx:pt idx="4293">0</cx:pt>
          <cx:pt idx="4294">0</cx:pt>
          <cx:pt idx="4295">0</cx:pt>
          <cx:pt idx="4296">0</cx:pt>
          <cx:pt idx="4297">0</cx:pt>
          <cx:pt idx="4298">0</cx:pt>
          <cx:pt idx="4299">0</cx:pt>
          <cx:pt idx="4300">0</cx:pt>
          <cx:pt idx="4301">0</cx:pt>
          <cx:pt idx="4302">0</cx:pt>
          <cx:pt idx="4303">0</cx:pt>
          <cx:pt idx="4304">0</cx:pt>
          <cx:pt idx="4305">0</cx:pt>
          <cx:pt idx="4306">0</cx:pt>
          <cx:pt idx="4307">0</cx:pt>
          <cx:pt idx="4308">0</cx:pt>
          <cx:pt idx="4309">0</cx:pt>
          <cx:pt idx="4310">0</cx:pt>
          <cx:pt idx="4311">0</cx:pt>
          <cx:pt idx="4312">0</cx:pt>
          <cx:pt idx="4313">0</cx:pt>
          <cx:pt idx="4314">0</cx:pt>
          <cx:pt idx="4315">0</cx:pt>
          <cx:pt idx="4316">0</cx:pt>
          <cx:pt idx="4317">0</cx:pt>
          <cx:pt idx="4318">0</cx:pt>
          <cx:pt idx="4319">0</cx:pt>
          <cx:pt idx="4320">0</cx:pt>
          <cx:pt idx="4321">0</cx:pt>
          <cx:pt idx="4322">0</cx:pt>
          <cx:pt idx="4323">0</cx:pt>
          <cx:pt idx="4324">0</cx:pt>
          <cx:pt idx="4325">0</cx:pt>
          <cx:pt idx="4326">0</cx:pt>
          <cx:pt idx="4327">0</cx:pt>
          <cx:pt idx="4328">0</cx:pt>
          <cx:pt idx="4329">0</cx:pt>
          <cx:pt idx="4330">0</cx:pt>
          <cx:pt idx="4331">0</cx:pt>
          <cx:pt idx="4332">0</cx:pt>
          <cx:pt idx="4333">0</cx:pt>
          <cx:pt idx="4334">0</cx:pt>
          <cx:pt idx="4335">0</cx:pt>
          <cx:pt idx="4336">0</cx:pt>
          <cx:pt idx="4337">0</cx:pt>
          <cx:pt idx="4338">0</cx:pt>
          <cx:pt idx="4339">0</cx:pt>
          <cx:pt idx="4340">0</cx:pt>
          <cx:pt idx="4341">0</cx:pt>
          <cx:pt idx="4342">0</cx:pt>
          <cx:pt idx="4343">0</cx:pt>
          <cx:pt idx="4344">0</cx:pt>
          <cx:pt idx="4345">0</cx:pt>
          <cx:pt idx="4346">0</cx:pt>
          <cx:pt idx="4347">0</cx:pt>
          <cx:pt idx="4348">0</cx:pt>
          <cx:pt idx="4349">0</cx:pt>
          <cx:pt idx="4350">0</cx:pt>
          <cx:pt idx="4351">0</cx:pt>
          <cx:pt idx="4352">0</cx:pt>
          <cx:pt idx="4353">0</cx:pt>
          <cx:pt idx="4354">0</cx:pt>
          <cx:pt idx="4355">0</cx:pt>
          <cx:pt idx="4356">0</cx:pt>
          <cx:pt idx="4357">0</cx:pt>
          <cx:pt idx="4358">0</cx:pt>
          <cx:pt idx="4359">0</cx:pt>
          <cx:pt idx="4360">0</cx:pt>
          <cx:pt idx="4361">0</cx:pt>
          <cx:pt idx="4362">0</cx:pt>
          <cx:pt idx="4363">0</cx:pt>
          <cx:pt idx="4364">0</cx:pt>
          <cx:pt idx="4365">0</cx:pt>
          <cx:pt idx="4366">0</cx:pt>
          <cx:pt idx="4367">0</cx:pt>
          <cx:pt idx="4368">0</cx:pt>
          <cx:pt idx="4369">0</cx:pt>
          <cx:pt idx="4370">0</cx:pt>
          <cx:pt idx="4371">0</cx:pt>
          <cx:pt idx="4372">0</cx:pt>
          <cx:pt idx="4373">0</cx:pt>
          <cx:pt idx="4374">0</cx:pt>
          <cx:pt idx="4375">0</cx:pt>
          <cx:pt idx="4376">0</cx:pt>
          <cx:pt idx="4377">0</cx:pt>
          <cx:pt idx="4378">0</cx:pt>
          <cx:pt idx="4379">0</cx:pt>
          <cx:pt idx="4380">0</cx:pt>
          <cx:pt idx="4381">0</cx:pt>
          <cx:pt idx="4382">0</cx:pt>
          <cx:pt idx="4383">0</cx:pt>
          <cx:pt idx="4384">0</cx:pt>
          <cx:pt idx="4385">0</cx:pt>
          <cx:pt idx="4386">0</cx:pt>
          <cx:pt idx="4387">0</cx:pt>
          <cx:pt idx="4388">0</cx:pt>
          <cx:pt idx="4389">0</cx:pt>
          <cx:pt idx="4390">0</cx:pt>
          <cx:pt idx="4391">0</cx:pt>
          <cx:pt idx="4392">0</cx:pt>
          <cx:pt idx="4393">0</cx:pt>
          <cx:pt idx="4394">0</cx:pt>
          <cx:pt idx="4395">0</cx:pt>
          <cx:pt idx="4396">0</cx:pt>
          <cx:pt idx="4397">0</cx:pt>
          <cx:pt idx="4398">0</cx:pt>
          <cx:pt idx="4399">0</cx:pt>
          <cx:pt idx="4400">0</cx:pt>
          <cx:pt idx="4401">0</cx:pt>
          <cx:pt idx="4402">0</cx:pt>
          <cx:pt idx="4403">0</cx:pt>
          <cx:pt idx="4404">0</cx:pt>
          <cx:pt idx="4405">0</cx:pt>
          <cx:pt idx="4406">0</cx:pt>
          <cx:pt idx="4407">0</cx:pt>
          <cx:pt idx="4408">0</cx:pt>
          <cx:pt idx="4409">0</cx:pt>
          <cx:pt idx="4410">0</cx:pt>
          <cx:pt idx="4411">0</cx:pt>
          <cx:pt idx="4412">0</cx:pt>
          <cx:pt idx="4413">0</cx:pt>
          <cx:pt idx="4414">0</cx:pt>
          <cx:pt idx="4415">0</cx:pt>
          <cx:pt idx="4416">0</cx:pt>
          <cx:pt idx="4417">0</cx:pt>
          <cx:pt idx="4418">0</cx:pt>
          <cx:pt idx="4419">0</cx:pt>
          <cx:pt idx="4420">0</cx:pt>
          <cx:pt idx="4421">0</cx:pt>
          <cx:pt idx="4422">0</cx:pt>
          <cx:pt idx="4423">0</cx:pt>
          <cx:pt idx="4424">0</cx:pt>
          <cx:pt idx="4425">0</cx:pt>
          <cx:pt idx="4426">0</cx:pt>
          <cx:pt idx="4427">0</cx:pt>
          <cx:pt idx="4428">0</cx:pt>
          <cx:pt idx="4429">0</cx:pt>
          <cx:pt idx="4430">0</cx:pt>
          <cx:pt idx="4431">0</cx:pt>
          <cx:pt idx="4432">0</cx:pt>
          <cx:pt idx="4433">0</cx:pt>
          <cx:pt idx="4434">0</cx:pt>
          <cx:pt idx="4435">0</cx:pt>
          <cx:pt idx="4436">0</cx:pt>
          <cx:pt idx="4437">0</cx:pt>
          <cx:pt idx="4438">0</cx:pt>
          <cx:pt idx="4439">0</cx:pt>
          <cx:pt idx="4440">0</cx:pt>
          <cx:pt idx="4441">0</cx:pt>
          <cx:pt idx="4442">0</cx:pt>
          <cx:pt idx="4443">0</cx:pt>
          <cx:pt idx="4444">0</cx:pt>
          <cx:pt idx="4445">0</cx:pt>
          <cx:pt idx="4446">0</cx:pt>
          <cx:pt idx="4447">0</cx:pt>
          <cx:pt idx="4448">0</cx:pt>
          <cx:pt idx="4449">0</cx:pt>
          <cx:pt idx="4450">0</cx:pt>
          <cx:pt idx="4451">0</cx:pt>
          <cx:pt idx="4452">0</cx:pt>
          <cx:pt idx="4453">0</cx:pt>
          <cx:pt idx="4454">0</cx:pt>
          <cx:pt idx="4455">0</cx:pt>
          <cx:pt idx="4456">0</cx:pt>
          <cx:pt idx="4457">0</cx:pt>
          <cx:pt idx="4458">0</cx:pt>
          <cx:pt idx="4459">0</cx:pt>
          <cx:pt idx="4460">0</cx:pt>
          <cx:pt idx="4461">0</cx:pt>
          <cx:pt idx="4462">0</cx:pt>
          <cx:pt idx="4463">0</cx:pt>
          <cx:pt idx="4464">0</cx:pt>
          <cx:pt idx="4465">0</cx:pt>
          <cx:pt idx="4466">0</cx:pt>
          <cx:pt idx="4467">0</cx:pt>
          <cx:pt idx="4468">0</cx:pt>
          <cx:pt idx="4469">0</cx:pt>
          <cx:pt idx="4470">0</cx:pt>
          <cx:pt idx="4471">0</cx:pt>
          <cx:pt idx="4472">0</cx:pt>
          <cx:pt idx="4473">0</cx:pt>
          <cx:pt idx="4474">0</cx:pt>
          <cx:pt idx="4475">0</cx:pt>
          <cx:pt idx="4476">0</cx:pt>
          <cx:pt idx="4477">0</cx:pt>
          <cx:pt idx="4478">0</cx:pt>
          <cx:pt idx="4479">0</cx:pt>
          <cx:pt idx="4480">0</cx:pt>
          <cx:pt idx="4481">0</cx:pt>
          <cx:pt idx="4482">0</cx:pt>
          <cx:pt idx="4483">0</cx:pt>
          <cx:pt idx="4484">0</cx:pt>
          <cx:pt idx="4485">0</cx:pt>
          <cx:pt idx="4486">0</cx:pt>
          <cx:pt idx="4487">0</cx:pt>
          <cx:pt idx="4488">0</cx:pt>
          <cx:pt idx="4489">0</cx:pt>
          <cx:pt idx="4490">0</cx:pt>
          <cx:pt idx="4491">0</cx:pt>
          <cx:pt idx="4492">0</cx:pt>
          <cx:pt idx="4493">0</cx:pt>
          <cx:pt idx="4494">0</cx:pt>
          <cx:pt idx="4495">0</cx:pt>
          <cx:pt idx="4496">0</cx:pt>
          <cx:pt idx="4497">0</cx:pt>
          <cx:pt idx="4498">0</cx:pt>
          <cx:pt idx="4499">0</cx:pt>
          <cx:pt idx="4500">0</cx:pt>
          <cx:pt idx="4501">0</cx:pt>
          <cx:pt idx="4502">0</cx:pt>
          <cx:pt idx="4503">0</cx:pt>
          <cx:pt idx="4504">0</cx:pt>
          <cx:pt idx="4505">0</cx:pt>
          <cx:pt idx="4506">0</cx:pt>
          <cx:pt idx="4507">0</cx:pt>
          <cx:pt idx="4508">0</cx:pt>
          <cx:pt idx="4509">0</cx:pt>
          <cx:pt idx="4510">0</cx:pt>
          <cx:pt idx="4511">0</cx:pt>
          <cx:pt idx="4512">0</cx:pt>
          <cx:pt idx="4513">0</cx:pt>
          <cx:pt idx="4514">0</cx:pt>
          <cx:pt idx="4515">0</cx:pt>
          <cx:pt idx="4516">0</cx:pt>
          <cx:pt idx="4517">0</cx:pt>
          <cx:pt idx="4518">0</cx:pt>
          <cx:pt idx="4519">0</cx:pt>
          <cx:pt idx="4520">0</cx:pt>
          <cx:pt idx="4521">0</cx:pt>
          <cx:pt idx="4522">0</cx:pt>
          <cx:pt idx="4523">0</cx:pt>
          <cx:pt idx="4524">0</cx:pt>
          <cx:pt idx="4525">0</cx:pt>
          <cx:pt idx="4526">0</cx:pt>
          <cx:pt idx="4527">0</cx:pt>
          <cx:pt idx="4528">0</cx:pt>
          <cx:pt idx="4529">0</cx:pt>
          <cx:pt idx="4530">0</cx:pt>
          <cx:pt idx="4531">0</cx:pt>
          <cx:pt idx="4532">0</cx:pt>
          <cx:pt idx="4533">0</cx:pt>
          <cx:pt idx="4534">0</cx:pt>
          <cx:pt idx="4535">0</cx:pt>
          <cx:pt idx="4536">0</cx:pt>
          <cx:pt idx="4537">0</cx:pt>
          <cx:pt idx="4538">0</cx:pt>
          <cx:pt idx="4539">0</cx:pt>
          <cx:pt idx="4540">0</cx:pt>
          <cx:pt idx="4541">0</cx:pt>
          <cx:pt idx="4542">0</cx:pt>
          <cx:pt idx="4543">0</cx:pt>
          <cx:pt idx="4544">0</cx:pt>
          <cx:pt idx="4545">0</cx:pt>
          <cx:pt idx="4546">0</cx:pt>
          <cx:pt idx="4547">0</cx:pt>
          <cx:pt idx="4548">0</cx:pt>
          <cx:pt idx="4549">0</cx:pt>
          <cx:pt idx="4550">0</cx:pt>
          <cx:pt idx="4551">0</cx:pt>
          <cx:pt idx="4552">0</cx:pt>
          <cx:pt idx="4553">0</cx:pt>
          <cx:pt idx="4554">0</cx:pt>
          <cx:pt idx="4555">0</cx:pt>
          <cx:pt idx="4556">0</cx:pt>
          <cx:pt idx="4557">0</cx:pt>
          <cx:pt idx="4558">0</cx:pt>
          <cx:pt idx="4559">0</cx:pt>
          <cx:pt idx="4560">0</cx:pt>
          <cx:pt idx="4561">0</cx:pt>
          <cx:pt idx="4562">0</cx:pt>
          <cx:pt idx="4563">0</cx:pt>
          <cx:pt idx="4564">0</cx:pt>
          <cx:pt idx="4565">0</cx:pt>
          <cx:pt idx="4566">0</cx:pt>
          <cx:pt idx="4567">0</cx:pt>
          <cx:pt idx="4568">0</cx:pt>
          <cx:pt idx="4569">0</cx:pt>
          <cx:pt idx="4570">0</cx:pt>
          <cx:pt idx="4571">0</cx:pt>
          <cx:pt idx="4572">0</cx:pt>
          <cx:pt idx="4573">0</cx:pt>
          <cx:pt idx="4574">0</cx:pt>
          <cx:pt idx="4575">0</cx:pt>
          <cx:pt idx="4576">0</cx:pt>
          <cx:pt idx="4577">0</cx:pt>
          <cx:pt idx="4578">0</cx:pt>
          <cx:pt idx="4579">0</cx:pt>
          <cx:pt idx="4580">0</cx:pt>
          <cx:pt idx="4581">0</cx:pt>
          <cx:pt idx="4582">0</cx:pt>
          <cx:pt idx="4583">0</cx:pt>
          <cx:pt idx="4584">0</cx:pt>
          <cx:pt idx="4585">0</cx:pt>
          <cx:pt idx="4586">0</cx:pt>
          <cx:pt idx="4587">0</cx:pt>
          <cx:pt idx="4588">0</cx:pt>
          <cx:pt idx="4589">0</cx:pt>
          <cx:pt idx="4590">0</cx:pt>
          <cx:pt idx="4591">0</cx:pt>
          <cx:pt idx="4592">0</cx:pt>
          <cx:pt idx="4593">0</cx:pt>
          <cx:pt idx="4594">0</cx:pt>
          <cx:pt idx="4595">0</cx:pt>
          <cx:pt idx="4596">0</cx:pt>
          <cx:pt idx="4597">0</cx:pt>
          <cx:pt idx="4598">0</cx:pt>
          <cx:pt idx="4599">0</cx:pt>
          <cx:pt idx="4600">0</cx:pt>
          <cx:pt idx="4601">0</cx:pt>
          <cx:pt idx="4602">0</cx:pt>
          <cx:pt idx="4603">0</cx:pt>
          <cx:pt idx="4604">0</cx:pt>
          <cx:pt idx="4605">0</cx:pt>
          <cx:pt idx="4606">0</cx:pt>
          <cx:pt idx="4607">0</cx:pt>
          <cx:pt idx="4608">0</cx:pt>
          <cx:pt idx="4609">0</cx:pt>
          <cx:pt idx="4610">0</cx:pt>
          <cx:pt idx="4611">0</cx:pt>
          <cx:pt idx="4612">0</cx:pt>
          <cx:pt idx="4613">0</cx:pt>
          <cx:pt idx="4614">0</cx:pt>
          <cx:pt idx="4615">0</cx:pt>
          <cx:pt idx="4616">0</cx:pt>
          <cx:pt idx="4617">0</cx:pt>
          <cx:pt idx="4618">0</cx:pt>
          <cx:pt idx="4619">0</cx:pt>
          <cx:pt idx="4620">0</cx:pt>
          <cx:pt idx="4621">0</cx:pt>
          <cx:pt idx="4622">0</cx:pt>
          <cx:pt idx="4623">0</cx:pt>
          <cx:pt idx="4624">0</cx:pt>
          <cx:pt idx="4625">0</cx:pt>
          <cx:pt idx="4626">0</cx:pt>
          <cx:pt idx="4627">0</cx:pt>
          <cx:pt idx="4628">0</cx:pt>
          <cx:pt idx="4629">0</cx:pt>
          <cx:pt idx="4630">0</cx:pt>
          <cx:pt idx="4631">0</cx:pt>
          <cx:pt idx="4632">0</cx:pt>
          <cx:pt idx="4633">0</cx:pt>
          <cx:pt idx="4634">0</cx:pt>
          <cx:pt idx="4635">0</cx:pt>
          <cx:pt idx="4636">0</cx:pt>
          <cx:pt idx="4637">0</cx:pt>
          <cx:pt idx="4638">0</cx:pt>
          <cx:pt idx="4639">0</cx:pt>
          <cx:pt idx="4640">0</cx:pt>
          <cx:pt idx="4641">0</cx:pt>
          <cx:pt idx="4642">0</cx:pt>
          <cx:pt idx="4643">0</cx:pt>
          <cx:pt idx="4644">0</cx:pt>
          <cx:pt idx="4645">0</cx:pt>
          <cx:pt idx="4646">0</cx:pt>
          <cx:pt idx="4647">0</cx:pt>
          <cx:pt idx="4648">0</cx:pt>
          <cx:pt idx="4649">0</cx:pt>
          <cx:pt idx="4650">0</cx:pt>
          <cx:pt idx="4651">0</cx:pt>
          <cx:pt idx="4652">0</cx:pt>
          <cx:pt idx="4653">0</cx:pt>
          <cx:pt idx="4654">0</cx:pt>
          <cx:pt idx="4655">0</cx:pt>
          <cx:pt idx="4656">0</cx:pt>
          <cx:pt idx="4657">0</cx:pt>
          <cx:pt idx="4658">0</cx:pt>
          <cx:pt idx="4659">0</cx:pt>
          <cx:pt idx="4660">0</cx:pt>
          <cx:pt idx="4661">0</cx:pt>
          <cx:pt idx="4662">0</cx:pt>
          <cx:pt idx="4663">0</cx:pt>
          <cx:pt idx="4664">0</cx:pt>
          <cx:pt idx="4665">0</cx:pt>
          <cx:pt idx="4666">0</cx:pt>
          <cx:pt idx="4667">0</cx:pt>
          <cx:pt idx="4668">0</cx:pt>
          <cx:pt idx="4669">0</cx:pt>
          <cx:pt idx="4670">0</cx:pt>
          <cx:pt idx="4671">0</cx:pt>
          <cx:pt idx="4672">0</cx:pt>
          <cx:pt idx="4673">0</cx:pt>
          <cx:pt idx="4674">0</cx:pt>
          <cx:pt idx="4675">0</cx:pt>
          <cx:pt idx="4676">0</cx:pt>
          <cx:pt idx="4677">0</cx:pt>
          <cx:pt idx="4678">0</cx:pt>
          <cx:pt idx="4679">0</cx:pt>
          <cx:pt idx="4680">0</cx:pt>
          <cx:pt idx="4681">0</cx:pt>
          <cx:pt idx="4682">0</cx:pt>
          <cx:pt idx="4683">0</cx:pt>
          <cx:pt idx="4684">0</cx:pt>
          <cx:pt idx="4685">0</cx:pt>
          <cx:pt idx="4686">0</cx:pt>
          <cx:pt idx="4687">0</cx:pt>
          <cx:pt idx="4688">0</cx:pt>
          <cx:pt idx="4689">0</cx:pt>
          <cx:pt idx="4690">0</cx:pt>
          <cx:pt idx="4691">0</cx:pt>
          <cx:pt idx="4692">0</cx:pt>
          <cx:pt idx="4693">0</cx:pt>
          <cx:pt idx="4694">0</cx:pt>
          <cx:pt idx="4695">0</cx:pt>
          <cx:pt idx="4696">0</cx:pt>
          <cx:pt idx="4697">0</cx:pt>
          <cx:pt idx="4698">0</cx:pt>
          <cx:pt idx="4699">0</cx:pt>
          <cx:pt idx="4700">0</cx:pt>
          <cx:pt idx="4701">0</cx:pt>
          <cx:pt idx="4702">0</cx:pt>
          <cx:pt idx="4703">0</cx:pt>
          <cx:pt idx="4704">0</cx:pt>
          <cx:pt idx="4705">0</cx:pt>
          <cx:pt idx="4706">0</cx:pt>
          <cx:pt idx="4707">0</cx:pt>
          <cx:pt idx="4708">0</cx:pt>
          <cx:pt idx="4709">0</cx:pt>
          <cx:pt idx="4710">0</cx:pt>
          <cx:pt idx="4711">0</cx:pt>
          <cx:pt idx="4712">0</cx:pt>
          <cx:pt idx="4713">0</cx:pt>
          <cx:pt idx="4714">0</cx:pt>
          <cx:pt idx="4715">0</cx:pt>
          <cx:pt idx="4716">0</cx:pt>
          <cx:pt idx="4717">0</cx:pt>
          <cx:pt idx="4718">0</cx:pt>
          <cx:pt idx="4719">0</cx:pt>
          <cx:pt idx="4720">0</cx:pt>
          <cx:pt idx="4721">0</cx:pt>
          <cx:pt idx="4722">0</cx:pt>
          <cx:pt idx="4723">0</cx:pt>
          <cx:pt idx="4724">0</cx:pt>
          <cx:pt idx="4725">0</cx:pt>
          <cx:pt idx="4726">0</cx:pt>
          <cx:pt idx="4727">0</cx:pt>
          <cx:pt idx="4728">0</cx:pt>
          <cx:pt idx="4729">0</cx:pt>
          <cx:pt idx="4730">0</cx:pt>
          <cx:pt idx="4731">0</cx:pt>
          <cx:pt idx="4732">0</cx:pt>
          <cx:pt idx="4733">0</cx:pt>
          <cx:pt idx="4734">0</cx:pt>
          <cx:pt idx="4735">0</cx:pt>
          <cx:pt idx="4736">0</cx:pt>
          <cx:pt idx="4737">0</cx:pt>
          <cx:pt idx="4738">0</cx:pt>
          <cx:pt idx="4739">0</cx:pt>
          <cx:pt idx="4740">0</cx:pt>
          <cx:pt idx="4741">0</cx:pt>
          <cx:pt idx="4742">0</cx:pt>
          <cx:pt idx="4743">0</cx:pt>
          <cx:pt idx="4744">0</cx:pt>
          <cx:pt idx="4745">0</cx:pt>
          <cx:pt idx="4746">0</cx:pt>
          <cx:pt idx="4747">0</cx:pt>
          <cx:pt idx="4748">0</cx:pt>
          <cx:pt idx="4749">0</cx:pt>
          <cx:pt idx="4750">0</cx:pt>
          <cx:pt idx="4751">0</cx:pt>
          <cx:pt idx="4752">0</cx:pt>
          <cx:pt idx="4753">0</cx:pt>
          <cx:pt idx="4754">0</cx:pt>
          <cx:pt idx="4755">0</cx:pt>
          <cx:pt idx="4756">0</cx:pt>
          <cx:pt idx="4757">0</cx:pt>
          <cx:pt idx="4758">0</cx:pt>
          <cx:pt idx="4759">0</cx:pt>
          <cx:pt idx="4760">0</cx:pt>
          <cx:pt idx="4761">0</cx:pt>
          <cx:pt idx="4762">0</cx:pt>
          <cx:pt idx="4763">0</cx:pt>
          <cx:pt idx="4764">0</cx:pt>
          <cx:pt idx="4765">0</cx:pt>
          <cx:pt idx="4766">0</cx:pt>
          <cx:pt idx="4767">0</cx:pt>
          <cx:pt idx="4768">0</cx:pt>
          <cx:pt idx="4769">0</cx:pt>
          <cx:pt idx="4770">0</cx:pt>
          <cx:pt idx="4771">0</cx:pt>
          <cx:pt idx="4772">0</cx:pt>
          <cx:pt idx="4773">0</cx:pt>
          <cx:pt idx="4774">0</cx:pt>
          <cx:pt idx="4775">0</cx:pt>
          <cx:pt idx="4776">0</cx:pt>
          <cx:pt idx="4777">0</cx:pt>
          <cx:pt idx="4778">0</cx:pt>
          <cx:pt idx="4779">0</cx:pt>
          <cx:pt idx="4780">0</cx:pt>
          <cx:pt idx="4781">0</cx:pt>
          <cx:pt idx="4782">0</cx:pt>
          <cx:pt idx="4783">0</cx:pt>
          <cx:pt idx="4784">0</cx:pt>
          <cx:pt idx="4785">0</cx:pt>
          <cx:pt idx="4786">0</cx:pt>
          <cx:pt idx="4787">0</cx:pt>
          <cx:pt idx="4788">0</cx:pt>
          <cx:pt idx="4789">0</cx:pt>
          <cx:pt idx="4790">0</cx:pt>
          <cx:pt idx="4791">0</cx:pt>
          <cx:pt idx="4792">0</cx:pt>
          <cx:pt idx="4793">0</cx:pt>
          <cx:pt idx="4794">0</cx:pt>
          <cx:pt idx="4795">0</cx:pt>
          <cx:pt idx="4796">0</cx:pt>
          <cx:pt idx="4797">0</cx:pt>
          <cx:pt idx="4798">0</cx:pt>
          <cx:pt idx="4799">0</cx:pt>
          <cx:pt idx="4800">0</cx:pt>
          <cx:pt idx="4801">0</cx:pt>
          <cx:pt idx="4802">0</cx:pt>
          <cx:pt idx="4803">0</cx:pt>
          <cx:pt idx="4804">0</cx:pt>
          <cx:pt idx="4805">0</cx:pt>
          <cx:pt idx="4806">0</cx:pt>
          <cx:pt idx="4807">0</cx:pt>
          <cx:pt idx="4808">0</cx:pt>
          <cx:pt idx="4809">0</cx:pt>
          <cx:pt idx="4810">0</cx:pt>
          <cx:pt idx="4811">0</cx:pt>
          <cx:pt idx="4812">0</cx:pt>
          <cx:pt idx="4813">0</cx:pt>
          <cx:pt idx="4814">0</cx:pt>
          <cx:pt idx="4815">0</cx:pt>
          <cx:pt idx="4816">0</cx:pt>
          <cx:pt idx="4817">0</cx:pt>
          <cx:pt idx="4818">0</cx:pt>
          <cx:pt idx="4819">0</cx:pt>
          <cx:pt idx="4820">0</cx:pt>
          <cx:pt idx="4821">0</cx:pt>
          <cx:pt idx="4822">0</cx:pt>
          <cx:pt idx="4823">0</cx:pt>
          <cx:pt idx="4824">0</cx:pt>
          <cx:pt idx="4825">0</cx:pt>
          <cx:pt idx="4826">0</cx:pt>
          <cx:pt idx="4827">0</cx:pt>
          <cx:pt idx="4828">0</cx:pt>
          <cx:pt idx="4829">0</cx:pt>
          <cx:pt idx="4830">0</cx:pt>
          <cx:pt idx="4831">0</cx:pt>
          <cx:pt idx="4832">0</cx:pt>
          <cx:pt idx="4833">0</cx:pt>
          <cx:pt idx="4834">0</cx:pt>
          <cx:pt idx="4835">0</cx:pt>
          <cx:pt idx="4836">0</cx:pt>
          <cx:pt idx="4837">0</cx:pt>
          <cx:pt idx="4838">0</cx:pt>
          <cx:pt idx="4839">0</cx:pt>
          <cx:pt idx="4840">0</cx:pt>
          <cx:pt idx="4841">0</cx:pt>
          <cx:pt idx="4842">0</cx:pt>
          <cx:pt idx="4843">0</cx:pt>
          <cx:pt idx="4844">0</cx:pt>
          <cx:pt idx="4845">0</cx:pt>
          <cx:pt idx="4846">0</cx:pt>
          <cx:pt idx="4847">0</cx:pt>
          <cx:pt idx="4848">0</cx:pt>
          <cx:pt idx="4849">0</cx:pt>
          <cx:pt idx="4850">0</cx:pt>
          <cx:pt idx="4851">0</cx:pt>
          <cx:pt idx="4852">0</cx:pt>
          <cx:pt idx="4853">0</cx:pt>
          <cx:pt idx="4854">0</cx:pt>
          <cx:pt idx="4855">0</cx:pt>
          <cx:pt idx="4856">0</cx:pt>
          <cx:pt idx="4857">0</cx:pt>
          <cx:pt idx="4858">0</cx:pt>
          <cx:pt idx="4859">0</cx:pt>
          <cx:pt idx="4860">0</cx:pt>
          <cx:pt idx="4861">0</cx:pt>
          <cx:pt idx="4862">0</cx:pt>
          <cx:pt idx="4863">0</cx:pt>
          <cx:pt idx="4864">0</cx:pt>
          <cx:pt idx="4865">0</cx:pt>
          <cx:pt idx="4866">0</cx:pt>
          <cx:pt idx="4867">0</cx:pt>
          <cx:pt idx="4868">0</cx:pt>
          <cx:pt idx="4869">0</cx:pt>
          <cx:pt idx="4870">0</cx:pt>
          <cx:pt idx="4871">0</cx:pt>
          <cx:pt idx="4872">0</cx:pt>
          <cx:pt idx="4873">0</cx:pt>
          <cx:pt idx="4874">0</cx:pt>
          <cx:pt idx="4875">0</cx:pt>
          <cx:pt idx="4876">0</cx:pt>
          <cx:pt idx="4877">0</cx:pt>
          <cx:pt idx="4878">0</cx:pt>
          <cx:pt idx="4879">0</cx:pt>
          <cx:pt idx="4880">0</cx:pt>
          <cx:pt idx="4881">0</cx:pt>
          <cx:pt idx="4882">0</cx:pt>
          <cx:pt idx="4883">0</cx:pt>
          <cx:pt idx="4884">0</cx:pt>
          <cx:pt idx="4885">0</cx:pt>
          <cx:pt idx="4886">0</cx:pt>
          <cx:pt idx="4887">0</cx:pt>
          <cx:pt idx="4888">0</cx:pt>
          <cx:pt idx="4889">0</cx:pt>
          <cx:pt idx="4890">0</cx:pt>
          <cx:pt idx="4891">0</cx:pt>
          <cx:pt idx="4892">0</cx:pt>
          <cx:pt idx="4893">0</cx:pt>
          <cx:pt idx="4894">0</cx:pt>
          <cx:pt idx="4895">0</cx:pt>
          <cx:pt idx="4896">0</cx:pt>
          <cx:pt idx="4897">0</cx:pt>
          <cx:pt idx="4898">0</cx:pt>
          <cx:pt idx="4899">0</cx:pt>
          <cx:pt idx="4900">0</cx:pt>
          <cx:pt idx="4901">0</cx:pt>
          <cx:pt idx="4902">0</cx:pt>
          <cx:pt idx="4903">0</cx:pt>
          <cx:pt idx="4904">0</cx:pt>
          <cx:pt idx="4905">0</cx:pt>
          <cx:pt idx="4906">0</cx:pt>
          <cx:pt idx="4907">0</cx:pt>
          <cx:pt idx="4908">0</cx:pt>
          <cx:pt idx="4909">0</cx:pt>
          <cx:pt idx="4910">0</cx:pt>
          <cx:pt idx="4911">0</cx:pt>
          <cx:pt idx="4912">0</cx:pt>
          <cx:pt idx="4913">0</cx:pt>
          <cx:pt idx="4914">0</cx:pt>
          <cx:pt idx="4915">0</cx:pt>
          <cx:pt idx="4916">0</cx:pt>
          <cx:pt idx="4917">0</cx:pt>
          <cx:pt idx="4918">0</cx:pt>
          <cx:pt idx="4919">0</cx:pt>
          <cx:pt idx="4920">0</cx:pt>
          <cx:pt idx="4921">0</cx:pt>
          <cx:pt idx="4922">0</cx:pt>
          <cx:pt idx="4923">0</cx:pt>
          <cx:pt idx="4924">0</cx:pt>
          <cx:pt idx="4925">0</cx:pt>
          <cx:pt idx="4926">0</cx:pt>
          <cx:pt idx="4927">0</cx:pt>
          <cx:pt idx="4928">0</cx:pt>
          <cx:pt idx="4929">0</cx:pt>
          <cx:pt idx="4930">0</cx:pt>
          <cx:pt idx="4931">0</cx:pt>
          <cx:pt idx="4932">0</cx:pt>
          <cx:pt idx="4933">0</cx:pt>
          <cx:pt idx="4934">0</cx:pt>
          <cx:pt idx="4935">0</cx:pt>
          <cx:pt idx="4936">0</cx:pt>
          <cx:pt idx="4937">0</cx:pt>
          <cx:pt idx="4938">0</cx:pt>
          <cx:pt idx="4939">0</cx:pt>
          <cx:pt idx="4940">0</cx:pt>
          <cx:pt idx="4941">0</cx:pt>
          <cx:pt idx="4942">0</cx:pt>
          <cx:pt idx="4943">0</cx:pt>
          <cx:pt idx="4944">0</cx:pt>
          <cx:pt idx="4945">0</cx:pt>
          <cx:pt idx="4946">0</cx:pt>
          <cx:pt idx="4947">0</cx:pt>
          <cx:pt idx="4948">0</cx:pt>
          <cx:pt idx="4949">0</cx:pt>
          <cx:pt idx="4950">0</cx:pt>
          <cx:pt idx="4951">0</cx:pt>
          <cx:pt idx="4952">0</cx:pt>
          <cx:pt idx="4953">0</cx:pt>
          <cx:pt idx="4954">0</cx:pt>
          <cx:pt idx="4955">0</cx:pt>
          <cx:pt idx="4956">0</cx:pt>
          <cx:pt idx="4957">0</cx:pt>
          <cx:pt idx="4958">0</cx:pt>
          <cx:pt idx="4959">0</cx:pt>
          <cx:pt idx="4960">0</cx:pt>
          <cx:pt idx="4961">0</cx:pt>
          <cx:pt idx="4962">0</cx:pt>
          <cx:pt idx="4963">0</cx:pt>
          <cx:pt idx="4964">0</cx:pt>
          <cx:pt idx="4965">0</cx:pt>
          <cx:pt idx="4966">0</cx:pt>
          <cx:pt idx="4967">0</cx:pt>
          <cx:pt idx="4968">0</cx:pt>
          <cx:pt idx="4969">0</cx:pt>
          <cx:pt idx="4970">0</cx:pt>
          <cx:pt idx="4971">0</cx:pt>
          <cx:pt idx="4972">0</cx:pt>
          <cx:pt idx="4973">0</cx:pt>
          <cx:pt idx="4974">0</cx:pt>
          <cx:pt idx="4975">0</cx:pt>
          <cx:pt idx="4976">0</cx:pt>
          <cx:pt idx="4977">0</cx:pt>
          <cx:pt idx="4978">0</cx:pt>
          <cx:pt idx="4979">0</cx:pt>
          <cx:pt idx="4980">0</cx:pt>
          <cx:pt idx="4981">0</cx:pt>
          <cx:pt idx="4982">0</cx:pt>
          <cx:pt idx="4983">0</cx:pt>
          <cx:pt idx="4984">0</cx:pt>
          <cx:pt idx="4985">0</cx:pt>
          <cx:pt idx="4986">0</cx:pt>
          <cx:pt idx="4987">0</cx:pt>
          <cx:pt idx="4988">0</cx:pt>
          <cx:pt idx="4989">0</cx:pt>
          <cx:pt idx="4990">0</cx:pt>
          <cx:pt idx="4991">0</cx:pt>
          <cx:pt idx="4992">0</cx:pt>
          <cx:pt idx="4993">0</cx:pt>
          <cx:pt idx="4994">0</cx:pt>
          <cx:pt idx="4995">0</cx:pt>
          <cx:pt idx="4996">0</cx:pt>
          <cx:pt idx="4997">0</cx:pt>
          <cx:pt idx="4998">0</cx:pt>
          <cx:pt idx="4999">0</cx:pt>
          <cx:pt idx="5000">0</cx:pt>
          <cx:pt idx="5001">0</cx:pt>
          <cx:pt idx="5002">0</cx:pt>
          <cx:pt idx="5003">0</cx:pt>
          <cx:pt idx="5004">0</cx:pt>
          <cx:pt idx="5005">0</cx:pt>
          <cx:pt idx="5006">0</cx:pt>
          <cx:pt idx="5007">0</cx:pt>
          <cx:pt idx="5008">0</cx:pt>
          <cx:pt idx="5009">0</cx:pt>
          <cx:pt idx="5010">0</cx:pt>
          <cx:pt idx="5011">0</cx:pt>
          <cx:pt idx="5012">0</cx:pt>
          <cx:pt idx="5013">0</cx:pt>
          <cx:pt idx="5014">0</cx:pt>
          <cx:pt idx="5015">0</cx:pt>
          <cx:pt idx="5016">0</cx:pt>
          <cx:pt idx="5017">0</cx:pt>
          <cx:pt idx="5018">0</cx:pt>
          <cx:pt idx="5019">0</cx:pt>
          <cx:pt idx="5020">0</cx:pt>
          <cx:pt idx="5021">0</cx:pt>
          <cx:pt idx="5022">0</cx:pt>
          <cx:pt idx="5023">0</cx:pt>
          <cx:pt idx="5024">0</cx:pt>
          <cx:pt idx="5025">0</cx:pt>
          <cx:pt idx="5026">0</cx:pt>
          <cx:pt idx="5027">0</cx:pt>
          <cx:pt idx="5028">0</cx:pt>
          <cx:pt idx="5029">0</cx:pt>
          <cx:pt idx="5030">0</cx:pt>
          <cx:pt idx="5031">0</cx:pt>
          <cx:pt idx="5032">0</cx:pt>
          <cx:pt idx="5033">0</cx:pt>
          <cx:pt idx="5034">0</cx:pt>
          <cx:pt idx="5035">0</cx:pt>
          <cx:pt idx="5036">0</cx:pt>
          <cx:pt idx="5037">0</cx:pt>
          <cx:pt idx="5038">0</cx:pt>
          <cx:pt idx="5039">0</cx:pt>
          <cx:pt idx="5040">0</cx:pt>
          <cx:pt idx="5041">0</cx:pt>
          <cx:pt idx="5042">0</cx:pt>
          <cx:pt idx="5043">0</cx:pt>
          <cx:pt idx="5044">0</cx:pt>
          <cx:pt idx="5045">0</cx:pt>
          <cx:pt idx="5046">0</cx:pt>
          <cx:pt idx="5047">0</cx:pt>
          <cx:pt idx="5048">0</cx:pt>
          <cx:pt idx="5049">0</cx:pt>
          <cx:pt idx="5050">0</cx:pt>
          <cx:pt idx="5051">0</cx:pt>
          <cx:pt idx="5052">0</cx:pt>
          <cx:pt idx="5053">0</cx:pt>
          <cx:pt idx="5054">0</cx:pt>
          <cx:pt idx="5055">0</cx:pt>
          <cx:pt idx="5056">0</cx:pt>
          <cx:pt idx="5057">0</cx:pt>
          <cx:pt idx="5058">0</cx:pt>
          <cx:pt idx="5059">0</cx:pt>
          <cx:pt idx="5060">0</cx:pt>
          <cx:pt idx="5061">0</cx:pt>
          <cx:pt idx="5062">0</cx:pt>
          <cx:pt idx="5063">0</cx:pt>
          <cx:pt idx="5064">0</cx:pt>
          <cx:pt idx="5065">0</cx:pt>
          <cx:pt idx="5066">0</cx:pt>
          <cx:pt idx="5067">0</cx:pt>
          <cx:pt idx="5068">0</cx:pt>
          <cx:pt idx="5069">0</cx:pt>
          <cx:pt idx="5070">0</cx:pt>
          <cx:pt idx="5071">0</cx:pt>
          <cx:pt idx="5072">0</cx:pt>
          <cx:pt idx="5073">0</cx:pt>
          <cx:pt idx="5074">0</cx:pt>
          <cx:pt idx="5075">0</cx:pt>
          <cx:pt idx="5076">0</cx:pt>
          <cx:pt idx="5077">0</cx:pt>
          <cx:pt idx="5078">0</cx:pt>
          <cx:pt idx="5079">0</cx:pt>
          <cx:pt idx="5080">0</cx:pt>
          <cx:pt idx="5081">0</cx:pt>
          <cx:pt idx="5082">0</cx:pt>
          <cx:pt idx="5083">0</cx:pt>
          <cx:pt idx="5084">0</cx:pt>
          <cx:pt idx="5085">0</cx:pt>
          <cx:pt idx="5086">0</cx:pt>
          <cx:pt idx="5087">0</cx:pt>
          <cx:pt idx="5088">0</cx:pt>
          <cx:pt idx="5089">0</cx:pt>
          <cx:pt idx="5090">0</cx:pt>
          <cx:pt idx="5091">0</cx:pt>
          <cx:pt idx="5092">0</cx:pt>
          <cx:pt idx="5093">0</cx:pt>
          <cx:pt idx="5094">0</cx:pt>
          <cx:pt idx="5095">0</cx:pt>
          <cx:pt idx="5096">0</cx:pt>
          <cx:pt idx="5097">0</cx:pt>
          <cx:pt idx="5098">0</cx:pt>
          <cx:pt idx="5099">0</cx:pt>
          <cx:pt idx="5100">0</cx:pt>
          <cx:pt idx="5101">0</cx:pt>
          <cx:pt idx="5102">0</cx:pt>
          <cx:pt idx="5103">0</cx:pt>
          <cx:pt idx="5104">0</cx:pt>
          <cx:pt idx="5105">0</cx:pt>
          <cx:pt idx="5106">0</cx:pt>
          <cx:pt idx="5107">0</cx:pt>
          <cx:pt idx="5108">0</cx:pt>
          <cx:pt idx="5109">0</cx:pt>
          <cx:pt idx="5110">0</cx:pt>
          <cx:pt idx="5111">0</cx:pt>
          <cx:pt idx="5112">0</cx:pt>
          <cx:pt idx="5113">0</cx:pt>
          <cx:pt idx="5114">0</cx:pt>
          <cx:pt idx="5115">0</cx:pt>
          <cx:pt idx="5116">0</cx:pt>
          <cx:pt idx="5117">0</cx:pt>
          <cx:pt idx="5118">0</cx:pt>
          <cx:pt idx="5119">0</cx:pt>
          <cx:pt idx="5120">0</cx:pt>
          <cx:pt idx="5121">0</cx:pt>
          <cx:pt idx="5122">0</cx:pt>
          <cx:pt idx="5123">0</cx:pt>
          <cx:pt idx="5124">0</cx:pt>
          <cx:pt idx="5125">0</cx:pt>
          <cx:pt idx="5126">0</cx:pt>
          <cx:pt idx="5127">0</cx:pt>
          <cx:pt idx="5128">0</cx:pt>
          <cx:pt idx="5129">0</cx:pt>
          <cx:pt idx="5130">0</cx:pt>
          <cx:pt idx="5131">0</cx:pt>
          <cx:pt idx="5132">0</cx:pt>
          <cx:pt idx="5133">0</cx:pt>
          <cx:pt idx="5134">0</cx:pt>
          <cx:pt idx="5135">0</cx:pt>
          <cx:pt idx="5136">0</cx:pt>
          <cx:pt idx="5137">0</cx:pt>
          <cx:pt idx="5138">0</cx:pt>
          <cx:pt idx="5139">0</cx:pt>
          <cx:pt idx="5140">0</cx:pt>
          <cx:pt idx="5141">0</cx:pt>
          <cx:pt idx="5142">0</cx:pt>
          <cx:pt idx="5143">0</cx:pt>
          <cx:pt idx="5144">0</cx:pt>
          <cx:pt idx="5145">0</cx:pt>
          <cx:pt idx="5146">0</cx:pt>
          <cx:pt idx="5147">0</cx:pt>
          <cx:pt idx="5148">0</cx:pt>
          <cx:pt idx="5149">0</cx:pt>
          <cx:pt idx="5150">0</cx:pt>
          <cx:pt idx="5151">0</cx:pt>
          <cx:pt idx="5152">0</cx:pt>
          <cx:pt idx="5153">0</cx:pt>
          <cx:pt idx="5154">0</cx:pt>
          <cx:pt idx="5155">0</cx:pt>
          <cx:pt idx="5156">0</cx:pt>
          <cx:pt idx="5157">0</cx:pt>
          <cx:pt idx="5158">0</cx:pt>
          <cx:pt idx="5159">0</cx:pt>
          <cx:pt idx="5160">0</cx:pt>
          <cx:pt idx="5161">0</cx:pt>
          <cx:pt idx="5162">0</cx:pt>
          <cx:pt idx="5163">0</cx:pt>
          <cx:pt idx="5164">0</cx:pt>
          <cx:pt idx="5165">0</cx:pt>
          <cx:pt idx="5166">0</cx:pt>
          <cx:pt idx="5167">0</cx:pt>
          <cx:pt idx="5168">0</cx:pt>
          <cx:pt idx="5169">0</cx:pt>
          <cx:pt idx="5170">0</cx:pt>
          <cx:pt idx="5171">0</cx:pt>
          <cx:pt idx="5172">0</cx:pt>
          <cx:pt idx="5173">0</cx:pt>
          <cx:pt idx="5174">0</cx:pt>
          <cx:pt idx="5175">0</cx:pt>
          <cx:pt idx="5176">0</cx:pt>
          <cx:pt idx="5177">0</cx:pt>
          <cx:pt idx="5178">0</cx:pt>
          <cx:pt idx="5179">0</cx:pt>
          <cx:pt idx="5180">0</cx:pt>
          <cx:pt idx="5181">0</cx:pt>
          <cx:pt idx="5182">0</cx:pt>
          <cx:pt idx="5183">0</cx:pt>
          <cx:pt idx="5184">0</cx:pt>
          <cx:pt idx="5185">0</cx:pt>
          <cx:pt idx="5186">0</cx:pt>
          <cx:pt idx="5187">0</cx:pt>
          <cx:pt idx="5188">0</cx:pt>
          <cx:pt idx="5189">0</cx:pt>
          <cx:pt idx="5190">0</cx:pt>
          <cx:pt idx="5191">0</cx:pt>
          <cx:pt idx="5192">0.00054341421999999997</cx:pt>
          <cx:pt idx="5193">0.00072444365999999993</cx:pt>
          <cx:pt idx="5194">0.0026085873999999996</cx:pt>
          <cx:pt idx="5195">0.0052510487999999998</cx:pt>
          <cx:pt idx="5196">0.0078226300800000002</cx:pt>
          <cx:pt idx="5197">0.0089436221900000001</cx:pt>
          <cx:pt idx="5198">0.01013860844</cx:pt>
          <cx:pt idx="5199">0.01691029371</cx:pt>
          <cx:pt idx="5200">0.01730881557</cx:pt>
          <cx:pt idx="5201">0.017961238519999999</cx:pt>
          <cx:pt idx="5202">0.017995981549999998</cx:pt>
          <cx:pt idx="5203">0.018032969560000001</cx:pt>
          <cx:pt idx="5204">0.018068853190000001</cx:pt>
          <cx:pt idx="5205">0.01810640245</cx:pt>
          <cx:pt idx="5206">0.018142286069999999</cx:pt>
          <cx:pt idx="5207">0.018177590340000001</cx:pt>
          <cx:pt idx="5208">0.018250733549999999</cx:pt>
          <cx:pt idx="5209">0.018286327499999998</cx:pt>
          <cx:pt idx="5210">0.018359760379999999</cx:pt>
          <cx:pt idx="5211">0.018395064660000002</cx:pt>
          <cx:pt idx="5212">0.018430930179999999</cx:pt>
          <cx:pt idx="5213">0.01846849754</cx:pt>
          <cx:pt idx="5214">0.01853966734</cx:pt>
          <cx:pt idx="5215">0.01861197773</cx:pt>
          <cx:pt idx="5216">0.018649526990000002</cx:pt>
          <cx:pt idx="5217">0.018794147770000002</cx:pt>
          <cx:pt idx="5218">0.018865027879999999</cx:pt>
          <cx:pt idx="5219">0.018902884929999999</cx:pt>
          <cx:pt idx="5220">0.0189381892</cx:pt>
          <cx:pt idx="5221">0.01919265153</cx:pt>
          <cx:pt idx="5222">0.019228535160000001</cx:pt>
          <cx:pt idx="5223">0.019263839429999999</cx:pt>
          <cx:pt idx="5224">0.019300827439999998</cx:pt>
          <cx:pt idx="5225">0.01930732705</cx:pt>
          <cx:pt idx="5226">0.01933727231</cx:pt>
          <cx:pt idx="5227">0.019372576589999999</cx:pt>
          <cx:pt idx="5228">0.019408152430000002</cx:pt>
          <cx:pt idx="5229">0.019446009470000001</cx:pt>
          <cx:pt idx="5230">0.01948131375</cx:pt>
          <cx:pt idx="5231">0.01951717926</cx:pt>
          <cx:pt idx="5232">0.019554746629999998</cx:pt>
          <cx:pt idx="5233">0.019590612149999999</cx:pt>
          <cx:pt idx="5234">0.019626206100000002</cx:pt>
          <cx:pt idx="5235">0.019735776069999999</cx:pt>
          <cx:pt idx="5236">0.019771659699999999</cx:pt>
          <cx:pt idx="5237">0.019806963970000001</cx:pt>
          <cx:pt idx="5238">0.019850451589999998</cx:pt>
          <cx:pt idx="5239">0.019915701130000001</cx:pt>
          <cx:pt idx="5240">0.019951276970000001</cx:pt>
          <cx:pt idx="5241">0.020241622929999998</cx:pt>
          <cx:pt idx="5242">0.020314784239999998</cx:pt>
          <cx:pt idx="5243">0.020350360090000002</cx:pt>
          <cx:pt idx="5244">0.020393576140000001</cx:pt>
          <cx:pt idx="5245">0.020640995719999999</cx:pt>
          <cx:pt idx="5246">0.020936700680000003</cx:pt>
          <cx:pt idx="5247">0.021038087309999998</cx:pt>
          <cx:pt idx="5248">0.021110687370000002</cx:pt>
          <cx:pt idx="5249">0.021182418410000001</cx:pt>
          <cx:pt idx="5250">0.021436609169999999</cx:pt>
          <cx:pt idx="5251">0.021479825219999998</cx:pt>
          <cx:pt idx="5252">0.021689949</cx:pt>
          <cx:pt idx="5253">0.021725542949999999</cx:pt>
          <cx:pt idx="5254">0.021763110320000001</cx:pt>
          <cx:pt idx="5255">0.02179870427</cx:pt>
          <cx:pt idx="5256">0.021834841360000003</cx:pt>
          <cx:pt idx="5257">0.021870996550000001</cx:pt>
          <cx:pt idx="5258">0.0219065905</cx:pt>
          <cx:pt idx="5259">0.02202294976</cx:pt>
          <cx:pt idx="5260">0.02219693646</cx:pt>
          <cx:pt idx="5261">0.022377965899999998</cx:pt>
          <cx:pt idx="5262">0.022414121100000003</cx:pt>
          <cx:pt idx="5263">0.022453390309999998</cx:pt>
          <cx:pt idx="5264">0.022559864369999998</cx:pt>
          <cx:pt idx="5265">0.022566074299999999</cx:pt>
          <cx:pt idx="5266">0.02259601957</cx:pt>
          <cx:pt idx="5267">0.0226688731</cx:pt>
          <cx:pt idx="5268">0.022740332570000001</cx:pt>
          <cx:pt idx="5269">0.022884935249999998</cx:pt>
          <cx:pt idx="5270">0.023102988920000001</cx:pt>
          <cx:pt idx="5271">0.023109198850000002</cx:pt>
          <cx:pt idx="5272">0.023139144109999999</cx:pt>
          <cx:pt idx="5273">0.02317471996</cx:pt>
          <cx:pt idx="5274">0.023247881270000003</cx:pt>
          <cx:pt idx="5275">0.023283185540000001</cx:pt>
          <cx:pt idx="5276">0.02331932263</cx:pt>
          <cx:pt idx="5277">0.023356889999999998</cx:pt>
          <cx:pt idx="5278">0.043085633779999993</cx:pt>
          <cx:pt idx="5279">0.062804340920000007</cx:pt>
          <cx:pt idx="5280">0.082844167629999993</cx:pt>
          <cx:pt idx="5281">0.1028839943</cx:pt>
          <cx:pt idx="5282">0.16315399999999999</cx:pt>
          <cx:pt idx="5283">0.19208345869999999</cx:pt>
          <cx:pt idx="5284">0.19693806229999999</cx:pt>
          <cx:pt idx="5285">0.33295181360000004</cx:pt>
          <cx:pt idx="5286">0.36120191320000006</cx:pt>
          <cx:pt idx="5287">0.58796698660000002</cx:pt>
          <cx:pt idx="5288">0.61666999119999999</cx:pt>
          <cx:pt idx="5289">0.64493424320000003</cx:pt>
          <cx:pt idx="5290">0.67253328839999993</cx:pt>
          <cx:pt idx="5291">0.78578844570000006</cx:pt>
          <cx:pt idx="5292">0.84298215639999996</cx:pt>
          <cx:pt idx="5293">0.8707935</cx:pt>
          <cx:pt idx="5294">0.86997448039999992</cx:pt>
          <cx:pt idx="5295">0.86986073580000001</cx:pt>
          <cx:pt idx="5296">0.86962414700000001</cx:pt>
          <cx:pt idx="5297">0.86951040239999999</cx:pt>
          <cx:pt idx="5298">0.8693939745999999</cx:pt>
          <cx:pt idx="5299">0.8692729387</cx:pt>
          <cx:pt idx="5300">0.86904364119999999</cx:pt>
          <cx:pt idx="5301">0.86881066890000003</cx:pt>
          <cx:pt idx="5302">0.86834110780000007</cx:pt>
          <cx:pt idx="5303">0.86822462160000002</cx:pt>
          <cx:pt idx="5304">0.86811000199999999</cx:pt>
          <cx:pt idx="5305">0.86799444920000002</cx:pt>
          <cx:pt idx="5306">0.86776054359999999</cx:pt>
          <cx:pt idx="5307">0.86694432389999998</cx:pt>
          <cx:pt idx="5308">0.86682422130000003</cx:pt>
          <cx:pt idx="5309">0.86647476280000002</cx:pt>
          <cx:pt idx="5310">0.86624459040000001</cx:pt>
          <cx:pt idx="5311">0.8661244293999999</cx:pt>
          <cx:pt idx="5312">0.86600980979999997</cx:pt>
          <cx:pt idx="5313">0.86589425689999999</cx:pt>
          <cx:pt idx="5314">0.86577777080000007</cx:pt>
          <cx:pt idx="5315">0.8656576681</cx:pt>
          <cx:pt idx="5316">0.86554299020000003</cx:pt>
          <cx:pt idx="5317">0.86472490400000002</cx:pt>
          <cx:pt idx="5318">0.8646111594</cx:pt>
          <cx:pt idx="5319">0.86425995099999997</cx:pt>
          <cx:pt idx="5320">0.86402791199999995</cx:pt>
          <cx:pt idx="5321">0.86390780930000011</cx:pt>
          <cx:pt idx="5322">0.86379313139999991</cx:pt>
          <cx:pt idx="5323">0.86367664529999999</cx:pt>
          <cx:pt idx="5324">0.8635610923999999</cx:pt>
          <cx:pt idx="5325">0.86321075899999999</cx:pt>
          <cx:pt idx="5326">0.86309153129999994</cx:pt>
          <cx:pt idx="5327">0.8629750451</cx:pt>
          <cx:pt idx="5328">0.86262471169999999</cx:pt>
          <cx:pt idx="5329">0.86239453929999998</cx:pt>
          <cx:pt idx="5330">0.8621588255</cx:pt>
          <cx:pt idx="5331">0.8618112336</cx:pt>
          <cx:pt idx="5332">0.86146090019999999</cx:pt>
          <cx:pt idx="5333">0.86134167250000004</cx:pt>
          <cx:pt idx="5334">0.86132166510000008</cx:pt>
          <cx:pt idx="5335">0.86087485289999999</cx:pt>
          <cx:pt idx="5336">0.86076023329999996</cx:pt>
          <cx:pt idx="5337">0.86064468049999998</cx:pt>
          <cx:pt idx="5338">0.86052364449999996</cx:pt>
          <cx:pt idx="5339">0.86040896659999999</cx:pt>
          <cx:pt idx="5340">0.85959181369999993</cx:pt>
          <cx:pt idx="5341">0.85957180629999996</cx:pt>
          <cx:pt idx="5342">0.85947532749999989</cx:pt>
          <cx:pt idx="5343">0.85936158289999998</cx:pt>
          <cx:pt idx="5344">0.85889482169999998</cx:pt>
          <cx:pt idx="5345">0.85877378570000007</cx:pt>
          <cx:pt idx="5346">0.85865823289999998</cx:pt>
          <cx:pt idx="5347">0.85854448829999996</cx:pt>
          <cx:pt idx="5348">0.85819047999999998</cx:pt>
          <cx:pt idx="5349">0.85807492710000011</cx:pt>
          <cx:pt idx="5350">0.85796118250000009</cx:pt>
          <cx:pt idx="5351">0.85784195479999992</cx:pt>
          <cx:pt idx="5352">0.85782107249999995</cx:pt>
          <cx:pt idx="5353">0.85772546869999999</cx:pt>
          <cx:pt idx="5354">0.85761172409999997</cx:pt>
          <cx:pt idx="5355">0.85749617119999999</cx:pt>
          <cx:pt idx="5356">0.85737513529999998</cx:pt>
          <cx:pt idx="5357">0.85726051569999995</cx:pt>
          <cx:pt idx="5358">0.85714496280000008</cx:pt>
          <cx:pt idx="5359">0.85702392689999995</cx:pt>
          <cx:pt idx="5360">0.85690837400000008</cx:pt>
          <cx:pt idx="5361">0.85679462939999995</cx:pt>
          <cx:pt idx="5362">0.85667720999999997</cx:pt>
          <cx:pt idx="5363">0.85656165709999998</cx:pt>
          <cx:pt idx="5364">0.85644062119999997</cx:pt>
          <cx:pt idx="5365">0.85632506829999999</cx:pt>
          <cx:pt idx="5366">0.85621132369999997</cx:pt>
          <cx:pt idx="5367">0.85609209600000002</cx:pt>
          <cx:pt idx="5368">0.85607208859999995</cx:pt>
          <cx:pt idx="5369">0.85597566819999993</cx:pt>
          <cx:pt idx="5370">0.85586186530000008</cx:pt>
          <cx:pt idx="5371">0.8557408876</cx:pt>
          <cx:pt idx="5372">0.85562527650000009</cx:pt>
          <cx:pt idx="5373">0.85551065690000005</cx:pt>
          <cx:pt idx="5374">0.85539510399999996</cx:pt>
          <cx:pt idx="5375">0.85527406810000006</cx:pt>
          <cx:pt idx="5376">0.85515851519999997</cx:pt>
          <cx:pt idx="5377">0.85504477059999995</cx:pt>
          <cx:pt idx="5378">0.85492735120000007</cx:pt>
          <cx:pt idx="5379">0.85481179829999998</cx:pt>
          <cx:pt idx="5380">0.85469076240000008</cx:pt>
          <cx:pt idx="5381">0.85457520949999999</cx:pt>
          <cx:pt idx="5382">0.85446146490000008</cx:pt>
          <cx:pt idx="5383">0.85434223720000002</cx:pt>
          <cx:pt idx="5384">0.85432135489999994</cx:pt>
          <cx:pt idx="5385">0.85422580940000004</cx:pt>
          <cx:pt idx="5386">0.85398554579999997</cx:pt>
          <cx:pt idx="5387">0.85387541760000008</cx:pt>
          <cx:pt idx="5388">0.85376079809999994</cx:pt>
          <cx:pt idx="5389">0.85364524520000007</cx:pt>
          <cx:pt idx="5390">0.85352420929999995</cx:pt>
          <cx:pt idx="5391">0.85340865640000008</cx:pt>
          <cx:pt idx="5392">0.85329491180000006</cx:pt>
          <cx:pt idx="5393">0.85317749239999996</cx:pt>
          <cx:pt idx="5394">0.85306193949999998</cx:pt>
          <cx:pt idx="5395">0.85294090359999997</cx:pt>
          <cx:pt idx="5396">0.85282535069999998</cx:pt>
          <cx:pt idx="5397">0.85271160609999996</cx:pt>
          <cx:pt idx="5398">0.85259237840000002</cx:pt>
          <cx:pt idx="5399">0.85257149600000004</cx:pt>
          <cx:pt idx="5400">0.85247595059999992</cx:pt>
          <cx:pt idx="5401">0.85236127269999995</cx:pt>
          <cx:pt idx="5402">0.85223475359999989</cx:pt>
          <cx:pt idx="5403">0.85212555879999996</cx:pt>
          <cx:pt idx="5404">0.85201093920000004</cx:pt>
          <cx:pt idx="5405">0.85189538639999995</cx:pt>
          <cx:pt idx="5406">0.85177435040000005</cx:pt>
          <cx:pt idx="5407">0.85165879759999996</cx:pt>
          <cx:pt idx="5408">0.85154505299999994</cx:pt>
          <cx:pt idx="5409">0.85142763349999995</cx:pt>
          <cx:pt idx="5410">0.85131208069999997</cx:pt>
          <cx:pt idx="5411">0.85119104469999995</cx:pt>
          <cx:pt idx="5412">0.85107549189999998</cx:pt>
          <cx:pt idx="5413">0.7372128201</cx:pt>
          <cx:pt idx="5414">0.7069059794</cx:pt>
          <cx:pt idx="5415">0.67561999520000005</cx:pt>
          <cx:pt idx="5416">0.64483135499999999</cx:pt>
          <cx:pt idx="5417">0.61258176819999999</cx:pt>
          <cx:pt idx="5418">0.58204180000000005</cx:pt>
          <cx:pt idx="5419">0.58570698079999994</cx:pt>
          <cx:pt idx="5420">1.0324</cx:pt>
          <cx:pt idx="5421">0.99403749770000005</cx:pt>
          <cx:pt idx="5422">0.99141043900000003</cx:pt>
          <cx:pt idx="5423">0.95683015650000003</cx:pt>
          <cx:pt idx="5424">0.92020039350000005</cx:pt>
          <cx:pt idx="5425">0.84492865650000004</cx:pt>
          <cx:pt idx="5426">0.80859700000000001</cx:pt>
          <cx:pt idx="5427">0.86300510000000008</cx:pt>
          <cx:pt idx="5428">0.75522090000000008</cx:pt>
          <cx:pt idx="5429">0.77057346050000008</cx:pt>
          <cx:pt idx="5430">0.78568577480000001</cx:pt>
          <cx:pt idx="5431">0.83223169999999991</cx:pt>
          <cx:pt idx="5432">0.68784339999999999</cx:pt>
          <cx:pt idx="5433">0.70919246020000004</cx:pt>
          <cx:pt idx="5434">0.75155649999999996</cx:pt>
          <cx:pt idx="5435">0.77106355260000004</cx:pt>
          <cx:pt idx="5436">0.84556640049999998</cx:pt>
          <cx:pt idx="5437">0.88354640000000007</cx:pt>
          <cx:pt idx="5438">0.88057738699999999</cx:pt>
          <cx:pt idx="5439">0.51872970000000007</cx:pt>
          <cx:pt idx="5440">0.51607343230000002</cx:pt>
          <cx:pt idx="5441">0.50818461399999992</cx:pt>
          <cx:pt idx="5442">0.50323329999999999</cx:pt>
          <cx:pt idx="5443">0.28752912399999997</cx:pt>
          <cx:pt idx="5444">0.099734539999999997</cx:pt>
          <cx:pt idx="5445">0</cx:pt>
          <cx:pt idx="5446">0</cx:pt>
          <cx:pt idx="5447">0</cx:pt>
          <cx:pt idx="5448">0.40078293590000003</cx:pt>
          <cx:pt idx="5449">0.42543377069999999</cx:pt>
          <cx:pt idx="5450">0.45047330000000002</cx:pt>
          <cx:pt idx="5451">0</cx:pt>
          <cx:pt idx="5452">0</cx:pt>
          <cx:pt idx="5453">0</cx:pt>
          <cx:pt idx="5454">0</cx:pt>
          <cx:pt idx="5455">0</cx:pt>
          <cx:pt idx="5456">0</cx:pt>
          <cx:pt idx="5457">0</cx:pt>
          <cx:pt idx="5458">0</cx:pt>
          <cx:pt idx="5459">0</cx:pt>
          <cx:pt idx="5460">0</cx:pt>
          <cx:pt idx="5461">0</cx:pt>
          <cx:pt idx="5462">0</cx:pt>
          <cx:pt idx="5463">0</cx:pt>
          <cx:pt idx="5464">0</cx:pt>
          <cx:pt idx="5465">0</cx:pt>
          <cx:pt idx="5466">0</cx:pt>
          <cx:pt idx="5467">0</cx:pt>
          <cx:pt idx="5468">0</cx:pt>
          <cx:pt idx="5469">0</cx:pt>
          <cx:pt idx="5470">0</cx:pt>
          <cx:pt idx="5471">0</cx:pt>
          <cx:pt idx="5472">0.1574788</cx:pt>
          <cx:pt idx="5473">0.56469060000000004</cx:pt>
          <cx:pt idx="5474">0.73414249999999992</cx:pt>
          <cx:pt idx="5475">0.36404670000000006</cx:pt>
          <cx:pt idx="5476">0.090415280000000001</cx:pt>
          <cx:pt idx="5477">0.072952080000000002</cx:pt>
          <cx:pt idx="5478">0.19718433499999999</cx:pt>
          <cx:pt idx="5479">0.31904879999999997</cx:pt>
          <cx:pt idx="5480">0.54804299999999995</cx:pt>
          <cx:pt idx="5481">1.0466610000000001</cx:pt>
          <cx:pt idx="5482">1.118735</cx:pt>
          <cx:pt idx="5483">1.295876</cx:pt>
          <cx:pt idx="5484">1.404549</cx:pt>
          <cx:pt idx="5485">1.4361439999999999</cx:pt>
          <cx:pt idx="5486">1.720277351</cx:pt>
          <cx:pt idx="5487">2</cx:pt>
          <cx:pt idx="5488">1.9667769000000002</cx:pt>
          <cx:pt idx="5489">1.9507409999999998</cx:pt>
          <cx:pt idx="5490">1.5053880000000002</cx:pt>
          <cx:pt idx="5491">1.2287360000000001</cx:pt>
          <cx:pt idx="5492">1.2770159999999999</cx:pt>
          <cx:pt idx="5493">1.415953</cx:pt>
          <cx:pt idx="5494">0.73884669999999997</cx:pt>
          <cx:pt idx="5495">0.44997750000000003</cx:pt>
          <cx:pt idx="5496">0.54311390000000004</cx:pt>
          <cx:pt idx="5497">0.78028339999999996</cx:pt>
          <cx:pt idx="5498">0.95080569999999998</cx:pt>
          <cx:pt idx="5499">1.272546</cx:pt>
          <cx:pt idx="5500">1.4231280000000002</cx:pt>
          <cx:pt idx="5501">1.7835799999999999</cx:pt>
          <cx:pt idx="5502">2</cx:pt>
          <cx:pt idx="5503">1.9298238109999999</cx:pt>
          <cx:pt idx="5504">1.8773202680000001</cx:pt>
          <cx:pt idx="5505">1.8253659999999998</cx:pt>
          <cx:pt idx="5506">1.8221257660000001</cx:pt>
          <cx:pt idx="5507">1.4272229999999999</cx:pt>
          <cx:pt idx="5508">0.93749440000000006</cx:pt>
          <cx:pt idx="5509">0.7186691999999999</cx:pt>
          <cx:pt idx="5510">0.33788400000000002</cx:pt>
          <cx:pt idx="5511">0.26226909999999998</cx:pt>
          <cx:pt idx="5512">0.31756889999999999</cx:pt>
          <cx:pt idx="5513">0.46553469999999997</cx:pt>
          <cx:pt idx="5514">0.52914490000000003</cx:pt>
          <cx:pt idx="5515">0.43698819999999999</cx:pt>
          <cx:pt idx="5516">0.47945210000000005</cx:pt>
          <cx:pt idx="5517">0.40688049999999998</cx:pt>
          <cx:pt idx="5518">0.31400060000000002</cx:pt>
          <cx:pt idx="5519">0.39939030000000003</cx:pt>
          <cx:pt idx="5520">0.67432869999999989</cx:pt>
          <cx:pt idx="5521">0.95664930000000004</cx:pt>
          <cx:pt idx="5522">1.401959</cx:pt>
          <cx:pt idx="5523">1.9927000000000001</cx:pt>
          <cx:pt idx="5524">1.9975604240000002</cx:pt>
          <cx:pt idx="5525">1.9978013290000001</cx:pt>
          <cx:pt idx="5526">1.9992696230000002</cx:pt>
          <cx:pt idx="5527">2</cx:pt>
          <cx:pt idx="5528">1.7462360000000001</cx:pt>
          <cx:pt idx="5529">1.4389619999999999</cx:pt>
          <cx:pt idx="5530">0.97795090000000007</cx:pt>
          <cx:pt idx="5531">0.71762449540000006</cx:pt>
          <cx:pt idx="5532">0.47593780000000002</cx:pt>
          <cx:pt idx="5533">0.19387399999999999</cx:pt>
          <cx:pt idx="5534">0.046935520000000001</cx:pt>
          <cx:pt idx="5535">0</cx:pt>
          <cx:pt idx="5536">0</cx:pt>
          <cx:pt idx="5537">0</cx:pt>
          <cx:pt idx="5538">0</cx:pt>
          <cx:pt idx="5539">0.015768698880000001</cx:pt>
          <cx:pt idx="5540">0.03128471905</cx:pt>
          <cx:pt idx="5541">0.23712269999999999</cx:pt>
          <cx:pt idx="5542">0.53796040000000001</cx:pt>
          <cx:pt idx="5543">0.68605479999999996</cx:pt>
          <cx:pt idx="5544">1.052438</cx:pt>
          <cx:pt idx="5545">1.1316729999999999</cx:pt>
          <cx:pt idx="5546">1.3331790000000001</cx:pt>
          <cx:pt idx="5547">1.4553780000000001</cx:pt>
          <cx:pt idx="5548">1.8316730000000001</cx:pt>
          <cx:pt idx="5549">1.963716</cx:pt>
          <cx:pt idx="5550">2</cx:pt>
          <cx:pt idx="5551">1.910998</cx:pt>
          <cx:pt idx="5552">1.7145380000000001</cx:pt>
          <cx:pt idx="5553">1.520804</cx:pt>
          <cx:pt idx="5554">1.5835509999999999</cx:pt>
          <cx:pt idx="5555">1.4361259999999998</cx:pt>
          <cx:pt idx="5556">1.3968340000000001</cx:pt>
          <cx:pt idx="5557">1.178331</cx:pt>
          <cx:pt idx="5558">1.0193649999999999</cx:pt>
          <cx:pt idx="5559">0.98589399999999994</cx:pt>
          <cx:pt idx="5560">1.2222029999999999</cx:pt>
          <cx:pt idx="5561">1.332176</cx:pt>
          <cx:pt idx="5562">1.5333019999999999</cx:pt>
          <cx:pt idx="5563">1.622843</cx:pt>
          <cx:pt idx="5564">1.7944182720000001</cx:pt>
          <cx:pt idx="5565">1.970008</cx:pt>
          <cx:pt idx="5566">2</cx:pt>
          <cx:pt idx="5567">1.9911628300000002</cx:pt>
          <cx:pt idx="5568">1.948676437</cx:pt>
          <cx:pt idx="5569">1.9402069470000001</cx:pt>
          <cx:pt idx="5570">1.9359379999999999</cx:pt>
          <cx:pt idx="5571">1.657141</cx:pt>
          <cx:pt idx="5572">1.5833940000000002</cx:pt>
          <cx:pt idx="5573">1.196679</cx:pt>
          <cx:pt idx="5574">0.45664070000000001</cx:pt>
          <cx:pt idx="5575">0</cx:pt>
          <cx:pt idx="5576">0.0036484362300000001</cx:pt>
          <cx:pt idx="5577">0.0059345670999999996</cx:pt>
          <cx:pt idx="5578">0.0091372078599999997</cx:pt>
          <cx:pt idx="5579">0.010499513220000001</cx:pt>
          <cx:pt idx="5580">0.01233619079</cx:pt>
          <cx:pt idx="5581">0.018737814429999999</cx:pt>
          <cx:pt idx="5582">0.01919801258</cx:pt>
          <cx:pt idx="5583">0.02010011984</cx:pt>
          <cx:pt idx="5584">0.020595981609999998</cx:pt>
          <cx:pt idx="5585">0.026056176600000001</cx:pt>
          <cx:pt idx="5586">0.027882109329999998</cx:pt>
          <cx:pt idx="5587">0.031997602139999998</cx:pt>
          <cx:pt idx="5588">0.033370652299999998</cx:pt>
          <cx:pt idx="5589">0.03429082</cx:pt>
          <cx:pt idx="5590">0.34139580000000003</cx:pt>
          <cx:pt idx="5591">0.3818435</cx:pt>
          <cx:pt idx="5592">0.57333860000000003</cx:pt>
          <cx:pt idx="5593">0.73024990000000001</cx:pt>
          <cx:pt idx="5594">0.76153800000000005</cx:pt>
          <cx:pt idx="5595">0.86417879999999991</cx:pt>
          <cx:pt idx="5596">1.1341840000000001</cx:pt>
          <cx:pt idx="5597">1.2582230000000001</cx:pt>
          <cx:pt idx="5598">1.4565239999999999</cx:pt>
          <cx:pt idx="5599">1.4252359999999999</cx:pt>
          <cx:pt idx="5600">1.1204019999999999</cx:pt>
          <cx:pt idx="5601">0.92792209999999997</cx:pt>
          <cx:pt idx="5602">0.6463293</cx:pt>
          <cx:pt idx="5603">0.2279418</cx:pt>
          <cx:pt idx="5604">0</cx:pt>
          <cx:pt idx="5605">0.21951001919999999</cx:pt>
          <cx:pt idx="5606">0.35073099999999996</cx:pt>
          <cx:pt idx="5607">0.89645410000000003</cx:pt>
          <cx:pt idx="5608">1.2238880000000001</cx:pt>
          <cx:pt idx="5609">1.718062</cx:pt>
          <cx:pt idx="5610">1.9742470000000001</cx:pt>
          <cx:pt idx="5611">2</cx:pt>
          <cx:pt idx="5612">1.9559139999999999</cx:pt>
          <cx:pt idx="5613">1.8347849999999999</cx:pt>
          <cx:pt idx="5614">1.8100880000000001</cx:pt>
          <cx:pt idx="5615">1.6736359999999999</cx:pt>
          <cx:pt idx="5616">1.3648640000000001</cx:pt>
          <cx:pt idx="5617">1.05536268</cx:pt>
          <cx:pt idx="5618">0.89199070000000003</cx:pt>
          <cx:pt idx="5619">0.77210809999999996</cx:pt>
          <cx:pt idx="5620">0.6032978</cx:pt>
          <cx:pt idx="5621">0.3047552</cx:pt>
          <cx:pt idx="5622">0.15062600000000001</cx:pt>
          <cx:pt idx="5623">0.11497199999999999</cx:pt>
          <cx:pt idx="5624">0</cx:pt>
          <cx:pt idx="5625">0</cx:pt>
          <cx:pt idx="5626">0</cx:pt>
          <cx:pt idx="5627">0</cx:pt>
          <cx:pt idx="5628">0</cx:pt>
          <cx:pt idx="5629">0</cx:pt>
          <cx:pt idx="5630">0</cx:pt>
          <cx:pt idx="5631">0</cx:pt>
          <cx:pt idx="5632">0</cx:pt>
          <cx:pt idx="5633">0.00095091511000000009</cx:pt>
          <cx:pt idx="5634">0.22172540120000001</cx:pt>
          <cx:pt idx="5635">0.26260469319999996</cx:pt>
          <cx:pt idx="5636">0.40432160000000006</cx:pt>
          <cx:pt idx="5637">0.8328101</cx:pt>
          <cx:pt idx="5638">1.0913330000000001</cx:pt>
          <cx:pt idx="5639">1.113022</cx:pt>
          <cx:pt idx="5640">1.024251</cx:pt>
          <cx:pt idx="5641">0.86327370000000003</cx:pt>
          <cx:pt idx="5642">0.83532399999999996</cx:pt>
          <cx:pt idx="5643">0.98072170000000003</cx:pt>
          <cx:pt idx="5644">1.2958129999999999</cx:pt>
          <cx:pt idx="5645">1.3522358059999999</cx:pt>
          <cx:pt idx="5646">1.6391999999999998</cx:pt>
          <cx:pt idx="5647">2</cx:pt>
          <cx:pt idx="5648">1.8052269999999999</cx:pt>
          <cx:pt idx="5649">0.86833889999999991</cx:pt>
          <cx:pt idx="5650">0.7259372999999999</cx:pt>
          <cx:pt idx="5651">0.50833309999999998</cx:pt>
          <cx:pt idx="5652">0.35544892150000001</cx:pt>
          <cx:pt idx="5653">0.20493800000000001</cx:pt>
          <cx:pt idx="5654">0.22051790000000002</cx:pt>
          <cx:pt idx="5655">0.46427410000000002</cx:pt>
          <cx:pt idx="5656">0.56177660000000007</cx:pt>
          <cx:pt idx="5657">0.63784580000000002</cx:pt>
          <cx:pt idx="5658">0.51035049999999993</cx:pt>
          <cx:pt idx="5659">0.59032449999999992</cx:pt>
          <cx:pt idx="5660">0.50506053549999996</cx:pt>
          <cx:pt idx="5661">0.46041690000000002</cx:pt>
          <cx:pt idx="5662">0.60602860000000003</cx:pt>
          <cx:pt idx="5663">0.83137969999999994</cx:pt>
          <cx:pt idx="5664">1.0901160000000001</cx:pt>
          <cx:pt idx="5665">1.2408220000000001</cx:pt>
          <cx:pt idx="5666">1.4261109999999999</cx:pt>
          <cx:pt idx="5667">1.6094739999999998</cx:pt>
          <cx:pt idx="5668">1.9646860000000002</cx:pt>
          <cx:pt idx="5669">2</cx:pt>
          <cx:pt idx="5670">1.9780964089999999</cx:pt>
          <cx:pt idx="5671">1.4479160179999999</cx:pt>
          <cx:pt idx="5672">0.88740750000000002</cx:pt>
          <cx:pt idx="5673">0</cx:pt>
          <cx:pt idx="5674">0.00070266749999999998</cx:pt>
          <cx:pt idx="5675">0.0040673095100000004</cx:pt>
          <cx:pt idx="5676">0.0042282566799999996</cx:pt>
          <cx:pt idx="5677">0.00565271847</cx:pt>
          <cx:pt idx="5678">0.0074045393900000001</cx:pt>
          <cx:pt idx="5679">0.0086351770800000005</cx:pt>
          <cx:pt idx="5680">0.010400659999999999</cx:pt>
          <cx:pt idx="5681">0.35381000000000001</cx:pt>
          <cx:pt idx="5682">0.74501839999999997</cx:pt>
          <cx:pt idx="5683">0.89884829999999993</cx:pt>
          <cx:pt idx="5684">1.270753</cx:pt>
          <cx:pt idx="5685">1.4373800000000001</cx:pt>
          <cx:pt idx="5686">1.225946</cx:pt>
          <cx:pt idx="5687">1.4089580000000002</cx:pt>
          <cx:pt idx="5688">1.301183</cx:pt>
          <cx:pt idx="5689">1.2828550000000001</cx:pt>
          <cx:pt idx="5690">1.3683719999999999</cx:pt>
          <cx:pt idx="5691">1.305015</cx:pt>
          <cx:pt idx="5692">1.3491</cx:pt>
          <cx:pt idx="5693">1.269079903</cx:pt>
          <cx:pt idx="5694">1.198909</cx:pt>
          <cx:pt idx="5695">1.243252</cx:pt>
          <cx:pt idx="5696">1.6501679999999999</cx:pt>
          <cx:pt idx="5697">1.7535769999999999</cx:pt>
          <cx:pt idx="5698">1.7295230000000001</cx:pt>
          <cx:pt idx="5699">1.5511680000000001</cx:pt>
          <cx:pt idx="5700">1.4566620000000001</cx:pt>
          <cx:pt idx="5701">1.1518109999999999</cx:pt>
          <cx:pt idx="5702">1.1451047169999999</cx:pt>
          <cx:pt idx="5703">0.86914789999999997</cx:pt>
          <cx:pt idx="5704">1.013336</cx:pt>
          <cx:pt idx="5705">0.7817788</cx:pt>
          <cx:pt idx="5706">0.62607489999999999</cx:pt>
          <cx:pt idx="5707">0.72309749999999995</cx:pt>
          <cx:pt idx="5708">0.58415600000000001</cx:pt>
          <cx:pt idx="5709">0.78220000000000001</cx:pt>
          <cx:pt idx="5710">0.92550929999999998</cx:pt>
          <cx:pt idx="5711">1.156639</cx:pt>
          <cx:pt idx="5712">1.2216230000000001</cx:pt>
          <cx:pt idx="5713">1.191791</cx:pt>
          <cx:pt idx="5714">0.67067899999999991</cx:pt>
          <cx:pt idx="5715">0.51714899999999997</cx:pt>
          <cx:pt idx="5716">0.22720960000000001</cx:pt>
          <cx:pt idx="5717">0</cx:pt>
          <cx:pt idx="5718">0.1600317956</cx:pt>
          <cx:pt idx="5719">0.2163428</cx:pt>
          <cx:pt idx="5720">0.40599739999999995</cx:pt>
          <cx:pt idx="5721">0.28773609999999999</cx:pt>
          <cx:pt idx="5722">0.070816660000000003</cx:pt>
          <cx:pt idx="5723">0.06773506</cx:pt>
          <cx:pt idx="5724">0</cx:pt>
          <cx:pt idx="5725">0.0021996568699999999</cx:pt>
          <cx:pt idx="5726">0.0030234480100000002</cx:pt>
          <cx:pt idx="5727">0.0038472391900000002</cx:pt>
          <cx:pt idx="5728">0.00411470386</cx:pt>
          <cx:pt idx="5729">0.0085247161300000002</cx:pt>
          <cx:pt idx="5730">0.0087857342200000008</cx:pt>
          <cx:pt idx="5731">0.0107029758</cx:pt>
          <cx:pt idx="5732">0.01125066114</cx:pt>
          <cx:pt idx="5733">0.012900438050000001</cx:pt>
          <cx:pt idx="5734">0.013454569999999999</cx:pt>
          <cx:pt idx="5735">0.21393830000000003</cx:pt>
          <cx:pt idx="5736">0.58913890000000002</cx:pt>
          <cx:pt idx="5737">1.1686320000000001</cx:pt>
          <cx:pt idx="5738">1.4433770000000001</cx:pt>
          <cx:pt idx="5739">1.656663</cx:pt>
          <cx:pt idx="5740">2</cx:pt>
          <cx:pt idx="5741">1.99708503</cx:pt>
          <cx:pt idx="5742">1.9675609119999999</cx:pt>
          <cx:pt idx="5743">1.9590909999999999</cx:pt>
          <cx:pt idx="5744">1.753514</cx:pt>
          <cx:pt idx="5745">1.641159</cx:pt>
          <cx:pt idx="5746">1.629389</cx:pt>
          <cx:pt idx="5747">1.8759700000000001</cx:pt>
          <cx:pt idx="5748">1.7566820000000001</cx:pt>
          <cx:pt idx="5749">1.7587177270000001</cx:pt>
          <cx:pt idx="5750">1.9269470000000002</cx:pt>
          <cx:pt idx="5751">1.983959</cx:pt>
          <cx:pt idx="5752">1.946679</cx:pt>
          <cx:pt idx="5753">1.9419999480000001</cx:pt>
          <cx:pt idx="5754">1.828803</cx:pt>
          <cx:pt idx="5755">1.0756189999999999</cx:pt>
          <cx:pt idx="5756">0.71967979999999998</cx:pt>
          <cx:pt idx="5757">0.63396884809999998</cx:pt>
          <cx:pt idx="5758">0.5483015</cx:pt>
          <cx:pt idx="5759">0.53695910000000002</cx:pt>
          <cx:pt idx="5760">0.057450590000000003</cx:pt>
          <cx:pt idx="5761">0.05470371919</cx:pt>
          <cx:pt idx="5762">0</cx:pt>
          <cx:pt idx="5763">0</cx:pt>
          <cx:pt idx="5764">0</cx:pt>
          <cx:pt idx="5765">0</cx:pt>
          <cx:pt idx="5766">0</cx:pt>
          <cx:pt idx="5767">0.1479443</cx:pt>
          <cx:pt idx="5768">0.31743929999999998</cx:pt>
          <cx:pt idx="5769">0.37094169999999999</cx:pt>
          <cx:pt idx="5770">0.24005379999999998</cx:pt>
          <cx:pt idx="5771">0.1247209</cx:pt>
          <cx:pt idx="5772">0.36038769999999998</cx:pt>
          <cx:pt idx="5773">0.58640239999999999</cx:pt>
          <cx:pt idx="5774">0.72396739999999993</cx:pt>
          <cx:pt idx="5775">0.80178129999999992</cx:pt>
          <cx:pt idx="5776">0.99165009999999998</cx:pt>
          <cx:pt idx="5777">0.96096119999999996</cx:pt>
          <cx:pt idx="5778">1.0994410000000001</cx:pt>
          <cx:pt idx="5779">1.298298</cx:pt>
          <cx:pt idx="5780">1.426361</cx:pt>
          <cx:pt idx="5781">2</cx:pt>
          <cx:pt idx="5782">1.9838768469999999</cx:pt>
          <cx:pt idx="5783">1.93460915</cx:pt>
          <cx:pt idx="5784">1.9264840000000001</cx:pt>
          <cx:pt idx="5785">1.6418520000000001</cx:pt>
          <cx:pt idx="5786">0.93690640000000003</cx:pt>
          <cx:pt idx="5787">0.73244219999999993</cx:pt>
          <cx:pt idx="5788">0</cx:pt>
          <cx:pt idx="5789">0.017870810000000001</cx:pt>
          <cx:pt idx="5790">0.076552099999999998</cx:pt>
          <cx:pt idx="5791">0.230767</cx:pt>
          <cx:pt idx="5792">0.639096</cx:pt>
          <cx:pt idx="5793">0.6435785758</cx:pt>
          <cx:pt idx="5794">0.98155300000000001</cx:pt>
          <cx:pt idx="5795">1.3356950000000001</cx:pt>
          <cx:pt idx="5796">1.5255639999999999</cx:pt>
          <cx:pt idx="5797">1.841869</cx:pt>
          <cx:pt idx="5798">1.920453</cx:pt>
          <cx:pt idx="5799">1.8847989999999999</cx:pt>
          <cx:pt idx="5800">1.589766</cx:pt>
          <cx:pt idx="5801">1.5866653040000001</cx:pt>
          <cx:pt idx="5802">1.4914940000000001</cx:pt>
          <cx:pt idx="5803">1.4086719999999999</cx:pt>
          <cx:pt idx="5804">1.1883710000000001</cx:pt>
          <cx:pt idx="5805">1.05376</cx:pt>
          <cx:pt idx="5806">0.72833760000000003</cx:pt>
          <cx:pt idx="5807">0.28212900000000002</cx:pt>
          <cx:pt idx="5808">0.1064706</cx:pt>
          <cx:pt idx="5809">0.024482449999999999</cx:pt>
          <cx:pt idx="5810">0.12968940000000001</cx:pt>
          <cx:pt idx="5811">0.1129539</cx:pt>
          <cx:pt idx="5812">0.17668579999999998</cx:pt>
          <cx:pt idx="5813">0.13315630000000001</cx:pt>
          <cx:pt idx="5814">0.25488460000000002</cx:pt>
          <cx:pt idx="5815">0.52239579999999997</cx:pt>
          <cx:pt idx="5816">0.57247805090000004</cx:pt>
          <cx:pt idx="5817">0.6245636</cx:pt>
          <cx:pt idx="5818">0.27435960000000004</cx:pt>
          <cx:pt idx="5819">0.19453430000000002</cx:pt>
          <cx:pt idx="5820">0.029918449999999999</cx:pt>
          <cx:pt idx="5821">0</cx:pt>
          <cx:pt idx="5822">0.2910123932</cx:pt>
          <cx:pt idx="5823">0.32525484050000003</cx:pt>
          <cx:pt idx="5824">0.42015580000000002</cx:pt>
          <cx:pt idx="5825">0.3078439</cx:pt>
          <cx:pt idx="5826">0.34692200000000001</cx:pt>
          <cx:pt idx="5827">0.25177369999999999</cx:pt>
          <cx:pt idx="5828">0.17117789999999999</cx:pt>
          <cx:pt idx="5829">0</cx:pt>
          <cx:pt idx="5830">0</cx:pt>
          <cx:pt idx="5831">0</cx:pt>
          <cx:pt idx="5832">0.055382449520000002</cx:pt>
          <cx:pt idx="5833">0.090601828120000005</cx:pt>
          <cx:pt idx="5834">0.10991832369999999</cx:pt>
          <cx:pt idx="5835">0.1451286</cx:pt>
          <cx:pt idx="5836">0.37844119999999998</cx:pt>
          <cx:pt idx="5837">0.73643469999999989</cx:pt>
          <cx:pt idx="5838">1.308824</cx:pt>
          <cx:pt idx="5839">1.3121103729999999</cx:pt>
          <cx:pt idx="5840">1.583761</cx:pt>
          <cx:pt idx="5841">1.858805</cx:pt>
          <cx:pt idx="5842">2</cx:pt>
          <cx:pt idx="5843">1.9794810430000001</cx:pt>
          <cx:pt idx="5844">1.9771989999999999</cx:pt>
          <cx:pt idx="5845">1.9305017770000001</cx:pt>
          <cx:pt idx="5846">1.922366</cx:pt>
          <cx:pt idx="5847">1.9231674140000001</cx:pt>
          <cx:pt idx="5848">2</cx:pt>
          <cx:pt idx="5849">2</cx:pt>
          <cx:pt idx="5850">1.9190289999999999</cx:pt>
          <cx:pt idx="5851">1.693506</cx:pt>
          <cx:pt idx="5852">1.5540579999999999</cx:pt>
          <cx:pt idx="5853">1.3334569999999999</cx:pt>
          <cx:pt idx="5854">1.2093320000000001</cx:pt>
          <cx:pt idx="5855">0.71270319999999998</cx:pt>
          <cx:pt idx="5856">0.70875860689999992</cx:pt>
          <cx:pt idx="5857">0.54770229999999998</cx:pt>
          <cx:pt idx="5858">0.57025890000000001</cx:pt>
          <cx:pt idx="5859">0.70457110000000001</cx:pt>
          <cx:pt idx="5860">0.70709772009999994</cx:pt>
          <cx:pt idx="5861">1.05409</cx:pt>
          <cx:pt idx="5862">1.072281</cx:pt>
          <cx:pt idx="5863">1.179516</cx:pt>
          <cx:pt idx="5864">1.5184200000000001</cx:pt>
          <cx:pt idx="5865">1.5991869999999999</cx:pt>
          <cx:pt idx="5866">1.999641</cx:pt>
          <cx:pt idx="5867">1.9347300540000001</cx:pt>
          <cx:pt idx="5868">1.9225522290000001</cx:pt>
          <cx:pt idx="5869">1.9169689999999999</cx:pt>
          <cx:pt idx="5870">2</cx:pt>
          <cx:pt idx="5871">2</cx:pt>
          <cx:pt idx="5872">2</cx:pt>
          <cx:pt idx="5873">2</cx:pt>
          <cx:pt idx="5874">2</cx:pt>
          <cx:pt idx="5875">2</cx:pt>
          <cx:pt idx="5876">2</cx:pt>
          <cx:pt idx="5877">2</cx:pt>
          <cx:pt idx="5878">2</cx:pt>
          <cx:pt idx="5879">2</cx:pt>
          <cx:pt idx="5880">2</cx:pt>
          <cx:pt idx="5881">2</cx:pt>
          <cx:pt idx="5882">2</cx:pt>
          <cx:pt idx="5883">1.9968712400000002</cx:pt>
          <cx:pt idx="5884">1.9666716420000001</cx:pt>
          <cx:pt idx="5885">1.957568</cx:pt>
          <cx:pt idx="5886">1.781663</cx:pt>
          <cx:pt idx="5887">1.8007949999999999</cx:pt>
          <cx:pt idx="5888">1.663915</cx:pt>
          <cx:pt idx="5889">1.5119259999999999</cx:pt>
          <cx:pt idx="5890">1.017137</cx:pt>
          <cx:pt idx="5891">0.92853759999999996</cx:pt>
          <cx:pt idx="5892">0.54486220000000007</cx:pt>
          <cx:pt idx="5893">0.2384443</cx:pt>
          <cx:pt idx="5894">0.08270885</cx:pt>
          <cx:pt idx="5895">0</cx:pt>
          <cx:pt idx="5896">0.079921400000000004</cx:pt>
          <cx:pt idx="5897">0.019827710000000002</cx:pt>
          <cx:pt idx="5898">0.016736470980000001</cx:pt>
          <cx:pt idx="5899">0.012983265900000001</cx:pt>
          <cx:pt idx="5900">0.010539440769999998</cx:pt>
          <cx:pt idx="5901">0.0086507631000000001</cx:pt>
          <cx:pt idx="5902">0.0080711557899999994</cx:pt>
          <cx:pt idx="5903">0.0068298920200000005</cx:pt>
          <cx:pt idx="5904">0</cx:pt>
          <cx:pt idx="5905">0.16243099159999999</cx:pt>
          <cx:pt idx="5906">0.2262180094</cx:pt>
          <cx:pt idx="5907">0.30706510000000004</cx:pt>
          <cx:pt idx="5908">0.3100308095</cx:pt>
          <cx:pt idx="5909">0.71712750000000003</cx:pt>
          <cx:pt idx="5910">0.94633100000000003</cx:pt>
          <cx:pt idx="5911">1.4317029999999999</cx:pt>
          <cx:pt idx="5912">1.8553980000000001</cx:pt>
          <cx:pt idx="5913">2</cx:pt>
          <cx:pt idx="5914">1.8871331499999999</cx:pt>
          <cx:pt idx="5915">1.8800520000000001</cx:pt>
          <cx:pt idx="5916">1.9332120000000002</cx:pt>
          <cx:pt idx="5917">1.922806</cx:pt>
          <cx:pt idx="5918">1.852911</cx:pt>
          <cx:pt idx="5919">1.504991</cx:pt>
          <cx:pt idx="5920">0.98334429999999995</cx:pt>
          <cx:pt idx="5921">0.75673019999999991</cx:pt>
          <cx:pt idx="5922">0.57413769999999997</cx:pt>
          <cx:pt idx="5923">0.44100290000000003</cx:pt>
          <cx:pt idx="5924">0.43025959999999996</cx:pt>
          <cx:pt idx="5925">0.51761820000000003</cx:pt>
          <cx:pt idx="5926">0.41754980000000003</cx:pt>
          <cx:pt idx="5927">0.3975185</cx:pt>
          <cx:pt idx="5928">0.45859670000000002</cx:pt>
          <cx:pt idx="5929">0.64788219999999996</cx:pt>
          <cx:pt idx="5930">0.73537450000000004</cx:pt>
          <cx:pt idx="5931">0.84340609999999994</cx:pt>
          <cx:pt idx="5932">0.99366578279999995</cx:pt>
          <cx:pt idx="5933">1.1427400000000001</cx:pt>
          <cx:pt idx="5934">1.2147759999999999</cx:pt>
          <cx:pt idx="5935">1.8193190000000001</cx:pt>
          <cx:pt idx="5936">2</cx:pt>
          <cx:pt idx="5937">2</cx:pt>
          <cx:pt idx="5938">2</cx:pt>
          <cx:pt idx="5939">2</cx:pt>
          <cx:pt idx="5940">2</cx:pt>
          <cx:pt idx="5941">2</cx:pt>
          <cx:pt idx="5942">2</cx:pt>
          <cx:pt idx="5943">2</cx:pt>
          <cx:pt idx="5944">1.985643029</cx:pt>
          <cx:pt idx="5945">1.895329</cx:pt>
          <cx:pt idx="5946">1.7825460000000002</cx:pt>
          <cx:pt idx="5947">1.487995</cx:pt>
          <cx:pt idx="5948">1.2829740000000001</cx:pt>
          <cx:pt idx="5949">1.240429</cx:pt>
          <cx:pt idx="5950">1.3893739999999999</cx:pt>
          <cx:pt idx="5951">0.93921109999999997</cx:pt>
          <cx:pt idx="5952">0.53319349999999999</cx:pt>
          <cx:pt idx="5953">0</cx:pt>
          <cx:pt idx="5954">0.070312490000000005</cx:pt>
          <cx:pt idx="5955">0.26095190000000001</cx:pt>
          <cx:pt idx="5956">0.57808110000000001</cx:pt>
          <cx:pt idx="5957">1.0382</cx:pt>
          <cx:pt idx="5958">1.043446342</cx:pt>
          <cx:pt idx="5959">1.26231</cx:pt>
          <cx:pt idx="5960">1.247287</cx:pt>
          <cx:pt idx="5961">1.4643780000000002</cx:pt>
          <cx:pt idx="5962">1.5998019999999999</cx:pt>
          <cx:pt idx="5963">1.4730260079999999</cx:pt>
          <cx:pt idx="5964">1.3462499999999999</cx:pt>
          <cx:pt idx="5965">1.340177671</cx:pt>
          <cx:pt idx="5966">0.50665519999999997</cx:pt>
          <cx:pt idx="5967">0.2855413</cx:pt>
          <cx:pt idx="5968">0</cx:pt>
          <cx:pt idx="5969">0</cx:pt>
          <cx:pt idx="5970">0</cx:pt>
          <cx:pt idx="5971">0</cx:pt>
          <cx:pt idx="5972">0</cx:pt>
          <cx:pt idx="5973">0</cx:pt>
          <cx:pt idx="5974">0</cx:pt>
          <cx:pt idx="5975">0</cx:pt>
          <cx:pt idx="5976">0</cx:pt>
          <cx:pt idx="5977">0</cx:pt>
          <cx:pt idx="5978">0</cx:pt>
          <cx:pt idx="5979">0</cx:pt>
          <cx:pt idx="5980">0</cx:pt>
          <cx:pt idx="5981">0</cx:pt>
          <cx:pt idx="5982">0</cx:pt>
          <cx:pt idx="5983">0</cx:pt>
          <cx:pt idx="5984">0</cx:pt>
          <cx:pt idx="5985">0</cx:pt>
          <cx:pt idx="5986">0</cx:pt>
          <cx:pt idx="5987">0</cx:pt>
          <cx:pt idx="5988">0</cx:pt>
          <cx:pt idx="5989">0.002370156</cx:pt>
          <cx:pt idx="5990">0.1022696</cx:pt>
          <cx:pt idx="5991">0.104175697</cx:pt>
          <cx:pt idx="5992">0.21937519999999999</cx:pt>
          <cx:pt idx="5993">0.30428870000000002</cx:pt>
          <cx:pt idx="5994">0.62782709999999997</cx:pt>
          <cx:pt idx="5995">0.92016350000000002</cx:pt>
          <cx:pt idx="5996">1.0043009999999999</cx:pt>
          <cx:pt idx="5997">0.95460820000000002</cx:pt>
          <cx:pt idx="5998">0.80321819999999999</cx:pt>
          <cx:pt idx="5999">0.4001112</cx:pt>
          <cx:pt idx="6000">0.22137080000000001</cx:pt>
          <cx:pt idx="6001">0.1771566</cx:pt>
          <cx:pt idx="6002">0.25325819999999999</cx:pt>
          <cx:pt idx="6003">0.27527970000000002</cx:pt>
          <cx:pt idx="6004">0.21593073230000001</cx:pt>
          <cx:pt idx="6005">0.16108450000000002</cx:pt>
          <cx:pt idx="6006">0.22681209999999999</cx:pt>
          <cx:pt idx="6007">0.35427570000000003</cx:pt>
          <cx:pt idx="6008">0.31596810000000003</cx:pt>
          <cx:pt idx="6009">0</cx:pt>
          <cx:pt idx="6010">0.024757291680000001</cx:pt>
          <cx:pt idx="6011">0.049591330709999999</cx:pt>
          <cx:pt idx="6012">0.05445613832</cx:pt>
          <cx:pt idx="6013">0.079522896139999993</cx:pt>
          <cx:pt idx="6014">0.099063826780000003</cx:pt>
          <cx:pt idx="6015">0.1240909729</cx:pt>
          <cx:pt idx="6016">0.1386136</cx:pt>
          <cx:pt idx="6017">0.70860429999999996</cx:pt>
          <cx:pt idx="6018">1.6072280000000001</cx:pt>
          <cx:pt idx="6019">2</cx:pt>
          <cx:pt idx="6020">2</cx:pt>
          <cx:pt idx="6021">2</cx:pt>
          <cx:pt idx="6022">2</cx:pt>
          <cx:pt idx="6023">2</cx:pt>
          <cx:pt idx="6024">1.9994782440000001</cx:pt>
          <cx:pt idx="6025">1.7364809999999999</cx:pt>
          <cx:pt idx="6026">1.5254679999999998</cx:pt>
          <cx:pt idx="6027">1.394784</cx:pt>
          <cx:pt idx="6028">1.007428</cx:pt>
          <cx:pt idx="6029">0.87140420000000007</cx:pt>
          <cx:pt idx="6030">0.86061809999999994</cx:pt>
          <cx:pt idx="6031">0.93782375110000005</cx:pt>
          <cx:pt idx="6032">1.0106440000000001</cx:pt>
          <cx:pt idx="6033">1.158053</cx:pt>
          <cx:pt idx="6034">1.4779960000000001</cx:pt>
          <cx:pt idx="6035">1.599939</cx:pt>
          <cx:pt idx="6036">1.8177570000000001</cx:pt>
          <cx:pt idx="6037">1.8178479999999999</cx:pt>
          <cx:pt idx="6038">1.681481</cx:pt>
          <cx:pt idx="6039">1.789299</cx:pt>
          <cx:pt idx="6040">1.8307740000000001</cx:pt>
          <cx:pt idx="6041">1.679320283</cx:pt>
          <cx:pt idx="6042">1.609075</cx:pt>
          <cx:pt idx="6043">1.4485249999999998</cx:pt>
          <cx:pt idx="6044">0.8776345000000001</cx:pt>
          <cx:pt idx="6045">0.72847030000000002</cx:pt>
          <cx:pt idx="6046">0.48372959999999998</cx:pt>
          <cx:pt idx="6047">0.48247825080000001</cx:pt>
          <cx:pt idx="6048">0.3275459</cx:pt>
          <cx:pt idx="6049">0.22393339999999998</cx:pt>
          <cx:pt idx="6050">0.2495289</cx:pt>
          <cx:pt idx="6051">0.52633567990000008</cx:pt>
          <cx:pt idx="6052">0.59169709999999998</cx:pt>
          <cx:pt idx="6053">0</cx:pt>
          <cx:pt idx="6054">0</cx:pt>
          <cx:pt idx="6055">0</cx:pt>
          <cx:pt idx="6056">0</cx:pt>
          <cx:pt idx="6057">0</cx:pt>
          <cx:pt idx="6058">0</cx:pt>
          <cx:pt idx="6059">0.044568927830000001</cx:pt>
          <cx:pt idx="6060">0.12932188210000001</cx:pt>
          <cx:pt idx="6061">0.17288730000000002</cx:pt>
          <cx:pt idx="6062">0.32322898260000005</cx:pt>
          <cx:pt idx="6063">0.45925240000000001</cx:pt>
          <cx:pt idx="6064">0.42359859999999999</cx:pt>
          <cx:pt idx="6065">0</cx:pt>
          <cx:pt idx="6066">0</cx:pt>
          <cx:pt idx="6067">0</cx:pt>
          <cx:pt idx="6068">0</cx:pt>
          <cx:pt idx="6069">0.00018233728000000002</cx:pt>
          <cx:pt idx="6070">0.1160786</cx:pt>
          <cx:pt idx="6071">0.30389280000000002</cx:pt>
          <cx:pt idx="6072">0.3062718545</cx:pt>
          <cx:pt idx="6073">0.70660960000000006</cx:pt>
          <cx:pt idx="6074">0.72454350000000001</cx:pt>
          <cx:pt idx="6075">0.97703100000000009</cx:pt>
          <cx:pt idx="6076">0.97982812780000006</cx:pt>
          <cx:pt idx="6077">1.096517</cx:pt>
          <cx:pt idx="6078">1.0483660000000001</cx:pt>
          <cx:pt idx="6079">0.84522819999999999</cx:pt>
          <cx:pt idx="6080">0.3610544</cx:pt>
          <cx:pt idx="6081">0.2802018</cx:pt>
          <cx:pt idx="6082">0.28196510809999997</cx:pt>
          <cx:pt idx="6083">0.3246463</cx:pt>
          <cx:pt idx="6084">0.98036940000000006</cx:pt>
          <cx:pt idx="6085">1.191109</cx:pt>
          <cx:pt idx="6086">1.497233</cx:pt>
          <cx:pt idx="6087">1.6114709999999999</cx:pt>
          <cx:pt idx="6088">1.547525</cx:pt>
          <cx:pt idx="6089">1.592638</cx:pt>
          <cx:pt idx="6090">1.4843119999999999</cx:pt>
          <cx:pt idx="6091">1.2091240000000001</cx:pt>
          <cx:pt idx="6092">1.0949819999999999</cx:pt>
          <cx:pt idx="6093">1.09390027</cx:pt>
          <cx:pt idx="6094">1.0389539999999999</cx:pt>
          <cx:pt idx="6095">1.560665</cx:pt>
          <cx:pt idx="6096">2</cx:pt>
          <cx:pt idx="6097">2</cx:pt>
          <cx:pt idx="6098">2</cx:pt>
          <cx:pt idx="6099">1.6779523810000001</cx:pt>
          <cx:pt idx="6100">1.3608275889999999</cx:pt>
          <cx:pt idx="6101">1.150258</cx:pt>
          <cx:pt idx="6102">1.1441922549999999</cx:pt>
          <cx:pt idx="6103">0.7657697</cx:pt>
          <cx:pt idx="6104">0.47232059999999998</cx:pt>
          <cx:pt idx="6105">0.55559139999999996</cx:pt>
          <cx:pt idx="6106">0.56126407450000004</cx:pt>
          <cx:pt idx="6107">0.73261430000000005</cx:pt>
          <cx:pt idx="6108">0.73525833719999989</cx:pt>
          <cx:pt idx="6109">0.787914</cx:pt>
          <cx:pt idx="6110">0.99800319999999998</cx:pt>
          <cx:pt idx="6111">1.1378789999999999</cx:pt>
          <cx:pt idx="6112">1.101669</cx:pt>
          <cx:pt idx="6113">1.1447700000000001</cx:pt>
          <cx:pt idx="6114">1.6364779999999999</cx:pt>
          <cx:pt idx="6115">1.760057</cx:pt>
          <cx:pt idx="6116">1.758998976</cx:pt>
          <cx:pt idx="6117">1.7158000000000002</cx:pt>
          <cx:pt idx="6118">1.7851980000000001</cx:pt>
          <cx:pt idx="6119">1.028837</cx:pt>
          <cx:pt idx="6120">0.69667879999999993</cx:pt>
          <cx:pt idx="6121">0.5352306</cx:pt>
          <cx:pt idx="6122">0.18650030000000001</cx:pt>
          <cx:pt idx="6123">0.093979583559999996</cx:pt>
          <cx:pt idx="6124">0</cx:pt>
          <cx:pt idx="6125">0.67857889999999998</cx:pt>
          <cx:pt idx="6126">0.6912028456</cx:pt>
          <cx:pt idx="6127">0.99676680000000006</cx:pt>
          <cx:pt idx="6128">1.714002</cx:pt>
          <cx:pt idx="6129">2</cx:pt>
          <cx:pt idx="6130">1.8052705370000002</cx:pt>
          <cx:pt idx="6131">1.689530363</cx:pt>
          <cx:pt idx="6132">1.6524510000000001</cx:pt>
          <cx:pt idx="6133">1.2317089999999999</cx:pt>
          <cx:pt idx="6134">0.081112480000000001</cx:pt>
          <cx:pt idx="6135">0.077894382970000009</cx:pt>
          <cx:pt idx="6136">0</cx:pt>
          <cx:pt idx="6137">0.087283749680000008</cx:pt>
          <cx:pt idx="6138">0.10240050000000001</cx:pt>
          <cx:pt idx="6139">0.36323439999999996</cx:pt>
          <cx:pt idx="6140">0.52142980000000005</cx:pt>
          <cx:pt idx="6141">1.1223369999999999</cx:pt>
          <cx:pt idx="6142">1.4057599999999999</cx:pt>
          <cx:pt idx="6143">1.5392070000000002</cx:pt>
          <cx:pt idx="6144">0.7343192999999999</cx:pt>
          <cx:pt idx="6145">0.72160367619999999</cx:pt>
          <cx:pt idx="6146">0.41381970000000001</cx:pt>
          <cx:pt idx="6147">0</cx:pt>
          <cx:pt idx="6148">0.21538887679999999</cx:pt>
          <cx:pt idx="6149">0.35453359239999999</cx:pt>
          <cx:pt idx="6150">0.71295609999999998</cx:pt>
          <cx:pt idx="6151">1.479023</cx:pt>
          <cx:pt idx="6152">1.7882660000000001</cx:pt>
          <cx:pt idx="6153">2</cx:pt>
          <cx:pt idx="6154">1.6492019999999998</cx:pt>
          <cx:pt idx="6155">1.279909</cx:pt>
          <cx:pt idx="6156">1.270764971</cx:pt>
          <cx:pt idx="6157">1.04955</cx:pt>
          <cx:pt idx="6158">0.37227179999999999</cx:pt>
          <cx:pt idx="6159">0</cx:pt>
          <cx:pt idx="6160">0</cx:pt>
          <cx:pt idx="6161">0</cx:pt>
          <cx:pt idx="6162">0</cx:pt>
          <cx:pt idx="6163">0.054111823730000001</cx:pt>
          <cx:pt idx="6164">0.1033209925</cx:pt>
          <cx:pt idx="6165">0.25994539999999999</cx:pt>
          <cx:pt idx="6166">0.79188599999999998</cx:pt>
          <cx:pt idx="6167">1.4431149999999999</cx:pt>
          <cx:pt idx="6168">0</cx:pt>
          <cx:pt idx="6169">0</cx:pt>
          <cx:pt idx="6170">0</cx:pt>
          <cx:pt idx="6171">0</cx:pt>
          <cx:pt idx="6172">0</cx:pt>
          <cx:pt idx="6173">0</cx:pt>
          <cx:pt idx="6174">0</cx:pt>
          <cx:pt idx="6175">0</cx:pt>
          <cx:pt idx="6176">0</cx:pt>
          <cx:pt idx="6177">0</cx:pt>
          <cx:pt idx="6178">0</cx:pt>
          <cx:pt idx="6179">0</cx:pt>
          <cx:pt idx="6180">0</cx:pt>
          <cx:pt idx="6181">0</cx:pt>
          <cx:pt idx="6182">0</cx:pt>
          <cx:pt idx="6183">0</cx:pt>
          <cx:pt idx="6184">0</cx:pt>
          <cx:pt idx="6185">0</cx:pt>
          <cx:pt idx="6186">0.20766613799999997</cx:pt>
          <cx:pt idx="6187">0.60578462600000005</cx:pt>
          <cx:pt idx="6188">0.80564453599999997</cx:pt>
          <cx:pt idx="6189">1.5955764719999999</cx:pt>
          <cx:pt idx="6190">2</cx:pt>
          <cx:pt idx="6191">1.9845655869999999</cx:pt>
          <cx:pt idx="6192">0.47000248300000003</cx:pt>
          <cx:pt idx="6193">0</cx:pt>
          <cx:pt idx="6194">0</cx:pt>
          <cx:pt idx="6195">0</cx:pt>
          <cx:pt idx="6196">0</cx:pt>
          <cx:pt idx="6197">0</cx:pt>
          <cx:pt idx="6198">0</cx:pt>
          <cx:pt idx="6199">0</cx:pt>
          <cx:pt idx="6200">0</cx:pt>
          <cx:pt idx="6201">0</cx:pt>
          <cx:pt idx="6202">0</cx:pt>
          <cx:pt idx="6203">0</cx:pt>
          <cx:pt idx="6204">0</cx:pt>
          <cx:pt idx="6205">0</cx:pt>
          <cx:pt idx="6206">0</cx:pt>
          <cx:pt idx="6207">0</cx:pt>
          <cx:pt idx="6208">0</cx:pt>
          <cx:pt idx="6209">0</cx:pt>
          <cx:pt idx="6210">0</cx:pt>
          <cx:pt idx="6211">0</cx:pt>
          <cx:pt idx="6212">0</cx:pt>
          <cx:pt idx="6213">0</cx:pt>
          <cx:pt idx="6214">0</cx:pt>
          <cx:pt idx="6215">0</cx:pt>
          <cx:pt idx="6216">0</cx:pt>
          <cx:pt idx="6217">0</cx:pt>
          <cx:pt idx="6218">0</cx:pt>
          <cx:pt idx="6219">0</cx:pt>
          <cx:pt idx="6220">0</cx:pt>
          <cx:pt idx="6221">0</cx:pt>
          <cx:pt idx="6222">0</cx:pt>
          <cx:pt idx="6223">0</cx:pt>
          <cx:pt idx="6224">0</cx:pt>
          <cx:pt idx="6225">0</cx:pt>
          <cx:pt idx="6226">0</cx:pt>
          <cx:pt idx="6227">0</cx:pt>
          <cx:pt idx="6228">0</cx:pt>
          <cx:pt idx="6229">0</cx:pt>
          <cx:pt idx="6230">0</cx:pt>
          <cx:pt idx="6231">0</cx:pt>
          <cx:pt idx="6232">0</cx:pt>
          <cx:pt idx="6233">0</cx:pt>
          <cx:pt idx="6234">0</cx:pt>
          <cx:pt idx="6235">0</cx:pt>
          <cx:pt idx="6236">0</cx:pt>
          <cx:pt idx="6237">0</cx:pt>
          <cx:pt idx="6238">0</cx:pt>
          <cx:pt idx="6239">0</cx:pt>
          <cx:pt idx="6240">0</cx:pt>
          <cx:pt idx="6241">0</cx:pt>
          <cx:pt idx="6242">0</cx:pt>
          <cx:pt idx="6243">0</cx:pt>
          <cx:pt idx="6244">0</cx:pt>
          <cx:pt idx="6245">0</cx:pt>
          <cx:pt idx="6246">0</cx:pt>
          <cx:pt idx="6247">0</cx:pt>
          <cx:pt idx="6248">0</cx:pt>
          <cx:pt idx="6249">0</cx:pt>
          <cx:pt idx="6250">0</cx:pt>
          <cx:pt idx="6251">0</cx:pt>
          <cx:pt idx="6252">0</cx:pt>
          <cx:pt idx="6253">0</cx:pt>
          <cx:pt idx="6254">0</cx:pt>
          <cx:pt idx="6255">0</cx:pt>
          <cx:pt idx="6256">0</cx:pt>
          <cx:pt idx="6257">0</cx:pt>
          <cx:pt idx="6258">0</cx:pt>
          <cx:pt idx="6259">0</cx:pt>
          <cx:pt idx="6260">0</cx:pt>
          <cx:pt idx="6261">0</cx:pt>
          <cx:pt idx="6262">0</cx:pt>
          <cx:pt idx="6263">0</cx:pt>
          <cx:pt idx="6264">0</cx:pt>
          <cx:pt idx="6265">0</cx:pt>
          <cx:pt idx="6266">0</cx:pt>
          <cx:pt idx="6267">0</cx:pt>
          <cx:pt idx="6268">0</cx:pt>
          <cx:pt idx="6269">0</cx:pt>
          <cx:pt idx="6270">0</cx:pt>
          <cx:pt idx="6271">0</cx:pt>
          <cx:pt idx="6272">0</cx:pt>
          <cx:pt idx="6273">0</cx:pt>
          <cx:pt idx="6274">0</cx:pt>
          <cx:pt idx="6275">0</cx:pt>
          <cx:pt idx="6276">0</cx:pt>
          <cx:pt idx="6277">0</cx:pt>
          <cx:pt idx="6278">0</cx:pt>
          <cx:pt idx="6279">0</cx:pt>
          <cx:pt idx="6280">0</cx:pt>
          <cx:pt idx="6281">0</cx:pt>
          <cx:pt idx="6282">0</cx:pt>
          <cx:pt idx="6283">0</cx:pt>
          <cx:pt idx="6284">0</cx:pt>
          <cx:pt idx="6285">0</cx:pt>
          <cx:pt idx="6286">0</cx:pt>
          <cx:pt idx="6287">0</cx:pt>
          <cx:pt idx="6288">0</cx:pt>
          <cx:pt idx="6289">0</cx:pt>
          <cx:pt idx="6290">0</cx:pt>
          <cx:pt idx="6291">0</cx:pt>
          <cx:pt idx="6292">0</cx:pt>
          <cx:pt idx="6293">0</cx:pt>
          <cx:pt idx="6294">0</cx:pt>
          <cx:pt idx="6295">0</cx:pt>
          <cx:pt idx="6296">0</cx:pt>
          <cx:pt idx="6297">0</cx:pt>
          <cx:pt idx="6298">0</cx:pt>
          <cx:pt idx="6299">0</cx:pt>
          <cx:pt idx="6300">0</cx:pt>
          <cx:pt idx="6301">0</cx:pt>
          <cx:pt idx="6302">0</cx:pt>
          <cx:pt idx="6303">0</cx:pt>
          <cx:pt idx="6304">0</cx:pt>
          <cx:pt idx="6305">0</cx:pt>
          <cx:pt idx="6306">0</cx:pt>
          <cx:pt idx="6307">0</cx:pt>
          <cx:pt idx="6308">0</cx:pt>
          <cx:pt idx="6309">0</cx:pt>
          <cx:pt idx="6310">0</cx:pt>
          <cx:pt idx="6311">0</cx:pt>
          <cx:pt idx="6312">0</cx:pt>
          <cx:pt idx="6313">0</cx:pt>
          <cx:pt idx="6314">0</cx:pt>
          <cx:pt idx="6315">0</cx:pt>
          <cx:pt idx="6316">0</cx:pt>
          <cx:pt idx="6317">0</cx:pt>
          <cx:pt idx="6318">0</cx:pt>
          <cx:pt idx="6319">0</cx:pt>
          <cx:pt idx="6320">0</cx:pt>
          <cx:pt idx="6321">0</cx:pt>
          <cx:pt idx="6322">0</cx:pt>
          <cx:pt idx="6323">0.068974187510000007</cx:pt>
          <cx:pt idx="6324">0.20233738809999999</cx:pt>
          <cx:pt idx="6325">0.78940402600000004</cx:pt>
          <cx:pt idx="6326">0.91660998770000002</cx:pt>
          <cx:pt idx="6327">0.98201428710000005</cx:pt>
          <cx:pt idx="6328">1.5721267990000001</cx:pt>
          <cx:pt idx="6329">1.6411009870000002</cx:pt>
          <cx:pt idx="6330">1.7054900000000002</cx:pt>
          <cx:pt idx="6331">1.710210673</cx:pt>
          <cx:pt idx="6332">2</cx:pt>
          <cx:pt idx="6333">1.9980910629999999</cx:pt>
          <cx:pt idx="6334">1.9937415039999999</cx:pt>
          <cx:pt idx="6335">1.9893622149999999</cx:pt>
          <cx:pt idx="6336">1.9886984679999999</cx:pt>
          <cx:pt idx="6337">1.9874780000000001</cx:pt>
          <cx:pt idx="6338">1.9536715770000002</cx:pt>
          <cx:pt idx="6339">1.135381</cx:pt>
          <cx:pt idx="6340">0</cx:pt>
          <cx:pt idx="6341">0</cx:pt>
          <cx:pt idx="6342">0</cx:pt>
          <cx:pt idx="6343">0</cx:pt>
          <cx:pt idx="6344">0</cx:pt>
          <cx:pt idx="6345">0</cx:pt>
          <cx:pt idx="6346">0</cx:pt>
          <cx:pt idx="6347">0</cx:pt>
          <cx:pt idx="6348">0</cx:pt>
          <cx:pt idx="6349">0</cx:pt>
          <cx:pt idx="6350">0</cx:pt>
          <cx:pt idx="6351">0</cx:pt>
          <cx:pt idx="6352">0.0034837227100000001</cx:pt>
          <cx:pt idx="6353">0.033083783480000004</cx:pt>
          <cx:pt idx="6354">0.036567506180000001</cx:pt>
          <cx:pt idx="6355">0.053107743459999995</cx:pt>
          <cx:pt idx="6356">0.056257319719999997</cx:pt>
          <cx:pt idx="6357">0.059714575339999999</cx:pt>
          <cx:pt idx="6358">0.076230000000000006</cx:pt>
          <cx:pt idx="6359">0.58394460000000004</cx:pt>
          <cx:pt idx="6360">1.178274</cx:pt>
          <cx:pt idx="6361">1.3154539999999999</cx:pt>
          <cx:pt idx="6362">1.664809</cx:pt>
          <cx:pt idx="6363">1.0824910000000001</cx:pt>
          <cx:pt idx="6364">0.89257959999999992</cx:pt>
          <cx:pt idx="6365">0.85842380000000007</cx:pt>
          <cx:pt idx="6366">1.0429007889999999</cx:pt>
          <cx:pt idx="6367">1.1627700000000001</cx:pt>
          <cx:pt idx="6368">1.3545640000000001</cx:pt>
          <cx:pt idx="6369">1.4377709999999999</cx:pt>
          <cx:pt idx="6370">1.7886600000000001</cx:pt>
          <cx:pt idx="6371">1.7138849999999999</cx:pt>
          <cx:pt idx="6372">1.010224</cx:pt>
          <cx:pt idx="6373">0.99629880400000004</cx:pt>
          <cx:pt idx="6374">0.28897089999999998</cx:pt>
          <cx:pt idx="6375">0.28840896020000001</cx:pt>
          <cx:pt idx="6376">0.25333319999999998</cx:pt>
          <cx:pt idx="6377">0.096165029999999999</cx:pt>
          <cx:pt idx="6378">0</cx:pt>
          <cx:pt idx="6379">0.51125660000000006</cx:pt>
          <cx:pt idx="6380">0.71653390000000006</cx:pt>
          <cx:pt idx="6381">0.71725811530000005</cx:pt>
          <cx:pt idx="6382">0.8951884</cx:pt>
          <cx:pt idx="6383">1.0073719999999999</cx:pt>
          <cx:pt idx="6384">1.0868980000000001</cx:pt>
          <cx:pt idx="6385">1.184871</cx:pt>
          <cx:pt idx="6386">1.1640699999999999</cx:pt>
          <cx:pt idx="6387">1.0521070000000001</cx:pt>
          <cx:pt idx="6388">1.0054959999999999</cx:pt>
          <cx:pt idx="6389">1.0219689999999999</cx:pt>
          <cx:pt idx="6390">1.1978420000000001</cx:pt>
          <cx:pt idx="6391">1.200940967</cx:pt>
          <cx:pt idx="6392">1.5846309999999999</cx:pt>
          <cx:pt idx="6393">1.8418700000000001</cx:pt>
          <cx:pt idx="6394">2</cx:pt>
          <cx:pt idx="6395">1.978036516</cx:pt>
          <cx:pt idx="6396">1.9135701729999999</cx:pt>
          <cx:pt idx="6397">1.903343475</cx:pt>
          <cx:pt idx="6398">1.8920258599999999</cx:pt>
          <cx:pt idx="6399">1.8596637110000001</cx:pt>
          <cx:pt idx="6400">1.8281399060000001</cx:pt>
          <cx:pt idx="6401">1.8064290000000001</cx:pt>
          <cx:pt idx="6402">1.74854245</cx:pt>
          <cx:pt idx="6403">0</cx:pt>
          <cx:pt idx="6404">0</cx:pt>
          <cx:pt idx="6405">0</cx:pt>
          <cx:pt idx="6406">0</cx:pt>
          <cx:pt idx="6407">0</cx:pt>
          <cx:pt idx="6408">0</cx:pt>
          <cx:pt idx="6409">0</cx:pt>
          <cx:pt idx="6410">0</cx:pt>
          <cx:pt idx="6411">0</cx:pt>
          <cx:pt idx="6412">0</cx:pt>
          <cx:pt idx="6413">0</cx:pt>
          <cx:pt idx="6414">0</cx:pt>
          <cx:pt idx="6415">0</cx:pt>
          <cx:pt idx="6416">0</cx:pt>
          <cx:pt idx="6417">1.6562862300000001</cx:pt>
          <cx:pt idx="6418">2</cx:pt>
          <cx:pt idx="6419">1.9419579909999998</cx:pt>
          <cx:pt idx="6420">1.6566419999999999</cx:pt>
          <cx:pt idx="6421">1.076333</cx:pt>
          <cx:pt idx="6422">1.0657430080000001</cx:pt>
          <cx:pt idx="6423">0.74585780000000002</cx:pt>
          <cx:pt idx="6424">0</cx:pt>
          <cx:pt idx="6425">0.046351134719999992</cx:pt>
          <cx:pt idx="6426">2</cx:pt>
          <cx:pt idx="6427">1.9242693990000002</cx:pt>
          <cx:pt idx="6428">1.4774289999999999</cx:pt>
          <cx:pt idx="6429">0.86476410000000004</cx:pt>
          <cx:pt idx="6430">0.85648908509999999</cx:pt>
          <cx:pt idx="6431">0.64133889999999993</cx:pt>
          <cx:pt idx="6432">0.64354800359999997</cx:pt>
          <cx:pt idx="6433">0.90201260000000005</cx:pt>
          <cx:pt idx="6434">1.09385</cx:pt>
          <cx:pt idx="6435">0</cx:pt>
          <cx:pt idx="6436">0</cx:pt>
          <cx:pt idx="6437">0</cx:pt>
          <cx:pt idx="6438">0</cx:pt>
          <cx:pt idx="6439">0</cx:pt>
          <cx:pt idx="6440">0</cx:pt>
          <cx:pt idx="6441">0</cx:pt>
          <cx:pt idx="6442">0</cx:pt>
          <cx:pt idx="6443">0</cx:pt>
          <cx:pt idx="6444">0</cx:pt>
          <cx:pt idx="6445">0</cx:pt>
          <cx:pt idx="6446">0</cx:pt>
          <cx:pt idx="6447">0</cx:pt>
          <cx:pt idx="6448">0</cx:pt>
          <cx:pt idx="6449">0</cx:pt>
          <cx:pt idx="6450">0</cx:pt>
          <cx:pt idx="6451">0</cx:pt>
          <cx:pt idx="6452">0</cx:pt>
          <cx:pt idx="6453">0</cx:pt>
          <cx:pt idx="6454">0</cx:pt>
          <cx:pt idx="6455">0</cx:pt>
          <cx:pt idx="6456">0</cx:pt>
          <cx:pt idx="6457">0</cx:pt>
          <cx:pt idx="6458">0</cx:pt>
          <cx:pt idx="6459">0</cx:pt>
          <cx:pt idx="6460">0</cx:pt>
          <cx:pt idx="6461">0</cx:pt>
          <cx:pt idx="6462">0</cx:pt>
          <cx:pt idx="6463">0</cx:pt>
          <cx:pt idx="6464">0</cx:pt>
          <cx:pt idx="6465">0</cx:pt>
          <cx:pt idx="6466">0</cx:pt>
          <cx:pt idx="6467">0</cx:pt>
          <cx:pt idx="6468">0</cx:pt>
          <cx:pt idx="6469">0</cx:pt>
          <cx:pt idx="6470">0</cx:pt>
          <cx:pt idx="6471">0</cx:pt>
          <cx:pt idx="6472">0</cx:pt>
          <cx:pt idx="6473">0</cx:pt>
          <cx:pt idx="6474">1.3013619829999998</cx:pt>
          <cx:pt idx="6475">2</cx:pt>
          <cx:pt idx="6476">1.967640598</cx:pt>
          <cx:pt idx="6477">1.946455281</cx:pt>
          <cx:pt idx="6478">1.9197230200000002</cx:pt>
          <cx:pt idx="6479">1.8876550000000001</cx:pt>
          <cx:pt idx="6480">1.6310579999999999</cx:pt>
          <cx:pt idx="6481">1.201414</cx:pt>
          <cx:pt idx="6482">1.143958</cx:pt>
          <cx:pt idx="6483">1.172892</cx:pt>
          <cx:pt idx="6484">1.6732499999999999</cx:pt>
          <cx:pt idx="6485">1.8538300000000001</cx:pt>
          <cx:pt idx="6486">1.855019585</cx:pt>
          <cx:pt idx="6487">2</cx:pt>
          <cx:pt idx="6488">1.999479974</cx:pt>
          <cx:pt idx="6489">1.9989832599999999</cx:pt>
          <cx:pt idx="6490">1.9984964489999999</cx:pt>
          <cx:pt idx="6491">1.9967405919999999</cx:pt>
          <cx:pt idx="6492">1.9957258580000001</cx:pt>
          <cx:pt idx="6493">1.994222181</cx:pt>
          <cx:pt idx="6494">1.9939836629999999</cx:pt>
          <cx:pt idx="6495">1.9937197019999999</cx:pt>
          <cx:pt idx="6496">1.989959695</cx:pt>
          <cx:pt idx="6497">1.9897093960000001</cx:pt>
          <cx:pt idx="6498">1.987717027</cx:pt>
          <cx:pt idx="6499">1.987202766</cx:pt>
          <cx:pt idx="6500">1.9849463109999999</cx:pt>
          <cx:pt idx="6501">1.9846960119999999</cx:pt>
          <cx:pt idx="6502">1.9814366039999998</cx:pt>
          <cx:pt idx="6503">1.98068182</cx:pt>
          <cx:pt idx="6504">1.9789436359999999</cx:pt>
          <cx:pt idx="6505">1.9781908580000001</cx:pt>
          <cx:pt idx="6506">1.9779268959999998</cx:pt>
          <cx:pt idx="6507">1.9774262980000001</cx:pt>
          <cx:pt idx="6508">1.9769258239999998</cx:pt>
          <cx:pt idx="6509">1.97642322</cx:pt>
          <cx:pt idx="6510">1.972677</cx:pt>
          <cx:pt idx="6511">1.8342876279999998</cx:pt>
          <cx:pt idx="6512">1.7071350000000001</cx:pt>
          <cx:pt idx="6513">1.6686129999999999</cx:pt>
          <cx:pt idx="6514">1.4137710000000001</cx:pt>
          <cx:pt idx="6515">0.58482860000000003</cx:pt>
          <cx:pt idx="6516">0.57581785009999997</cx:pt>
          <cx:pt idx="6517">0</cx:pt>
          <cx:pt idx="6518">0.1042179904</cx:pt>
          <cx:pt idx="6519">0.29935189919999999</cx:pt>
          <cx:pt idx="6520">0.3117303052</cx:pt>
          <cx:pt idx="6521">0.37718040000000003</cx:pt>
          <cx:pt idx="6522">1.4147810000000001</cx:pt>
          <cx:pt idx="6523">1.9154820000000001</cx:pt>
          <cx:pt idx="6524">2</cx:pt>
          <cx:pt idx="6525">2</cx:pt>
          <cx:pt idx="6526">2</cx:pt>
          <cx:pt idx="6527">2</cx:pt>
          <cx:pt idx="6528">2</cx:pt>
          <cx:pt idx="6529">2</cx:pt>
          <cx:pt idx="6530">2</cx:pt>
          <cx:pt idx="6531">2</cx:pt>
          <cx:pt idx="6532">2</cx:pt>
          <cx:pt idx="6533">1.425067503</cx:pt>
          <cx:pt idx="6534">1.21974144</cx:pt>
          <cx:pt idx="6535">1.0342069999999999</cx:pt>
          <cx:pt idx="6536">0</cx:pt>
          <cx:pt idx="6537">0</cx:pt>
          <cx:pt idx="6538">0</cx:pt>
          <cx:pt idx="6539">0</cx:pt>
          <cx:pt idx="6540">0</cx:pt>
          <cx:pt idx="6541">0</cx:pt>
          <cx:pt idx="6542">0</cx:pt>
          <cx:pt idx="6543">0</cx:pt>
          <cx:pt idx="6544">0</cx:pt>
          <cx:pt idx="6545">0</cx:pt>
          <cx:pt idx="6546">0</cx:pt>
          <cx:pt idx="6547">0</cx:pt>
          <cx:pt idx="6548">0</cx:pt>
          <cx:pt idx="6549">0</cx:pt>
          <cx:pt idx="6550">0</cx:pt>
          <cx:pt idx="6551">0.038736575850000003</cx:pt>
          <cx:pt idx="6552">0.122487518</cx:pt>
          <cx:pt idx="6553">0.36370800000000003</cx:pt>
          <cx:pt idx="6554">0.95308769999999998</cx:pt>
          <cx:pt idx="6555">1.3344100000000001</cx:pt>
          <cx:pt idx="6556">1.4448660000000002</cx:pt>
          <cx:pt idx="6557">1.8811439999999999</cx:pt>
          <cx:pt idx="6558">1.8820630629999999</cx:pt>
          <cx:pt idx="6559">2</cx:pt>
          <cx:pt idx="6560">2</cx:pt>
          <cx:pt idx="6561">2</cx:pt>
          <cx:pt idx="6562">2</cx:pt>
          <cx:pt idx="6563">2</cx:pt>
          <cx:pt idx="6564">2</cx:pt>
          <cx:pt idx="6565">2</cx:pt>
          <cx:pt idx="6566">1.9507376510000001</cx:pt>
          <cx:pt idx="6567">1.937872687</cx:pt>
          <cx:pt idx="6568">1.8886103380000001</cx:pt>
          <cx:pt idx="6569">1.8270554849999998</cx:pt>
          <cx:pt idx="6570">1.7897040000000002</cx:pt>
          <cx:pt idx="6571">0.99328950000000005</cx:pt>
          <cx:pt idx="6572">0.072537190000000001</cx:pt>
          <cx:pt idx="6573">0</cx:pt>
          <cx:pt idx="6574">0.011197361910000002</cx:pt>
          <cx:pt idx="6575">0.30076570000000002</cx:pt>
          <cx:pt idx="6576">0.84246730000000003</cx:pt>
          <cx:pt idx="6577">1.537228</cx:pt>
          <cx:pt idx="6578">2</cx:pt>
          <cx:pt idx="6579">1.9654735109999999</cx:pt>
          <cx:pt idx="6580">1.934266877</cx:pt>
          <cx:pt idx="6581">1.9180282800000001</cx:pt>
          <cx:pt idx="6582">1.803194097</cx:pt>
          <cx:pt idx="6583">1.770462789</cx:pt>
          <cx:pt idx="6584">1.7540930370000001</cx:pt>
          <cx:pt idx="6585">1.721230574</cx:pt>
          <cx:pt idx="6586">1.590026639</cx:pt>
          <cx:pt idx="6587">1.5739109999999998</cx:pt>
          <cx:pt idx="6588">1.5505658070000001</cx:pt>
          <cx:pt idx="6589">0</cx:pt>
          <cx:pt idx="6590">0</cx:pt>
          <cx:pt idx="6591">0</cx:pt>
          <cx:pt idx="6592">0</cx:pt>
          <cx:pt idx="6593">0</cx:pt>
          <cx:pt idx="6594">0</cx:pt>
          <cx:pt idx="6595">0</cx:pt>
          <cx:pt idx="6596">0</cx:pt>
          <cx:pt idx="6597">0</cx:pt>
          <cx:pt idx="6598">0.43749728570000002</cx:pt>
          <cx:pt idx="6599">0.84863936109999993</cx:pt>
          <cx:pt idx="6600">1.2696909999999999</cx:pt>
          <cx:pt idx="6601">2</cx:pt>
          <cx:pt idx="6602">1.797010942</cx:pt>
          <cx:pt idx="6603">1.661875915</cx:pt>
          <cx:pt idx="6604">1.5945612120000001</cx:pt>
          <cx:pt idx="6605">1.459931807</cx:pt>
          <cx:pt idx="6606">1.3921114829999999</cx:pt>
          <cx:pt idx="6607">1.1233919999999999</cx:pt>
          <cx:pt idx="6608">1.1042585390000001</cx:pt>
          <cx:pt idx="6609">0.29316619999999999</cx:pt>
          <cx:pt idx="6610">0</cx:pt>
          <cx:pt idx="6611">0</cx:pt>
          <cx:pt idx="6612">0</cx:pt>
          <cx:pt idx="6613">0</cx:pt>
          <cx:pt idx="6614">0</cx:pt>
          <cx:pt idx="6615">0</cx:pt>
          <cx:pt idx="6616">0</cx:pt>
          <cx:pt idx="6617">0</cx:pt>
          <cx:pt idx="6618">0</cx:pt>
          <cx:pt idx="6619">0</cx:pt>
          <cx:pt idx="6620">0</cx:pt>
          <cx:pt idx="6621">0</cx:pt>
          <cx:pt idx="6622">0</cx:pt>
          <cx:pt idx="6623">0</cx:pt>
          <cx:pt idx="6624">0</cx:pt>
          <cx:pt idx="6625">0</cx:pt>
          <cx:pt idx="6626">0</cx:pt>
          <cx:pt idx="6627">0</cx:pt>
          <cx:pt idx="6628">0</cx:pt>
          <cx:pt idx="6629">0</cx:pt>
          <cx:pt idx="6630">0.1402284</cx:pt>
          <cx:pt idx="6631">0.193356</cx:pt>
          <cx:pt idx="6632">0.49098590000000003</cx:pt>
          <cx:pt idx="6633">0.72202949999999999</cx:pt>
          <cx:pt idx="6634">1.125993</cx:pt>
          <cx:pt idx="6635">1.404504</cx:pt>
          <cx:pt idx="6636">1.8991640000000001</cx:pt>
          <cx:pt idx="6637">2</cx:pt>
          <cx:pt idx="6638">0.70820731120000002</cx:pt>
          <cx:pt idx="6639">0.47182499739999995</cx:pt>
          <cx:pt idx="6640">0</cx:pt>
          <cx:pt idx="6641">0</cx:pt>
          <cx:pt idx="6642">0</cx:pt>
          <cx:pt idx="6643">0</cx:pt>
          <cx:pt idx="6644">0</cx:pt>
          <cx:pt idx="6645">0</cx:pt>
          <cx:pt idx="6646">0</cx:pt>
          <cx:pt idx="6647">0</cx:pt>
          <cx:pt idx="6648">0</cx:pt>
          <cx:pt idx="6649">0</cx:pt>
          <cx:pt idx="6650">0</cx:pt>
          <cx:pt idx="6651">0</cx:pt>
          <cx:pt idx="6652">0</cx:pt>
          <cx:pt idx="6653">0</cx:pt>
          <cx:pt idx="6654">0</cx:pt>
          <cx:pt idx="6655">0</cx:pt>
          <cx:pt idx="6656">2</cx:pt>
          <cx:pt idx="6657">1.829393182</cx:pt>
          <cx:pt idx="6658">1.742368452</cx:pt>
          <cx:pt idx="6659">1.2195664050000001</cx:pt>
          <cx:pt idx="6660">0.34805534339999999</cx:pt>
          <cx:pt idx="6661">0.086327494750000011</cx:pt>
          <cx:pt idx="6662">0</cx:pt>
          <cx:pt idx="6663">0</cx:pt>
          <cx:pt idx="6664">0</cx:pt>
          <cx:pt idx="6665">0</cx:pt>
          <cx:pt idx="6666">0</cx:pt>
          <cx:pt idx="6667">0</cx:pt>
          <cx:pt idx="6668">0</cx:pt>
          <cx:pt idx="6669">0</cx:pt>
          <cx:pt idx="6670">0</cx:pt>
          <cx:pt idx="6671">0</cx:pt>
          <cx:pt idx="6672">0</cx:pt>
          <cx:pt idx="6673">0</cx:pt>
          <cx:pt idx="6674">0</cx:pt>
          <cx:pt idx="6675">0</cx:pt>
          <cx:pt idx="6676">0</cx:pt>
          <cx:pt idx="6677">0</cx:pt>
          <cx:pt idx="6678">0</cx:pt>
          <cx:pt idx="6679">0</cx:pt>
          <cx:pt idx="6680">0</cx:pt>
          <cx:pt idx="6681">0</cx:pt>
          <cx:pt idx="6682">0</cx:pt>
          <cx:pt idx="6683">0</cx:pt>
          <cx:pt idx="6684">0</cx:pt>
          <cx:pt idx="6685">0</cx:pt>
          <cx:pt idx="6686">0</cx:pt>
          <cx:pt idx="6687">0.20284237860000001</cx:pt>
          <cx:pt idx="6688">0.29984888730000003</cx:pt>
          <cx:pt idx="6689">0.36704177770000002</cx:pt>
          <cx:pt idx="6690">0.46561130000000001</cx:pt>
          <cx:pt idx="6691">0.70106390000000007</cx:pt>
          <cx:pt idx="6692">0.76864779999999999</cx:pt>
          <cx:pt idx="6693">0.82424739999999996</cx:pt>
          <cx:pt idx="6694">0.87881969999999998</cx:pt>
          <cx:pt idx="6695">1.3351</cx:pt>
          <cx:pt idx="6696">1.4990729999999999</cx:pt>
          <cx:pt idx="6697">1.714296</cx:pt>
          <cx:pt idx="6698">1.65951</cx:pt>
          <cx:pt idx="6699">2</cx:pt>
          <cx:pt idx="6700">1.9263480000000002</cx:pt>
          <cx:pt idx="6701">1.9255461270000001</cx:pt>
          <cx:pt idx="6702">1.8278179999999999</cx:pt>
          <cx:pt idx="6703">2</cx:pt>
          <cx:pt idx="6704">1.9999479059999998</cx:pt>
          <cx:pt idx="6705">1.9864993259999999</cx:pt>
          <cx:pt idx="6706">1.949536317</cx:pt>
          <cx:pt idx="6707">1.9461283800000002</cx:pt>
          <cx:pt idx="6708">1.9293760499999999</cx:pt>
          <cx:pt idx="6709">1.9259950000000001</cx:pt>
          <cx:pt idx="6710">0</cx:pt>
          <cx:pt idx="6711">0</cx:pt>
          <cx:pt idx="6712">0</cx:pt>
          <cx:pt idx="6713">0</cx:pt>
          <cx:pt idx="6714">0</cx:pt>
          <cx:pt idx="6715">0</cx:pt>
          <cx:pt idx="6716">0</cx:pt>
          <cx:pt idx="6717">0</cx:pt>
          <cx:pt idx="6718">0</cx:pt>
          <cx:pt idx="6719">0</cx:pt>
          <cx:pt idx="6720">0.016672332849999999</cx:pt>
          <cx:pt idx="6721">0.032340306399999998</cx:pt>
          <cx:pt idx="6722">0.048377885410000002</cx:pt>
          <cx:pt idx="6723">0.06455205671</cx:pt>
          <cx:pt idx="6724">0.08059767000000001</cx:pt>
          <cx:pt idx="6725">0.22524120280000001</cx:pt>
          <cx:pt idx="6726">0.24128681610000002</cx:pt>
          <cx:pt idx="6727">0.25733242940000001</cx:pt>
          <cx:pt idx="6728">0.33705429999999997</cx:pt>
          <cx:pt idx="6729">1.8827950000000002</cx:pt>
          <cx:pt idx="6730">2</cx:pt>
          <cx:pt idx="6731">1.99452772</cx:pt>
          <cx:pt idx="6732">1.9925398329999999</cx:pt>
          <cx:pt idx="6733">1.9910515259999999</cx:pt>
          <cx:pt idx="6734">1.9885675359999999</cx:pt>
          <cx:pt idx="6735">1.988067459</cx:pt>
          <cx:pt idx="6736">1.9835913590000001</cx:pt>
          <cx:pt idx="6737">1.98111507</cx:pt>
          <cx:pt idx="6738">1.9746468590000001</cx:pt>
          <cx:pt idx="6739">1.968202</cx:pt>
          <cx:pt idx="6740">1.904957</cx:pt>
          <cx:pt idx="6741">1.7207380000000001</cx:pt>
          <cx:pt idx="6742">1.375499</cx:pt>
          <cx:pt idx="6743">1.137991</cx:pt>
          <cx:pt idx="6744">0.84895089999999995</cx:pt>
          <cx:pt idx="6745">0.031222409999999999</cx:pt>
          <cx:pt idx="6746">0</cx:pt>
          <cx:pt idx="6747">0.1244064498</cx:pt>
          <cx:pt idx="6748">0.15479321339999999</cx:pt>
          <cx:pt idx="6749">0.30983372920000002</cx:pt>
          <cx:pt idx="6750">0.37083910000000003</cx:pt>
          <cx:pt idx="6751">0.64233119999999999</cx:pt>
          <cx:pt idx="6752">0.83659856739999994</cx:pt>
          <cx:pt idx="6753">1.2035480000000001</cx:pt>
          <cx:pt idx="6754">1.3293039999999998</cx:pt>
          <cx:pt idx="6755">2</cx:pt>
          <cx:pt idx="6756">1.8714562620000001</cx:pt>
          <cx:pt idx="6757">1.4852455920000001</cx:pt>
          <cx:pt idx="6758">1.2924138909999998</cx:pt>
          <cx:pt idx="6759">1.22761085</cx:pt>
          <cx:pt idx="6760">1.163322886</cx:pt>
          <cx:pt idx="6761">1.0970390000000001</cx:pt>
          <cx:pt idx="6762">0.41387030000000002</cx:pt>
          <cx:pt idx="6763">0.25937987360000003</cx:pt>
          <cx:pt idx="6764">0.09997745999999999</cx:pt>
          <cx:pt idx="6765">0</cx:pt>
          <cx:pt idx="6766">0</cx:pt>
          <cx:pt idx="6767">0</cx:pt>
          <cx:pt idx="6768">0</cx:pt>
          <cx:pt idx="6769">0</cx:pt>
          <cx:pt idx="6770">0</cx:pt>
          <cx:pt idx="6771">0</cx:pt>
          <cx:pt idx="6772">0</cx:pt>
          <cx:pt idx="6773">0</cx:pt>
          <cx:pt idx="6774">0</cx:pt>
          <cx:pt idx="6775">0</cx:pt>
          <cx:pt idx="6776">0</cx:pt>
          <cx:pt idx="6777">0</cx:pt>
          <cx:pt idx="6778">0</cx:pt>
          <cx:pt idx="6779">0</cx:pt>
          <cx:pt idx="6780">0.00039694444000000002</cx:pt>
          <cx:pt idx="6781">0.052140341909999999</cx:pt>
          <cx:pt idx="6782">0.077301387870000002</cx:pt>
          <cx:pt idx="6783">0.2053474133</cx:pt>
          <cx:pt idx="6784">0.3080147151</cx:pt>
          <cx:pt idx="6785">0.61483860000000001</cx:pt>
          <cx:pt idx="6786">1.3429390000000001</cx:pt>
          <cx:pt idx="6787">1.770786</cx:pt>
          <cx:pt idx="6788">2</cx:pt>
          <cx:pt idx="6789">1.7177298619999999</cx:pt>
          <cx:pt idx="6790">1.4900790000000002</cx:pt>
          <cx:pt idx="6791">1.177198</cx:pt>
          <cx:pt idx="6792">0.93154690000000007</cx:pt>
          <cx:pt idx="6793">0.82437129999999992</cx:pt>
          <cx:pt idx="6794">0.76498699999999997</cx:pt>
          <cx:pt idx="6795">1.228947</cx:pt>
          <cx:pt idx="6796">1.33501</cx:pt>
          <cx:pt idx="6797">1.2902389999999999</cx:pt>
          <cx:pt idx="6798">1.4112739999999999</cx:pt>
          <cx:pt idx="6799">1.5024420000000001</cx:pt>
          <cx:pt idx="6800">2</cx:pt>
          <cx:pt idx="6801">1.9975282619999999</cx:pt>
          <cx:pt idx="6802">1.9926000640000001</cx:pt>
          <cx:pt idx="6803">1.987679752</cx:pt>
          <cx:pt idx="6804">1.9866958370000001</cx:pt>
          <cx:pt idx="6805">1.9861961180000001</cx:pt>
          <cx:pt idx="6806">1.9857077330000001</cx:pt>
          <cx:pt idx="6807">1.982255777</cx:pt>
          <cx:pt idx="6808">1.980287701</cx:pt>
          <cx:pt idx="6809">1.979299844</cx:pt>
          <cx:pt idx="6810">1.972895651</cx:pt>
          <cx:pt idx="6811">1.9689518609999999</cx:pt>
          <cx:pt idx="6812">1.9684790000000001</cx:pt>
          <cx:pt idx="6813">1.4598660000000001</cx:pt>
          <cx:pt idx="6814">1.28532</cx:pt>
          <cx:pt idx="6815">1.6454121960000001</cx:pt>
          <cx:pt idx="6816">2</cx:pt>
          <cx:pt idx="6817">1.99334202</cx:pt>
          <cx:pt idx="6818">1.9737259330000001</cx:pt>
          <cx:pt idx="6819">1.8814859999999998</cx:pt>
          <cx:pt idx="6820">1.827642</cx:pt>
          <cx:pt idx="6821">2</cx:pt>
          <cx:pt idx="6822">1.984985606</cx:pt>
          <cx:pt idx="6823">1.9085959109999999</cx:pt>
          <cx:pt idx="6824">1.893402</cx:pt>
          <cx:pt idx="6825">1.5670120000000001</cx:pt>
          <cx:pt idx="6826">1.5823390000000002</cx:pt>
          <cx:pt idx="6827">1.595896</cx:pt>
          <cx:pt idx="6828">1.923581</cx:pt>
          <cx:pt idx="6829">1.8443499999999999</cx:pt>
          <cx:pt idx="6830">1.943308</cx:pt>
          <cx:pt idx="6831">1.9637970000000002</cx:pt>
          <cx:pt idx="6832">1.9613383630000001</cx:pt>
          <cx:pt idx="6833">1.8359479999999999</cx:pt>
          <cx:pt idx="6834">1.693846</cx:pt>
          <cx:pt idx="6835">1.444116</cx:pt>
          <cx:pt idx="6836">0.91907520000000009</cx:pt>
          <cx:pt idx="6837">0.239928</cx:pt>
          <cx:pt idx="6838">0.23809210539999998</cx:pt>
          <cx:pt idx="6839">0</cx:pt>
          <cx:pt idx="6840">0</cx:pt>
          <cx:pt idx="6841">0</cx:pt>
          <cx:pt idx="6842">0</cx:pt>
          <cx:pt idx="6843">0</cx:pt>
          <cx:pt idx="6844">0</cx:pt>
          <cx:pt idx="6845">0</cx:pt>
          <cx:pt idx="6846">0</cx:pt>
          <cx:pt idx="6847">0</cx:pt>
          <cx:pt idx="6848">0</cx:pt>
          <cx:pt idx="6849">0</cx:pt>
          <cx:pt idx="6850">0</cx:pt>
          <cx:pt idx="6851">0</cx:pt>
          <cx:pt idx="6852">0</cx:pt>
          <cx:pt idx="6853">0.33604529999999999</cx:pt>
          <cx:pt idx="6854">1.8643260000000001</cx:pt>
          <cx:pt idx="6855">2</cx:pt>
          <cx:pt idx="6856">1.993240178</cx:pt>
          <cx:pt idx="6857">1.904901902</cx:pt>
          <cx:pt idx="6858">1.8577219999999999</cx:pt>
          <cx:pt idx="6859">1.851776198</cx:pt>
          <cx:pt idx="6860">1.0788150000000001</cx:pt>
          <cx:pt idx="6861">0.4499282</cx:pt>
          <cx:pt idx="6862">0</cx:pt>
          <cx:pt idx="6863">0</cx:pt>
          <cx:pt idx="6864">0</cx:pt>
          <cx:pt idx="6865">0</cx:pt>
          <cx:pt idx="6866">0</cx:pt>
          <cx:pt idx="6867">0</cx:pt>
          <cx:pt idx="6868">0</cx:pt>
          <cx:pt idx="6869">0</cx:pt>
          <cx:pt idx="6870">0</cx:pt>
          <cx:pt idx="6871">0</cx:pt>
          <cx:pt idx="6872">0</cx:pt>
          <cx:pt idx="6873">0</cx:pt>
          <cx:pt idx="6874">0</cx:pt>
          <cx:pt idx="6875">0</cx:pt>
          <cx:pt idx="6876">0</cx:pt>
          <cx:pt idx="6877">0</cx:pt>
          <cx:pt idx="6878">0</cx:pt>
          <cx:pt idx="6879">0</cx:pt>
          <cx:pt idx="6880">0</cx:pt>
          <cx:pt idx="6881">0</cx:pt>
          <cx:pt idx="6882">0</cx:pt>
          <cx:pt idx="6883">0.048240295169999996</cx:pt>
          <cx:pt idx="6884">0.1916538374</cx:pt>
          <cx:pt idx="6885">0.2154963983</cx:pt>
          <cx:pt idx="6886">0.25097370000000002</cx:pt>
          <cx:pt idx="6887">1.2376399999999999</cx:pt>
          <cx:pt idx="6888">1.2006600299999999</cx:pt>
          <cx:pt idx="6889">0</cx:pt>
          <cx:pt idx="6890">3.4670089999999998e-05</cx:pt>
          <cx:pt idx="6891">0.0046157129299999999</cx:pt>
          <cx:pt idx="6892">0.013844827630000001</cx:pt>
          <cx:pt idx="6893">0.092413646520000003</cx:pt>
          <cx:pt idx="6894">0.1017167237</cx:pt>
          <cx:pt idx="6895">0.11548989999999999</cx:pt>
          <cx:pt idx="6896">1.9375829999999998</cx:pt>
          <cx:pt idx="6897">2</cx:pt>
          <cx:pt idx="6898">2</cx:pt>
          <cx:pt idx="6899">2</cx:pt>
          <cx:pt idx="6900">2</cx:pt>
          <cx:pt idx="6901">2</cx:pt>
          <cx:pt idx="6902">2</cx:pt>
          <cx:pt idx="6903">2</cx:pt>
          <cx:pt idx="6904">2</cx:pt>
          <cx:pt idx="6905">2</cx:pt>
          <cx:pt idx="6906">2</cx:pt>
          <cx:pt idx="6907">1.9991602239999999</cx:pt>
          <cx:pt idx="6908">1.8895146349999998</cx:pt>
          <cx:pt idx="6909">1.81630804</cx:pt>
          <cx:pt idx="6910">1.6699313599999999</cx:pt>
          <cx:pt idx="6911">1.415899</cx:pt>
          <cx:pt idx="6912">1.4178336619999998</cx:pt>
          <cx:pt idx="6913">1.4801113860000001</cx:pt>
          <cx:pt idx="6914">1.6612020000000001</cx:pt>
          <cx:pt idx="6915">1.5383179999999999</cx:pt>
          <cx:pt idx="6916">0.85973910000000009</cx:pt>
          <cx:pt idx="6917">0.87317211750000001</cx:pt>
          <cx:pt idx="6918">1.302176</cx:pt>
          <cx:pt idx="6919">1.307646627</cx:pt>
          <cx:pt idx="6920">1.9743780000000002</cx:pt>
          <cx:pt idx="6921">1.974384511</cx:pt>
          <cx:pt idx="6922">1.978162293</cx:pt>
          <cx:pt idx="6923">1.9785848699999999</cx:pt>
          <cx:pt idx="6924">1.9848888740000001</cx:pt>
          <cx:pt idx="6925">1.986985797</cx:pt>
          <cx:pt idx="6926">1.990344152</cx:pt>
          <cx:pt idx="6927">1.9920250100000001</cx:pt>
          <cx:pt idx="6928">1.992867014</cx:pt>
          <cx:pt idx="6929">1.993286441</cx:pt>
          <cx:pt idx="6930">1.9937058680000002</cx:pt>
          <cx:pt idx="6931">1.9949672979999999</cx:pt>
          <cx:pt idx="6932">1.996225369</cx:pt>
        </cx:lvl>
      </cx:numDim>
    </cx:data>
    <cx:data id="8">
      <cx:numDim type="val">
        <cx:f>'Box Plots'!$I$151:$I$7083</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0</cx:pt>
          <cx:pt idx="421">0</cx:pt>
          <cx:pt idx="422">0</cx:pt>
          <cx:pt idx="423">0</cx:pt>
          <cx:pt idx="424">0</cx:pt>
          <cx:pt idx="425">0</cx:pt>
          <cx:pt idx="426">0</cx:pt>
          <cx:pt idx="427">0</cx:pt>
          <cx:pt idx="428">0</cx:pt>
          <cx:pt idx="429">0</cx:pt>
          <cx:pt idx="430">0</cx:pt>
          <cx:pt idx="431">0</cx:pt>
          <cx:pt idx="432">0</cx:pt>
          <cx:pt idx="433">0</cx:pt>
          <cx:pt idx="434">0</cx:pt>
          <cx:pt idx="435">0</cx:pt>
          <cx:pt idx="436">0</cx:pt>
          <cx:pt idx="437">0</cx:pt>
          <cx:pt idx="438">0</cx:pt>
          <cx:pt idx="439">0</cx:pt>
          <cx:pt idx="440">0</cx:pt>
          <cx:pt idx="441">0</cx:pt>
          <cx:pt idx="442">0</cx:pt>
          <cx:pt idx="443">0</cx:pt>
          <cx:pt idx="444">0</cx:pt>
          <cx:pt idx="445">0</cx:pt>
          <cx:pt idx="446">0</cx:pt>
          <cx:pt idx="447">0</cx:pt>
          <cx:pt idx="448">0</cx:pt>
          <cx:pt idx="449">0</cx:pt>
          <cx:pt idx="450">0</cx:pt>
          <cx:pt idx="451">0</cx:pt>
          <cx:pt idx="452">0</cx:pt>
          <cx:pt idx="453">0</cx:pt>
          <cx:pt idx="454">0</cx:pt>
          <cx:pt idx="455">0</cx:pt>
          <cx:pt idx="456">0</cx:pt>
          <cx:pt idx="457">0</cx:pt>
          <cx:pt idx="458">0</cx:pt>
          <cx:pt idx="459">0</cx:pt>
          <cx:pt idx="460">0</cx:pt>
          <cx:pt idx="461">0</cx:pt>
          <cx:pt idx="462">0</cx:pt>
          <cx:pt idx="463">0</cx:pt>
          <cx:pt idx="464">0</cx:pt>
          <cx:pt idx="465">0</cx:pt>
          <cx:pt idx="466">0</cx:pt>
          <cx:pt idx="467">0</cx:pt>
          <cx:pt idx="468">0</cx:pt>
          <cx:pt idx="469">0</cx:pt>
          <cx:pt idx="470">0</cx:pt>
          <cx:pt idx="471">0</cx:pt>
          <cx:pt idx="472">0</cx:pt>
          <cx:pt idx="473">0</cx:pt>
          <cx:pt idx="474">0</cx:pt>
          <cx:pt idx="475">0</cx:pt>
          <cx:pt idx="476">0</cx:pt>
          <cx:pt idx="477">0</cx:pt>
          <cx:pt idx="478">0</cx:pt>
          <cx:pt idx="479">0</cx:pt>
          <cx:pt idx="480">0</cx:pt>
          <cx:pt idx="481">0</cx:pt>
          <cx:pt idx="482">0</cx:pt>
          <cx:pt idx="483">0</cx:pt>
          <cx:pt idx="484">0</cx:pt>
          <cx:pt idx="485">0</cx:pt>
          <cx:pt idx="486">0</cx:pt>
          <cx:pt idx="487">0</cx:pt>
          <cx:pt idx="488">0</cx:pt>
          <cx:pt idx="489">0</cx:pt>
          <cx:pt idx="490">0</cx:pt>
          <cx:pt idx="491">0</cx:pt>
          <cx:pt idx="492">0</cx:pt>
          <cx:pt idx="493">0</cx:pt>
          <cx:pt idx="494">0</cx:pt>
          <cx:pt idx="495">0</cx:pt>
          <cx:pt idx="496">0</cx:pt>
          <cx:pt idx="497">0</cx:pt>
          <cx:pt idx="498">0</cx:pt>
          <cx:pt idx="499">0</cx:pt>
          <cx:pt idx="500">0</cx:pt>
          <cx:pt idx="501">0</cx:pt>
          <cx:pt idx="502">0</cx:pt>
          <cx:pt idx="503">0</cx:pt>
          <cx:pt idx="504">0</cx:pt>
          <cx:pt idx="505">0</cx:pt>
          <cx:pt idx="506">0</cx:pt>
          <cx:pt idx="507">0</cx:pt>
          <cx:pt idx="508">0</cx:pt>
          <cx:pt idx="509">0</cx:pt>
          <cx:pt idx="510">0</cx:pt>
          <cx:pt idx="511">0</cx:pt>
          <cx:pt idx="512">0</cx:pt>
          <cx:pt idx="513">0</cx:pt>
          <cx:pt idx="514">0</cx:pt>
          <cx:pt idx="515">0</cx:pt>
          <cx:pt idx="516">0</cx:pt>
          <cx:pt idx="517">0</cx:pt>
          <cx:pt idx="518">0</cx:pt>
          <cx:pt idx="519">0</cx:pt>
          <cx:pt idx="520">0</cx:pt>
          <cx:pt idx="521">0</cx:pt>
          <cx:pt idx="522">0</cx:pt>
          <cx:pt idx="523">0</cx:pt>
          <cx:pt idx="524">0</cx:pt>
          <cx:pt idx="525">0</cx:pt>
          <cx:pt idx="526">0</cx:pt>
          <cx:pt idx="527">0</cx:pt>
          <cx:pt idx="528">0</cx:pt>
          <cx:pt idx="529">0</cx:pt>
          <cx:pt idx="530">0</cx:pt>
          <cx:pt idx="531">0</cx:pt>
          <cx:pt idx="532">0</cx:pt>
          <cx:pt idx="533">0</cx:pt>
          <cx:pt idx="534">0</cx:pt>
          <cx:pt idx="535">0</cx:pt>
          <cx:pt idx="536">0</cx:pt>
          <cx:pt idx="537">0</cx:pt>
          <cx:pt idx="538">0</cx:pt>
          <cx:pt idx="539">0</cx:pt>
          <cx:pt idx="540">0</cx:pt>
          <cx:pt idx="541">0</cx:pt>
          <cx:pt idx="542">0</cx:pt>
          <cx:pt idx="543">0</cx:pt>
          <cx:pt idx="544">0</cx:pt>
          <cx:pt idx="545">0</cx:pt>
          <cx:pt idx="546">0</cx:pt>
          <cx:pt idx="547">0</cx:pt>
          <cx:pt idx="548">0</cx:pt>
          <cx:pt idx="549">0</cx:pt>
          <cx:pt idx="550">0</cx:pt>
          <cx:pt idx="551">0</cx:pt>
          <cx:pt idx="552">0</cx:pt>
          <cx:pt idx="553">0</cx:pt>
          <cx:pt idx="554">0</cx:pt>
          <cx:pt idx="555">0</cx:pt>
          <cx:pt idx="556">0</cx:pt>
          <cx:pt idx="557">0</cx:pt>
          <cx:pt idx="558">0</cx:pt>
          <cx:pt idx="559">0</cx:pt>
          <cx:pt idx="560">0</cx:pt>
          <cx:pt idx="561">0</cx:pt>
          <cx:pt idx="562">0</cx:pt>
          <cx:pt idx="563">0</cx:pt>
          <cx:pt idx="564">0</cx:pt>
          <cx:pt idx="565">0</cx:pt>
          <cx:pt idx="566">0</cx:pt>
          <cx:pt idx="567">0</cx:pt>
          <cx:pt idx="568">0</cx:pt>
          <cx:pt idx="569">0</cx:pt>
          <cx:pt idx="570">0</cx:pt>
          <cx:pt idx="571">0</cx:pt>
          <cx:pt idx="572">0</cx:pt>
          <cx:pt idx="573">0</cx:pt>
          <cx:pt idx="574">0</cx:pt>
          <cx:pt idx="575">0</cx:pt>
          <cx:pt idx="576">0</cx:pt>
          <cx:pt idx="577">0</cx:pt>
          <cx:pt idx="578">0</cx:pt>
          <cx:pt idx="579">0</cx:pt>
          <cx:pt idx="580">0</cx:pt>
          <cx:pt idx="581">0</cx:pt>
          <cx:pt idx="582">0</cx:pt>
          <cx:pt idx="583">0</cx:pt>
          <cx:pt idx="584">0</cx:pt>
          <cx:pt idx="585">0</cx:pt>
          <cx:pt idx="586">0</cx:pt>
          <cx:pt idx="587">0</cx:pt>
          <cx:pt idx="588">0</cx:pt>
          <cx:pt idx="589">0</cx:pt>
          <cx:pt idx="590">0</cx:pt>
          <cx:pt idx="591">0</cx:pt>
          <cx:pt idx="592">0</cx:pt>
          <cx:pt idx="593">0</cx:pt>
          <cx:pt idx="594">0</cx:pt>
          <cx:pt idx="595">0</cx:pt>
          <cx:pt idx="596">0</cx:pt>
          <cx:pt idx="597">0</cx:pt>
          <cx:pt idx="598">0</cx:pt>
          <cx:pt idx="599">0</cx:pt>
          <cx:pt idx="600">0</cx:pt>
          <cx:pt idx="601">0</cx:pt>
          <cx:pt idx="602">0</cx:pt>
          <cx:pt idx="603">0</cx:pt>
          <cx:pt idx="604">0</cx:pt>
          <cx:pt idx="605">0</cx:pt>
          <cx:pt idx="606">0</cx:pt>
          <cx:pt idx="607">0</cx:pt>
          <cx:pt idx="608">0</cx:pt>
          <cx:pt idx="609">0</cx:pt>
          <cx:pt idx="610">0</cx:pt>
          <cx:pt idx="611">0</cx:pt>
          <cx:pt idx="612">0</cx:pt>
          <cx:pt idx="613">0</cx:pt>
          <cx:pt idx="614">0</cx:pt>
          <cx:pt idx="615">0</cx:pt>
          <cx:pt idx="616">0</cx:pt>
          <cx:pt idx="617">0</cx:pt>
          <cx:pt idx="618">0</cx:pt>
          <cx:pt idx="619">0</cx:pt>
          <cx:pt idx="620">0</cx:pt>
          <cx:pt idx="621">0</cx:pt>
          <cx:pt idx="622">0</cx:pt>
          <cx:pt idx="623">0</cx:pt>
          <cx:pt idx="624">0</cx:pt>
          <cx:pt idx="625">0</cx:pt>
          <cx:pt idx="626">0</cx:pt>
          <cx:pt idx="627">0</cx:pt>
          <cx:pt idx="628">0</cx:pt>
          <cx:pt idx="629">0</cx:pt>
          <cx:pt idx="630">0</cx:pt>
          <cx:pt idx="631">0</cx:pt>
          <cx:pt idx="632">0</cx:pt>
          <cx:pt idx="633">0</cx:pt>
          <cx:pt idx="634">0</cx:pt>
          <cx:pt idx="635">0</cx:pt>
          <cx:pt idx="636">0</cx:pt>
          <cx:pt idx="637">0</cx:pt>
          <cx:pt idx="638">0</cx:pt>
          <cx:pt idx="639">0</cx:pt>
          <cx:pt idx="640">0</cx:pt>
          <cx:pt idx="641">0</cx:pt>
          <cx:pt idx="642">0</cx:pt>
          <cx:pt idx="643">0</cx:pt>
          <cx:pt idx="644">0</cx:pt>
          <cx:pt idx="645">0</cx:pt>
          <cx:pt idx="646">0</cx:pt>
          <cx:pt idx="647">0</cx:pt>
          <cx:pt idx="648">0</cx:pt>
          <cx:pt idx="649">0</cx:pt>
          <cx:pt idx="650">0</cx:pt>
          <cx:pt idx="651">0</cx:pt>
          <cx:pt idx="652">0</cx:pt>
          <cx:pt idx="653">0</cx:pt>
          <cx:pt idx="654">0</cx:pt>
          <cx:pt idx="655">0</cx:pt>
          <cx:pt idx="656">0</cx:pt>
          <cx:pt idx="657">0</cx:pt>
          <cx:pt idx="658">0</cx:pt>
          <cx:pt idx="659">0</cx:pt>
          <cx:pt idx="660">0</cx:pt>
          <cx:pt idx="661">0</cx:pt>
          <cx:pt idx="662">0</cx:pt>
          <cx:pt idx="663">0</cx:pt>
          <cx:pt idx="664">0</cx:pt>
          <cx:pt idx="665">0</cx:pt>
          <cx:pt idx="666">0</cx:pt>
          <cx:pt idx="667">0</cx:pt>
          <cx:pt idx="668">0</cx:pt>
          <cx:pt idx="669">0</cx:pt>
          <cx:pt idx="670">0</cx:pt>
          <cx:pt idx="671">0</cx:pt>
          <cx:pt idx="672">0</cx:pt>
          <cx:pt idx="673">0</cx:pt>
          <cx:pt idx="674">0</cx:pt>
          <cx:pt idx="675">0</cx:pt>
          <cx:pt idx="676">0</cx:pt>
          <cx:pt idx="677">0</cx:pt>
          <cx:pt idx="678">0</cx:pt>
          <cx:pt idx="679">0</cx:pt>
          <cx:pt idx="680">0</cx:pt>
          <cx:pt idx="681">0</cx:pt>
          <cx:pt idx="682">0</cx:pt>
          <cx:pt idx="683">0</cx:pt>
          <cx:pt idx="684">0</cx:pt>
          <cx:pt idx="685">0</cx:pt>
          <cx:pt idx="686">0</cx:pt>
          <cx:pt idx="687">0</cx:pt>
          <cx:pt idx="688">0</cx:pt>
          <cx:pt idx="689">0</cx:pt>
          <cx:pt idx="690">0</cx:pt>
          <cx:pt idx="691">0</cx:pt>
          <cx:pt idx="692">0</cx:pt>
          <cx:pt idx="693">0</cx:pt>
          <cx:pt idx="694">0</cx:pt>
          <cx:pt idx="695">0</cx:pt>
          <cx:pt idx="696">0</cx:pt>
          <cx:pt idx="697">0</cx:pt>
          <cx:pt idx="698">0</cx:pt>
          <cx:pt idx="699">0</cx:pt>
          <cx:pt idx="700">0</cx:pt>
          <cx:pt idx="701">0</cx:pt>
          <cx:pt idx="702">0</cx:pt>
          <cx:pt idx="703">0</cx:pt>
          <cx:pt idx="704">0</cx:pt>
          <cx:pt idx="705">0</cx:pt>
          <cx:pt idx="706">0</cx:pt>
          <cx:pt idx="707">0</cx:pt>
          <cx:pt idx="708">0</cx:pt>
          <cx:pt idx="709">0</cx:pt>
          <cx:pt idx="710">0</cx:pt>
          <cx:pt idx="711">0</cx:pt>
          <cx:pt idx="712">0</cx:pt>
          <cx:pt idx="713">0</cx:pt>
          <cx:pt idx="714">0</cx:pt>
          <cx:pt idx="715">0</cx:pt>
          <cx:pt idx="716">0</cx:pt>
          <cx:pt idx="717">0</cx:pt>
          <cx:pt idx="718">0</cx:pt>
          <cx:pt idx="719">0</cx:pt>
          <cx:pt idx="720">0</cx:pt>
          <cx:pt idx="721">0</cx:pt>
          <cx:pt idx="722">0</cx:pt>
          <cx:pt idx="723">0</cx:pt>
          <cx:pt idx="724">0</cx:pt>
          <cx:pt idx="725">0</cx:pt>
          <cx:pt idx="726">0</cx:pt>
          <cx:pt idx="727">0</cx:pt>
          <cx:pt idx="728">0</cx:pt>
          <cx:pt idx="729">0</cx:pt>
          <cx:pt idx="730">0</cx:pt>
          <cx:pt idx="731">0</cx:pt>
          <cx:pt idx="732">0</cx:pt>
          <cx:pt idx="733">0</cx:pt>
          <cx:pt idx="734">0</cx:pt>
          <cx:pt idx="735">0</cx:pt>
          <cx:pt idx="736">0</cx:pt>
          <cx:pt idx="737">0</cx:pt>
          <cx:pt idx="738">0</cx:pt>
          <cx:pt idx="739">0</cx:pt>
          <cx:pt idx="740">0</cx:pt>
          <cx:pt idx="741">0</cx:pt>
          <cx:pt idx="742">0</cx:pt>
          <cx:pt idx="743">0</cx:pt>
          <cx:pt idx="744">0</cx:pt>
          <cx:pt idx="745">0</cx:pt>
          <cx:pt idx="746">0</cx:pt>
          <cx:pt idx="747">0</cx:pt>
          <cx:pt idx="748">0</cx:pt>
          <cx:pt idx="749">0</cx:pt>
          <cx:pt idx="750">0</cx:pt>
          <cx:pt idx="751">0</cx:pt>
          <cx:pt idx="752">0</cx:pt>
          <cx:pt idx="753">0</cx:pt>
          <cx:pt idx="754">0</cx:pt>
          <cx:pt idx="755">0</cx:pt>
          <cx:pt idx="756">0</cx:pt>
          <cx:pt idx="757">0</cx:pt>
          <cx:pt idx="758">0</cx:pt>
          <cx:pt idx="759">0</cx:pt>
          <cx:pt idx="760">0</cx:pt>
          <cx:pt idx="761">0</cx:pt>
          <cx:pt idx="762">0</cx:pt>
          <cx:pt idx="763">0</cx:pt>
          <cx:pt idx="764">0</cx:pt>
          <cx:pt idx="765">0</cx:pt>
          <cx:pt idx="766">0</cx:pt>
          <cx:pt idx="767">0</cx:pt>
          <cx:pt idx="768">0</cx:pt>
          <cx:pt idx="769">0</cx:pt>
          <cx:pt idx="770">0</cx:pt>
          <cx:pt idx="771">0</cx:pt>
          <cx:pt idx="772">0</cx:pt>
          <cx:pt idx="773">0</cx:pt>
          <cx:pt idx="774">0</cx:pt>
          <cx:pt idx="775">0</cx:pt>
          <cx:pt idx="776">0</cx:pt>
          <cx:pt idx="777">0</cx:pt>
          <cx:pt idx="778">0</cx:pt>
          <cx:pt idx="779">0</cx:pt>
          <cx:pt idx="780">0</cx:pt>
          <cx:pt idx="781">0</cx:pt>
          <cx:pt idx="782">0</cx:pt>
          <cx:pt idx="783">0</cx:pt>
          <cx:pt idx="784">0</cx:pt>
          <cx:pt idx="785">0</cx:pt>
          <cx:pt idx="786">0</cx:pt>
          <cx:pt idx="787">0</cx:pt>
          <cx:pt idx="788">0</cx:pt>
          <cx:pt idx="789">0</cx:pt>
          <cx:pt idx="790">0</cx:pt>
          <cx:pt idx="791">0</cx:pt>
          <cx:pt idx="792">0</cx:pt>
          <cx:pt idx="793">0</cx:pt>
          <cx:pt idx="794">0</cx:pt>
          <cx:pt idx="795">0</cx:pt>
          <cx:pt idx="796">0</cx:pt>
          <cx:pt idx="797">0</cx:pt>
          <cx:pt idx="798">0</cx:pt>
          <cx:pt idx="799">0</cx:pt>
          <cx:pt idx="800">0</cx:pt>
          <cx:pt idx="801">0</cx:pt>
          <cx:pt idx="802">0</cx:pt>
          <cx:pt idx="803">0</cx:pt>
          <cx:pt idx="804">0</cx:pt>
          <cx:pt idx="805">0</cx:pt>
          <cx:pt idx="806">0</cx:pt>
          <cx:pt idx="807">0</cx:pt>
          <cx:pt idx="808">0</cx:pt>
          <cx:pt idx="809">0</cx:pt>
          <cx:pt idx="810">0</cx:pt>
          <cx:pt idx="811">0</cx:pt>
          <cx:pt idx="812">0</cx:pt>
          <cx:pt idx="813">0</cx:pt>
          <cx:pt idx="814">0</cx:pt>
          <cx:pt idx="815">0</cx:pt>
          <cx:pt idx="816">0</cx:pt>
          <cx:pt idx="817">0</cx:pt>
          <cx:pt idx="818">0</cx:pt>
          <cx:pt idx="819">0</cx:pt>
          <cx:pt idx="820">0</cx:pt>
          <cx:pt idx="821">0</cx:pt>
          <cx:pt idx="822">0</cx:pt>
          <cx:pt idx="823">0</cx:pt>
          <cx:pt idx="824">0</cx:pt>
          <cx:pt idx="825">0</cx:pt>
          <cx:pt idx="826">0</cx:pt>
          <cx:pt idx="827">0</cx:pt>
          <cx:pt idx="828">0</cx:pt>
          <cx:pt idx="829">0</cx:pt>
          <cx:pt idx="830">0</cx:pt>
          <cx:pt idx="831">0</cx:pt>
          <cx:pt idx="832">0</cx:pt>
          <cx:pt idx="833">0</cx:pt>
          <cx:pt idx="834">0</cx:pt>
          <cx:pt idx="835">0</cx:pt>
          <cx:pt idx="836">0</cx:pt>
          <cx:pt idx="837">0</cx:pt>
          <cx:pt idx="838">0</cx:pt>
          <cx:pt idx="839">0</cx:pt>
          <cx:pt idx="840">0</cx:pt>
          <cx:pt idx="841">0</cx:pt>
          <cx:pt idx="842">0</cx:pt>
          <cx:pt idx="843">0</cx:pt>
          <cx:pt idx="844">0</cx:pt>
          <cx:pt idx="845">0</cx:pt>
          <cx:pt idx="846">0</cx:pt>
          <cx:pt idx="847">0</cx:pt>
          <cx:pt idx="848">0</cx:pt>
          <cx:pt idx="849">0</cx:pt>
          <cx:pt idx="850">0</cx:pt>
          <cx:pt idx="851">0</cx:pt>
          <cx:pt idx="852">0</cx:pt>
          <cx:pt idx="853">0</cx:pt>
          <cx:pt idx="854">0</cx:pt>
          <cx:pt idx="855">0</cx:pt>
          <cx:pt idx="856">0</cx:pt>
          <cx:pt idx="857">0</cx:pt>
          <cx:pt idx="858">0</cx:pt>
          <cx:pt idx="859">0</cx:pt>
          <cx:pt idx="860">0</cx:pt>
          <cx:pt idx="861">0</cx:pt>
          <cx:pt idx="862">0</cx:pt>
          <cx:pt idx="863">0</cx:pt>
          <cx:pt idx="864">0</cx:pt>
          <cx:pt idx="865">0</cx:pt>
          <cx:pt idx="866">0</cx:pt>
          <cx:pt idx="867">0</cx:pt>
          <cx:pt idx="868">0</cx:pt>
          <cx:pt idx="869">0</cx:pt>
          <cx:pt idx="870">0</cx:pt>
          <cx:pt idx="871">0</cx:pt>
          <cx:pt idx="872">0</cx:pt>
          <cx:pt idx="873">0</cx:pt>
          <cx:pt idx="874">0</cx:pt>
          <cx:pt idx="875">0</cx:pt>
          <cx:pt idx="876">0</cx:pt>
          <cx:pt idx="877">0</cx:pt>
          <cx:pt idx="878">0</cx:pt>
          <cx:pt idx="879">0</cx:pt>
          <cx:pt idx="880">0</cx:pt>
          <cx:pt idx="881">0</cx:pt>
          <cx:pt idx="882">0</cx:pt>
          <cx:pt idx="883">0</cx:pt>
          <cx:pt idx="884">0</cx:pt>
          <cx:pt idx="885">0</cx:pt>
          <cx:pt idx="886">0</cx:pt>
          <cx:pt idx="887">0</cx:pt>
          <cx:pt idx="888">0</cx:pt>
          <cx:pt idx="889">0</cx:pt>
          <cx:pt idx="890">0</cx:pt>
          <cx:pt idx="891">0</cx:pt>
          <cx:pt idx="892">0</cx:pt>
          <cx:pt idx="893">0</cx:pt>
          <cx:pt idx="894">0</cx:pt>
          <cx:pt idx="895">0</cx:pt>
          <cx:pt idx="896">0</cx:pt>
          <cx:pt idx="897">0</cx:pt>
          <cx:pt idx="898">0</cx:pt>
          <cx:pt idx="899">0</cx:pt>
          <cx:pt idx="900">0</cx:pt>
          <cx:pt idx="901">0</cx:pt>
          <cx:pt idx="902">0</cx:pt>
          <cx:pt idx="903">0</cx:pt>
          <cx:pt idx="904">0</cx:pt>
          <cx:pt idx="905">0</cx:pt>
          <cx:pt idx="906">0</cx:pt>
          <cx:pt idx="907">0</cx:pt>
          <cx:pt idx="908">0</cx:pt>
          <cx:pt idx="909">0</cx:pt>
          <cx:pt idx="910">0</cx:pt>
          <cx:pt idx="911">0</cx:pt>
          <cx:pt idx="912">0</cx:pt>
          <cx:pt idx="913">0</cx:pt>
          <cx:pt idx="914">0</cx:pt>
          <cx:pt idx="915">0</cx:pt>
          <cx:pt idx="916">0</cx:pt>
          <cx:pt idx="917">0</cx:pt>
          <cx:pt idx="918">0</cx:pt>
          <cx:pt idx="919">0</cx:pt>
          <cx:pt idx="920">0</cx:pt>
          <cx:pt idx="921">0</cx:pt>
          <cx:pt idx="922">0</cx:pt>
          <cx:pt idx="923">0</cx:pt>
          <cx:pt idx="924">0</cx:pt>
          <cx:pt idx="925">0</cx:pt>
          <cx:pt idx="926">0</cx:pt>
          <cx:pt idx="927">0</cx:pt>
          <cx:pt idx="928">0</cx:pt>
          <cx:pt idx="929">0</cx:pt>
          <cx:pt idx="930">0</cx:pt>
          <cx:pt idx="931">0</cx:pt>
          <cx:pt idx="932">0</cx:pt>
          <cx:pt idx="933">0</cx:pt>
          <cx:pt idx="934">0</cx:pt>
          <cx:pt idx="935">0</cx:pt>
          <cx:pt idx="936">0</cx:pt>
          <cx:pt idx="937">0</cx:pt>
          <cx:pt idx="938">0</cx:pt>
          <cx:pt idx="939">0</cx:pt>
          <cx:pt idx="940">0</cx:pt>
          <cx:pt idx="941">0</cx:pt>
          <cx:pt idx="942">0</cx:pt>
          <cx:pt idx="943">0</cx:pt>
          <cx:pt idx="944">0</cx:pt>
          <cx:pt idx="945">0</cx:pt>
          <cx:pt idx="946">0</cx:pt>
          <cx:pt idx="947">0</cx:pt>
          <cx:pt idx="948">0</cx:pt>
          <cx:pt idx="949">0</cx:pt>
          <cx:pt idx="950">0</cx:pt>
          <cx:pt idx="951">0</cx:pt>
          <cx:pt idx="952">0</cx:pt>
          <cx:pt idx="953">0</cx:pt>
          <cx:pt idx="954">0</cx:pt>
          <cx:pt idx="955">0</cx:pt>
          <cx:pt idx="956">0</cx:pt>
          <cx:pt idx="957">0</cx:pt>
          <cx:pt idx="958">0</cx:pt>
          <cx:pt idx="959">0</cx:pt>
          <cx:pt idx="960">0</cx:pt>
          <cx:pt idx="961">0</cx:pt>
          <cx:pt idx="962">0</cx:pt>
          <cx:pt idx="963">0</cx:pt>
          <cx:pt idx="964">0</cx:pt>
          <cx:pt idx="965">0</cx:pt>
          <cx:pt idx="966">0</cx:pt>
          <cx:pt idx="967">0</cx:pt>
          <cx:pt idx="968">0</cx:pt>
          <cx:pt idx="969">0</cx:pt>
          <cx:pt idx="970">0</cx:pt>
          <cx:pt idx="971">0</cx:pt>
          <cx:pt idx="972">0</cx:pt>
          <cx:pt idx="973">0</cx:pt>
          <cx:pt idx="974">0</cx:pt>
          <cx:pt idx="975">0</cx:pt>
          <cx:pt idx="976">0</cx:pt>
          <cx:pt idx="977">0</cx:pt>
          <cx:pt idx="978">0</cx:pt>
          <cx:pt idx="979">0</cx:pt>
          <cx:pt idx="980">0</cx:pt>
          <cx:pt idx="981">0</cx:pt>
          <cx:pt idx="982">0</cx:pt>
          <cx:pt idx="983">0</cx:pt>
          <cx:pt idx="984">0</cx:pt>
          <cx:pt idx="985">0</cx:pt>
          <cx:pt idx="986">0</cx:pt>
          <cx:pt idx="987">0</cx:pt>
          <cx:pt idx="988">0</cx:pt>
          <cx:pt idx="989">0</cx:pt>
          <cx:pt idx="990">0</cx:pt>
          <cx:pt idx="991">0</cx:pt>
          <cx:pt idx="992">0</cx:pt>
          <cx:pt idx="993">0</cx:pt>
          <cx:pt idx="994">0</cx:pt>
          <cx:pt idx="995">0</cx:pt>
          <cx:pt idx="996">0</cx:pt>
          <cx:pt idx="998">0</cx:pt>
          <cx:pt idx="999">0</cx:pt>
          <cx:pt idx="1000">0</cx:pt>
          <cx:pt idx="1001">0</cx:pt>
          <cx:pt idx="1002">0</cx:pt>
          <cx:pt idx="1003">0</cx:pt>
          <cx:pt idx="1004">0</cx:pt>
          <cx:pt idx="1005">0</cx:pt>
          <cx:pt idx="1006">0</cx:pt>
          <cx:pt idx="1007">0</cx:pt>
          <cx:pt idx="1008">0</cx:pt>
          <cx:pt idx="1009">0</cx:pt>
          <cx:pt idx="1010">0</cx:pt>
          <cx:pt idx="1011">0</cx:pt>
          <cx:pt idx="1012">0</cx:pt>
          <cx:pt idx="1013">0</cx:pt>
          <cx:pt idx="1014">0</cx:pt>
          <cx:pt idx="1015">0</cx:pt>
          <cx:pt idx="1016">0</cx:pt>
          <cx:pt idx="1017">0</cx:pt>
          <cx:pt idx="1018">0</cx:pt>
          <cx:pt idx="1019">0</cx:pt>
          <cx:pt idx="1020">0</cx:pt>
          <cx:pt idx="1021">0</cx:pt>
          <cx:pt idx="1022">0</cx:pt>
          <cx:pt idx="1023">0</cx:pt>
          <cx:pt idx="1024">0</cx:pt>
          <cx:pt idx="1025">0</cx:pt>
          <cx:pt idx="1026">0</cx:pt>
          <cx:pt idx="1027">0</cx:pt>
          <cx:pt idx="1028">0</cx:pt>
          <cx:pt idx="1029">0</cx:pt>
          <cx:pt idx="1030">0</cx:pt>
          <cx:pt idx="1031">0</cx:pt>
          <cx:pt idx="1032">0</cx:pt>
          <cx:pt idx="1033">0</cx:pt>
          <cx:pt idx="1034">0</cx:pt>
          <cx:pt idx="1035">0</cx:pt>
          <cx:pt idx="1036">0</cx:pt>
          <cx:pt idx="1037">0</cx:pt>
          <cx:pt idx="1038">0</cx:pt>
          <cx:pt idx="1039">0</cx:pt>
          <cx:pt idx="1040">0</cx:pt>
          <cx:pt idx="1041">0</cx:pt>
          <cx:pt idx="1042">0</cx:pt>
          <cx:pt idx="1043">0</cx:pt>
          <cx:pt idx="1044">0</cx:pt>
          <cx:pt idx="1045">0</cx:pt>
          <cx:pt idx="1046">0</cx:pt>
          <cx:pt idx="1047">0</cx:pt>
          <cx:pt idx="1048">0</cx:pt>
          <cx:pt idx="1049">0</cx:pt>
          <cx:pt idx="1050">0</cx:pt>
          <cx:pt idx="1051">0</cx:pt>
          <cx:pt idx="1052">0</cx:pt>
          <cx:pt idx="1053">0</cx:pt>
          <cx:pt idx="1054">0</cx:pt>
          <cx:pt idx="1055">0</cx:pt>
          <cx:pt idx="1056">0</cx:pt>
          <cx:pt idx="1057">0</cx:pt>
          <cx:pt idx="1058">0</cx:pt>
          <cx:pt idx="1059">0</cx:pt>
          <cx:pt idx="1060">0</cx:pt>
          <cx:pt idx="1061">0</cx:pt>
          <cx:pt idx="1062">0</cx:pt>
          <cx:pt idx="1063">0</cx:pt>
          <cx:pt idx="1064">0</cx:pt>
          <cx:pt idx="1065">0</cx:pt>
          <cx:pt idx="1066">0</cx:pt>
          <cx:pt idx="1067">0</cx:pt>
          <cx:pt idx="1068">0</cx:pt>
          <cx:pt idx="1069">0</cx:pt>
          <cx:pt idx="1070">0</cx:pt>
          <cx:pt idx="1071">0</cx:pt>
          <cx:pt idx="1072">0</cx:pt>
          <cx:pt idx="1073">0</cx:pt>
          <cx:pt idx="1074">0</cx:pt>
          <cx:pt idx="1075">0</cx:pt>
          <cx:pt idx="1076">0</cx:pt>
          <cx:pt idx="1077">0</cx:pt>
          <cx:pt idx="1078">0</cx:pt>
          <cx:pt idx="1079">0</cx:pt>
          <cx:pt idx="1080">0</cx:pt>
          <cx:pt idx="1081">0</cx:pt>
          <cx:pt idx="1082">0</cx:pt>
          <cx:pt idx="1083">0</cx:pt>
          <cx:pt idx="1084">0</cx:pt>
          <cx:pt idx="1085">0</cx:pt>
          <cx:pt idx="1086">0</cx:pt>
          <cx:pt idx="1087">0</cx:pt>
          <cx:pt idx="1088">0</cx:pt>
          <cx:pt idx="1089">0</cx:pt>
          <cx:pt idx="1090">0</cx:pt>
          <cx:pt idx="1091">0</cx:pt>
          <cx:pt idx="1092">0</cx:pt>
          <cx:pt idx="1093">0</cx:pt>
          <cx:pt idx="1094">0</cx:pt>
          <cx:pt idx="1095">0</cx:pt>
          <cx:pt idx="1096">0</cx:pt>
          <cx:pt idx="1097">0</cx:pt>
          <cx:pt idx="1098">0</cx:pt>
          <cx:pt idx="1099">0</cx:pt>
          <cx:pt idx="1100">0</cx:pt>
          <cx:pt idx="1101">0</cx:pt>
          <cx:pt idx="1102">0</cx:pt>
          <cx:pt idx="1103">0</cx:pt>
          <cx:pt idx="1104">0</cx:pt>
          <cx:pt idx="1105">0</cx:pt>
          <cx:pt idx="1106">0</cx:pt>
          <cx:pt idx="1107">0</cx:pt>
          <cx:pt idx="1108">0</cx:pt>
          <cx:pt idx="1109">0</cx:pt>
          <cx:pt idx="1110">0</cx:pt>
          <cx:pt idx="1111">0</cx:pt>
          <cx:pt idx="1112">0</cx:pt>
          <cx:pt idx="1113">0</cx:pt>
          <cx:pt idx="1114">0</cx:pt>
          <cx:pt idx="1115">0</cx:pt>
          <cx:pt idx="1116">0</cx:pt>
          <cx:pt idx="1117">0</cx:pt>
          <cx:pt idx="1118">0</cx:pt>
          <cx:pt idx="1119">0</cx:pt>
          <cx:pt idx="1120">0</cx:pt>
          <cx:pt idx="1121">0</cx:pt>
          <cx:pt idx="1122">0</cx:pt>
          <cx:pt idx="1123">0</cx:pt>
          <cx:pt idx="1124">0</cx:pt>
          <cx:pt idx="1125">0</cx:pt>
          <cx:pt idx="1126">0</cx:pt>
          <cx:pt idx="1127">0</cx:pt>
          <cx:pt idx="1128">0</cx:pt>
          <cx:pt idx="1129">0</cx:pt>
          <cx:pt idx="1130">0</cx:pt>
          <cx:pt idx="1131">0</cx:pt>
          <cx:pt idx="1132">0</cx:pt>
          <cx:pt idx="1133">0</cx:pt>
          <cx:pt idx="1134">0</cx:pt>
          <cx:pt idx="1135">0</cx:pt>
          <cx:pt idx="1136">0</cx:pt>
          <cx:pt idx="1137">0</cx:pt>
          <cx:pt idx="1138">0</cx:pt>
          <cx:pt idx="1139">0</cx:pt>
          <cx:pt idx="1140">0</cx:pt>
          <cx:pt idx="1141">0</cx:pt>
          <cx:pt idx="1142">0</cx:pt>
          <cx:pt idx="1143">0</cx:pt>
          <cx:pt idx="1144">0</cx:pt>
          <cx:pt idx="1145">0</cx:pt>
          <cx:pt idx="1146">0</cx:pt>
          <cx:pt idx="1147">0</cx:pt>
          <cx:pt idx="1148">0</cx:pt>
          <cx:pt idx="1149">0</cx:pt>
          <cx:pt idx="1150">0</cx:pt>
          <cx:pt idx="1151">0</cx:pt>
          <cx:pt idx="1152">0</cx:pt>
          <cx:pt idx="1153">0</cx:pt>
          <cx:pt idx="1154">0</cx:pt>
          <cx:pt idx="1155">0</cx:pt>
          <cx:pt idx="1156">0</cx:pt>
          <cx:pt idx="1157">0</cx:pt>
          <cx:pt idx="1158">0</cx:pt>
          <cx:pt idx="1159">0</cx:pt>
          <cx:pt idx="1160">0</cx:pt>
          <cx:pt idx="1161">0</cx:pt>
          <cx:pt idx="1162">0</cx:pt>
          <cx:pt idx="1163">0</cx:pt>
          <cx:pt idx="1164">0</cx:pt>
          <cx:pt idx="1165">0</cx:pt>
          <cx:pt idx="1166">0</cx:pt>
          <cx:pt idx="1167">0</cx:pt>
          <cx:pt idx="1168">0</cx:pt>
          <cx:pt idx="1169">0</cx:pt>
          <cx:pt idx="1170">0</cx:pt>
          <cx:pt idx="1171">0</cx:pt>
          <cx:pt idx="1172">0</cx:pt>
          <cx:pt idx="1173">0</cx:pt>
          <cx:pt idx="1174">0</cx:pt>
          <cx:pt idx="1175">0</cx:pt>
          <cx:pt idx="1176">0</cx:pt>
          <cx:pt idx="1177">0</cx:pt>
          <cx:pt idx="1178">0</cx:pt>
          <cx:pt idx="1179">0</cx:pt>
          <cx:pt idx="1180">0</cx:pt>
          <cx:pt idx="1181">0</cx:pt>
          <cx:pt idx="1182">0</cx:pt>
          <cx:pt idx="1183">0</cx:pt>
          <cx:pt idx="1184">0</cx:pt>
          <cx:pt idx="1185">0</cx:pt>
          <cx:pt idx="1186">0</cx:pt>
          <cx:pt idx="1187">0</cx:pt>
          <cx:pt idx="1188">0</cx:pt>
          <cx:pt idx="1189">0</cx:pt>
          <cx:pt idx="1190">0</cx:pt>
          <cx:pt idx="1191">0</cx:pt>
          <cx:pt idx="1192">0</cx:pt>
          <cx:pt idx="1193">0</cx:pt>
          <cx:pt idx="1194">0</cx:pt>
          <cx:pt idx="1195">0</cx:pt>
          <cx:pt idx="1196">0</cx:pt>
          <cx:pt idx="1197">0</cx:pt>
          <cx:pt idx="1198">0</cx:pt>
          <cx:pt idx="1199">0</cx:pt>
          <cx:pt idx="1200">0</cx:pt>
          <cx:pt idx="1201">0</cx:pt>
          <cx:pt idx="1202">0</cx:pt>
          <cx:pt idx="1203">0</cx:pt>
          <cx:pt idx="1204">0</cx:pt>
          <cx:pt idx="1205">0</cx:pt>
          <cx:pt idx="1206">0</cx:pt>
          <cx:pt idx="1207">0</cx:pt>
          <cx:pt idx="1208">0</cx:pt>
          <cx:pt idx="1209">0</cx:pt>
          <cx:pt idx="1210">0</cx:pt>
          <cx:pt idx="1211">0</cx:pt>
          <cx:pt idx="1212">0</cx:pt>
          <cx:pt idx="1213">0</cx:pt>
          <cx:pt idx="1214">0</cx:pt>
          <cx:pt idx="1215">0</cx:pt>
          <cx:pt idx="1216">0</cx:pt>
          <cx:pt idx="1217">0</cx:pt>
          <cx:pt idx="1218">0</cx:pt>
          <cx:pt idx="1219">0</cx:pt>
          <cx:pt idx="1220">0</cx:pt>
          <cx:pt idx="1221">0</cx:pt>
          <cx:pt idx="1222">0</cx:pt>
          <cx:pt idx="1223">0</cx:pt>
          <cx:pt idx="1224">0</cx:pt>
          <cx:pt idx="1225">0</cx:pt>
          <cx:pt idx="1226">0</cx:pt>
          <cx:pt idx="1227">0</cx:pt>
          <cx:pt idx="1228">0</cx:pt>
          <cx:pt idx="1229">0</cx:pt>
          <cx:pt idx="1230">0</cx:pt>
          <cx:pt idx="1231">0</cx:pt>
          <cx:pt idx="1232">0</cx:pt>
          <cx:pt idx="1233">0</cx:pt>
          <cx:pt idx="1234">0</cx:pt>
          <cx:pt idx="1235">0</cx:pt>
          <cx:pt idx="1236">0</cx:pt>
          <cx:pt idx="1237">0</cx:pt>
          <cx:pt idx="1238">0</cx:pt>
          <cx:pt idx="1239">0</cx:pt>
          <cx:pt idx="1240">0</cx:pt>
          <cx:pt idx="1241">0</cx:pt>
          <cx:pt idx="1242">0</cx:pt>
          <cx:pt idx="1243">0</cx:pt>
          <cx:pt idx="1244">0</cx:pt>
          <cx:pt idx="1245">0</cx:pt>
          <cx:pt idx="1246">0</cx:pt>
          <cx:pt idx="1247">0</cx:pt>
          <cx:pt idx="1248">0</cx:pt>
          <cx:pt idx="1249">0</cx:pt>
          <cx:pt idx="1250">0</cx:pt>
          <cx:pt idx="1251">0</cx:pt>
          <cx:pt idx="1252">0</cx:pt>
          <cx:pt idx="1253">0</cx:pt>
          <cx:pt idx="1254">0</cx:pt>
          <cx:pt idx="1255">0</cx:pt>
          <cx:pt idx="1256">0</cx:pt>
          <cx:pt idx="1257">0</cx:pt>
          <cx:pt idx="1258">0</cx:pt>
          <cx:pt idx="1259">0</cx:pt>
          <cx:pt idx="1260">0</cx:pt>
          <cx:pt idx="1261">0</cx:pt>
          <cx:pt idx="1262">0</cx:pt>
          <cx:pt idx="1263">0</cx:pt>
          <cx:pt idx="1264">0</cx:pt>
          <cx:pt idx="1265">0</cx:pt>
          <cx:pt idx="1266">0</cx:pt>
          <cx:pt idx="1267">0</cx:pt>
          <cx:pt idx="1268">0</cx:pt>
          <cx:pt idx="1269">0</cx:pt>
          <cx:pt idx="1270">0</cx:pt>
          <cx:pt idx="1271">0</cx:pt>
          <cx:pt idx="1272">0</cx:pt>
          <cx:pt idx="1273">0</cx:pt>
          <cx:pt idx="1274">0</cx:pt>
          <cx:pt idx="1275">0</cx:pt>
          <cx:pt idx="1276">0</cx:pt>
          <cx:pt idx="1277">0</cx:pt>
          <cx:pt idx="1278">0</cx:pt>
          <cx:pt idx="1279">0</cx:pt>
          <cx:pt idx="1280">0</cx:pt>
          <cx:pt idx="1281">0</cx:pt>
          <cx:pt idx="1282">0</cx:pt>
          <cx:pt idx="1283">0</cx:pt>
          <cx:pt idx="1284">0</cx:pt>
          <cx:pt idx="1285">0</cx:pt>
          <cx:pt idx="1286">0</cx:pt>
          <cx:pt idx="1287">0</cx:pt>
          <cx:pt idx="1288">0</cx:pt>
          <cx:pt idx="1289">0</cx:pt>
          <cx:pt idx="1290">0</cx:pt>
          <cx:pt idx="1291">0</cx:pt>
          <cx:pt idx="1292">0</cx:pt>
          <cx:pt idx="1293">0</cx:pt>
          <cx:pt idx="1294">0</cx:pt>
          <cx:pt idx="1295">0</cx:pt>
          <cx:pt idx="1296">0</cx:pt>
          <cx:pt idx="1297">0</cx:pt>
          <cx:pt idx="1298">0</cx:pt>
          <cx:pt idx="1299">0</cx:pt>
          <cx:pt idx="1300">0</cx:pt>
          <cx:pt idx="1301">0</cx:pt>
          <cx:pt idx="1302">0</cx:pt>
          <cx:pt idx="1303">0</cx:pt>
          <cx:pt idx="1304">0</cx:pt>
          <cx:pt idx="1305">0</cx:pt>
          <cx:pt idx="1306">0</cx:pt>
          <cx:pt idx="1307">0</cx:pt>
          <cx:pt idx="1308">0</cx:pt>
          <cx:pt idx="1309">0</cx:pt>
          <cx:pt idx="1310">0</cx:pt>
          <cx:pt idx="1311">0</cx:pt>
          <cx:pt idx="1312">0</cx:pt>
          <cx:pt idx="1313">0</cx:pt>
          <cx:pt idx="1314">0</cx:pt>
          <cx:pt idx="1315">0</cx:pt>
          <cx:pt idx="1316">0</cx:pt>
          <cx:pt idx="1317">0</cx:pt>
          <cx:pt idx="1318">0</cx:pt>
          <cx:pt idx="1319">0</cx:pt>
          <cx:pt idx="1320">0</cx:pt>
          <cx:pt idx="1321">0</cx:pt>
          <cx:pt idx="1322">0</cx:pt>
          <cx:pt idx="1323">0</cx:pt>
          <cx:pt idx="1324">0</cx:pt>
          <cx:pt idx="1325">0</cx:pt>
          <cx:pt idx="1326">0</cx:pt>
          <cx:pt idx="1327">0</cx:pt>
          <cx:pt idx="1328">0</cx:pt>
          <cx:pt idx="1329">0</cx:pt>
          <cx:pt idx="1330">0</cx:pt>
          <cx:pt idx="1331">0</cx:pt>
          <cx:pt idx="1332">0</cx:pt>
          <cx:pt idx="1333">0</cx:pt>
          <cx:pt idx="1334">0</cx:pt>
          <cx:pt idx="1335">0</cx:pt>
          <cx:pt idx="1336">0</cx:pt>
          <cx:pt idx="1337">0</cx:pt>
          <cx:pt idx="1338">0</cx:pt>
          <cx:pt idx="1339">0</cx:pt>
          <cx:pt idx="1340">0</cx:pt>
          <cx:pt idx="1341">0</cx:pt>
          <cx:pt idx="1342">0</cx:pt>
          <cx:pt idx="1343">0</cx:pt>
          <cx:pt idx="1344">0</cx:pt>
          <cx:pt idx="1345">0</cx:pt>
          <cx:pt idx="1346">0</cx:pt>
          <cx:pt idx="1347">0</cx:pt>
          <cx:pt idx="1348">0</cx:pt>
          <cx:pt idx="1349">0</cx:pt>
          <cx:pt idx="1350">0</cx:pt>
          <cx:pt idx="1351">0</cx:pt>
          <cx:pt idx="1352">0</cx:pt>
          <cx:pt idx="1353">0</cx:pt>
          <cx:pt idx="1354">0</cx:pt>
          <cx:pt idx="1355">0</cx:pt>
          <cx:pt idx="1356">0</cx:pt>
          <cx:pt idx="1357">0</cx:pt>
          <cx:pt idx="1358">0</cx:pt>
          <cx:pt idx="1359">0</cx:pt>
          <cx:pt idx="1360">0</cx:pt>
          <cx:pt idx="1361">0</cx:pt>
          <cx:pt idx="1362">0</cx:pt>
          <cx:pt idx="1363">0</cx:pt>
          <cx:pt idx="1364">0</cx:pt>
          <cx:pt idx="1365">0</cx:pt>
          <cx:pt idx="1366">0</cx:pt>
          <cx:pt idx="1367">0</cx:pt>
          <cx:pt idx="1368">0</cx:pt>
          <cx:pt idx="1369">0</cx:pt>
          <cx:pt idx="1370">0</cx:pt>
          <cx:pt idx="1371">0</cx:pt>
          <cx:pt idx="1372">0</cx:pt>
          <cx:pt idx="1373">0</cx:pt>
          <cx:pt idx="1374">0</cx:pt>
          <cx:pt idx="1375">0</cx:pt>
          <cx:pt idx="1376">0</cx:pt>
          <cx:pt idx="1377">0</cx:pt>
          <cx:pt idx="1378">0</cx:pt>
          <cx:pt idx="1379">0</cx:pt>
          <cx:pt idx="1380">0</cx:pt>
          <cx:pt idx="1381">0</cx:pt>
          <cx:pt idx="1382">0</cx:pt>
          <cx:pt idx="1383">0</cx:pt>
          <cx:pt idx="1384">0</cx:pt>
          <cx:pt idx="1385">0</cx:pt>
          <cx:pt idx="1386">0</cx:pt>
          <cx:pt idx="1387">0</cx:pt>
          <cx:pt idx="1388">0</cx:pt>
          <cx:pt idx="1389">0</cx:pt>
          <cx:pt idx="1390">0</cx:pt>
          <cx:pt idx="1391">0</cx:pt>
          <cx:pt idx="1392">0</cx:pt>
          <cx:pt idx="1393">0</cx:pt>
          <cx:pt idx="1394">0</cx:pt>
          <cx:pt idx="1395">0</cx:pt>
          <cx:pt idx="1396">0</cx:pt>
          <cx:pt idx="1397">0</cx:pt>
          <cx:pt idx="1398">0</cx:pt>
          <cx:pt idx="1399">0</cx:pt>
          <cx:pt idx="1400">0</cx:pt>
          <cx:pt idx="1401">0</cx:pt>
          <cx:pt idx="1402">0</cx:pt>
          <cx:pt idx="1403">0</cx:pt>
          <cx:pt idx="1404">0</cx:pt>
          <cx:pt idx="1405">0</cx:pt>
          <cx:pt idx="1406">0</cx:pt>
          <cx:pt idx="1407">0</cx:pt>
          <cx:pt idx="1408">0</cx:pt>
          <cx:pt idx="1409">0</cx:pt>
          <cx:pt idx="1410">0</cx:pt>
          <cx:pt idx="1411">0</cx:pt>
          <cx:pt idx="1412">0</cx:pt>
          <cx:pt idx="1413">0</cx:pt>
          <cx:pt idx="1414">0</cx:pt>
          <cx:pt idx="1415">0</cx:pt>
          <cx:pt idx="1416">0</cx:pt>
          <cx:pt idx="1417">0</cx:pt>
          <cx:pt idx="1418">0</cx:pt>
          <cx:pt idx="1419">0</cx:pt>
          <cx:pt idx="1420">0</cx:pt>
          <cx:pt idx="1421">0</cx:pt>
          <cx:pt idx="1422">0</cx:pt>
          <cx:pt idx="1423">0</cx:pt>
          <cx:pt idx="1424">0</cx:pt>
          <cx:pt idx="1425">0</cx:pt>
          <cx:pt idx="1426">0</cx:pt>
          <cx:pt idx="1427">0</cx:pt>
          <cx:pt idx="1428">0</cx:pt>
          <cx:pt idx="1429">0</cx:pt>
          <cx:pt idx="1430">0</cx:pt>
          <cx:pt idx="1431">0</cx:pt>
          <cx:pt idx="1432">0</cx:pt>
          <cx:pt idx="1433">0</cx:pt>
          <cx:pt idx="1434">0</cx:pt>
          <cx:pt idx="1435">0</cx:pt>
          <cx:pt idx="1436">0</cx:pt>
          <cx:pt idx="1437">0</cx:pt>
          <cx:pt idx="1438">0</cx:pt>
          <cx:pt idx="1439">0</cx:pt>
          <cx:pt idx="1440">0</cx:pt>
          <cx:pt idx="1441">0</cx:pt>
          <cx:pt idx="1442">0</cx:pt>
          <cx:pt idx="1443">0</cx:pt>
          <cx:pt idx="1444">0</cx:pt>
          <cx:pt idx="1445">0</cx:pt>
          <cx:pt idx="1446">0</cx:pt>
          <cx:pt idx="1447">0</cx:pt>
          <cx:pt idx="1448">0</cx:pt>
          <cx:pt idx="1449">0</cx:pt>
          <cx:pt idx="1450">0</cx:pt>
          <cx:pt idx="1451">0</cx:pt>
          <cx:pt idx="1452">0</cx:pt>
          <cx:pt idx="1453">0</cx:pt>
          <cx:pt idx="1454">0</cx:pt>
          <cx:pt idx="1455">0</cx:pt>
          <cx:pt idx="1456">0</cx:pt>
          <cx:pt idx="1457">0</cx:pt>
          <cx:pt idx="1458">0</cx:pt>
          <cx:pt idx="1459">0</cx:pt>
          <cx:pt idx="1460">0</cx:pt>
          <cx:pt idx="1461">0</cx:pt>
          <cx:pt idx="1462">0</cx:pt>
          <cx:pt idx="1463">0</cx:pt>
          <cx:pt idx="1464">0</cx:pt>
          <cx:pt idx="1465">0</cx:pt>
          <cx:pt idx="1466">0</cx:pt>
          <cx:pt idx="1467">0</cx:pt>
          <cx:pt idx="1468">0</cx:pt>
          <cx:pt idx="1469">0</cx:pt>
          <cx:pt idx="1470">0</cx:pt>
          <cx:pt idx="1471">0</cx:pt>
          <cx:pt idx="1472">0</cx:pt>
          <cx:pt idx="1473">0</cx:pt>
          <cx:pt idx="1474">0</cx:pt>
          <cx:pt idx="1475">0</cx:pt>
          <cx:pt idx="1476">0</cx:pt>
          <cx:pt idx="1477">0</cx:pt>
          <cx:pt idx="1478">0</cx:pt>
          <cx:pt idx="1479">0</cx:pt>
          <cx:pt idx="1480">0</cx:pt>
          <cx:pt idx="1481">0</cx:pt>
          <cx:pt idx="1482">0</cx:pt>
          <cx:pt idx="1483">0</cx:pt>
          <cx:pt idx="1484">0</cx:pt>
          <cx:pt idx="1485">0</cx:pt>
          <cx:pt idx="1486">0</cx:pt>
          <cx:pt idx="1487">0</cx:pt>
          <cx:pt idx="1488">0</cx:pt>
          <cx:pt idx="1489">0</cx:pt>
          <cx:pt idx="1490">0</cx:pt>
          <cx:pt idx="1491">0</cx:pt>
          <cx:pt idx="1492">0</cx:pt>
          <cx:pt idx="1493">0</cx:pt>
          <cx:pt idx="1494">0</cx:pt>
          <cx:pt idx="1495">0</cx:pt>
          <cx:pt idx="1496">0</cx:pt>
          <cx:pt idx="1497">0</cx:pt>
          <cx:pt idx="1498">0</cx:pt>
          <cx:pt idx="1499">0</cx:pt>
          <cx:pt idx="1500">0</cx:pt>
          <cx:pt idx="1501">0</cx:pt>
          <cx:pt idx="1502">0</cx:pt>
          <cx:pt idx="1503">0</cx:pt>
          <cx:pt idx="1504">0</cx:pt>
          <cx:pt idx="1505">0</cx:pt>
          <cx:pt idx="1506">0</cx:pt>
          <cx:pt idx="1507">0</cx:pt>
          <cx:pt idx="1508">0</cx:pt>
          <cx:pt idx="1509">0</cx:pt>
          <cx:pt idx="1510">0</cx:pt>
          <cx:pt idx="1511">0</cx:pt>
          <cx:pt idx="1512">0</cx:pt>
          <cx:pt idx="1513">0</cx:pt>
          <cx:pt idx="1514">0</cx:pt>
          <cx:pt idx="1515">0</cx:pt>
          <cx:pt idx="1516">0</cx:pt>
          <cx:pt idx="1517">0</cx:pt>
          <cx:pt idx="1518">0</cx:pt>
          <cx:pt idx="1519">0</cx:pt>
          <cx:pt idx="1520">0</cx:pt>
          <cx:pt idx="1521">0</cx:pt>
          <cx:pt idx="1522">0</cx:pt>
          <cx:pt idx="1523">0</cx:pt>
          <cx:pt idx="1524">0</cx:pt>
          <cx:pt idx="1525">0</cx:pt>
          <cx:pt idx="1526">0</cx:pt>
          <cx:pt idx="1527">0</cx:pt>
          <cx:pt idx="1528">0</cx:pt>
          <cx:pt idx="1529">0</cx:pt>
          <cx:pt idx="1530">0</cx:pt>
          <cx:pt idx="1531">0</cx:pt>
          <cx:pt idx="1532">0</cx:pt>
          <cx:pt idx="1533">0</cx:pt>
          <cx:pt idx="1534">0</cx:pt>
          <cx:pt idx="1535">0</cx:pt>
          <cx:pt idx="1536">0</cx:pt>
          <cx:pt idx="1537">0</cx:pt>
          <cx:pt idx="1538">0</cx:pt>
          <cx:pt idx="1539">0</cx:pt>
          <cx:pt idx="1540">0</cx:pt>
          <cx:pt idx="1541">0</cx:pt>
          <cx:pt idx="1542">0</cx:pt>
          <cx:pt idx="1543">0</cx:pt>
          <cx:pt idx="1544">0</cx:pt>
          <cx:pt idx="1545">0</cx:pt>
          <cx:pt idx="1546">0</cx:pt>
          <cx:pt idx="1547">0</cx:pt>
          <cx:pt idx="1548">0</cx:pt>
          <cx:pt idx="1549">0</cx:pt>
          <cx:pt idx="1550">0</cx:pt>
          <cx:pt idx="1551">0</cx:pt>
          <cx:pt idx="1552">0</cx:pt>
          <cx:pt idx="1553">0</cx:pt>
          <cx:pt idx="1554">0</cx:pt>
          <cx:pt idx="1555">0</cx:pt>
          <cx:pt idx="1556">0</cx:pt>
          <cx:pt idx="1557">0</cx:pt>
          <cx:pt idx="1558">0</cx:pt>
          <cx:pt idx="1559">0</cx:pt>
          <cx:pt idx="1560">0</cx:pt>
          <cx:pt idx="1561">0</cx:pt>
          <cx:pt idx="1562">0</cx:pt>
          <cx:pt idx="1563">0</cx:pt>
          <cx:pt idx="1564">0</cx:pt>
          <cx:pt idx="1565">0</cx:pt>
          <cx:pt idx="1566">0</cx:pt>
          <cx:pt idx="1567">0</cx:pt>
          <cx:pt idx="1568">0</cx:pt>
          <cx:pt idx="1569">0</cx:pt>
          <cx:pt idx="1570">0</cx:pt>
          <cx:pt idx="1571">0</cx:pt>
          <cx:pt idx="1572">0</cx:pt>
          <cx:pt idx="1573">0</cx:pt>
          <cx:pt idx="1574">0</cx:pt>
          <cx:pt idx="1575">0</cx:pt>
          <cx:pt idx="1576">0</cx:pt>
          <cx:pt idx="1577">0</cx:pt>
          <cx:pt idx="1578">0</cx:pt>
          <cx:pt idx="1579">0</cx:pt>
          <cx:pt idx="1580">0</cx:pt>
          <cx:pt idx="1581">0</cx:pt>
          <cx:pt idx="1582">0</cx:pt>
          <cx:pt idx="1583">0</cx:pt>
          <cx:pt idx="1584">0</cx:pt>
          <cx:pt idx="1585">0</cx:pt>
          <cx:pt idx="1586">0</cx:pt>
          <cx:pt idx="1587">0</cx:pt>
          <cx:pt idx="1588">0</cx:pt>
          <cx:pt idx="1589">0</cx:pt>
          <cx:pt idx="1590">0</cx:pt>
          <cx:pt idx="1591">0</cx:pt>
          <cx:pt idx="1592">0</cx:pt>
          <cx:pt idx="1593">0</cx:pt>
          <cx:pt idx="1594">0</cx:pt>
          <cx:pt idx="1595">0</cx:pt>
          <cx:pt idx="1596">0</cx:pt>
          <cx:pt idx="1597">0</cx:pt>
          <cx:pt idx="1598">0</cx:pt>
          <cx:pt idx="1599">0</cx:pt>
          <cx:pt idx="1600">0</cx:pt>
          <cx:pt idx="1601">0</cx:pt>
          <cx:pt idx="1602">0</cx:pt>
          <cx:pt idx="1603">0</cx:pt>
          <cx:pt idx="1604">0</cx:pt>
          <cx:pt idx="1605">0</cx:pt>
          <cx:pt idx="1606">0</cx:pt>
          <cx:pt idx="1607">0</cx:pt>
          <cx:pt idx="1608">0</cx:pt>
          <cx:pt idx="1609">0</cx:pt>
          <cx:pt idx="1610">0</cx:pt>
          <cx:pt idx="1611">0</cx:pt>
          <cx:pt idx="1612">0</cx:pt>
          <cx:pt idx="1613">0</cx:pt>
          <cx:pt idx="1614">0</cx:pt>
          <cx:pt idx="1615">0</cx:pt>
          <cx:pt idx="1616">0</cx:pt>
          <cx:pt idx="1617">0</cx:pt>
          <cx:pt idx="1618">0</cx:pt>
          <cx:pt idx="1619">0</cx:pt>
          <cx:pt idx="1620">0</cx:pt>
          <cx:pt idx="1621">0</cx:pt>
          <cx:pt idx="1622">0</cx:pt>
          <cx:pt idx="1623">0</cx:pt>
          <cx:pt idx="1624">0</cx:pt>
          <cx:pt idx="1625">0</cx:pt>
          <cx:pt idx="1626">0</cx:pt>
          <cx:pt idx="1627">0</cx:pt>
          <cx:pt idx="1628">0</cx:pt>
          <cx:pt idx="1629">0</cx:pt>
          <cx:pt idx="1630">0</cx:pt>
          <cx:pt idx="1631">0</cx:pt>
          <cx:pt idx="1632">0</cx:pt>
          <cx:pt idx="1633">0</cx:pt>
          <cx:pt idx="1634">0</cx:pt>
          <cx:pt idx="1635">0</cx:pt>
          <cx:pt idx="1636">0</cx:pt>
          <cx:pt idx="1637">0</cx:pt>
          <cx:pt idx="1638">0</cx:pt>
          <cx:pt idx="1639">0</cx:pt>
          <cx:pt idx="1640">0</cx:pt>
          <cx:pt idx="1641">0</cx:pt>
          <cx:pt idx="1642">0</cx:pt>
          <cx:pt idx="1643">0</cx:pt>
          <cx:pt idx="1644">0</cx:pt>
          <cx:pt idx="1645">0</cx:pt>
          <cx:pt idx="1646">0</cx:pt>
          <cx:pt idx="1647">0</cx:pt>
          <cx:pt idx="1648">0</cx:pt>
          <cx:pt idx="1649">0</cx:pt>
          <cx:pt idx="1650">0</cx:pt>
          <cx:pt idx="1651">0</cx:pt>
          <cx:pt idx="1652">0</cx:pt>
          <cx:pt idx="1653">0</cx:pt>
          <cx:pt idx="1654">0</cx:pt>
          <cx:pt idx="1655">0</cx:pt>
          <cx:pt idx="1656">0</cx:pt>
          <cx:pt idx="1657">0</cx:pt>
          <cx:pt idx="1658">0</cx:pt>
          <cx:pt idx="1659">0</cx:pt>
          <cx:pt idx="1660">0</cx:pt>
          <cx:pt idx="1661">0</cx:pt>
          <cx:pt idx="1662">0</cx:pt>
          <cx:pt idx="1663">0</cx:pt>
          <cx:pt idx="1664">0</cx:pt>
          <cx:pt idx="1665">0</cx:pt>
          <cx:pt idx="1666">0</cx:pt>
          <cx:pt idx="1667">0</cx:pt>
          <cx:pt idx="1668">0</cx:pt>
          <cx:pt idx="1669">0</cx:pt>
          <cx:pt idx="1670">0</cx:pt>
          <cx:pt idx="1671">0</cx:pt>
          <cx:pt idx="1672">0</cx:pt>
          <cx:pt idx="1673">0</cx:pt>
          <cx:pt idx="1674">0</cx:pt>
          <cx:pt idx="1675">0</cx:pt>
          <cx:pt idx="1676">0</cx:pt>
          <cx:pt idx="1677">0</cx:pt>
          <cx:pt idx="1678">0</cx:pt>
          <cx:pt idx="1679">0</cx:pt>
          <cx:pt idx="1680">0</cx:pt>
          <cx:pt idx="1681">0</cx:pt>
          <cx:pt idx="1682">0</cx:pt>
          <cx:pt idx="1683">0</cx:pt>
          <cx:pt idx="1684">0</cx:pt>
          <cx:pt idx="1685">0</cx:pt>
          <cx:pt idx="1686">0</cx:pt>
          <cx:pt idx="1687">0</cx:pt>
          <cx:pt idx="1688">0</cx:pt>
          <cx:pt idx="1689">0</cx:pt>
          <cx:pt idx="1690">0</cx:pt>
          <cx:pt idx="1691">0</cx:pt>
          <cx:pt idx="1692">0</cx:pt>
          <cx:pt idx="1693">0</cx:pt>
          <cx:pt idx="1694">0</cx:pt>
          <cx:pt idx="1695">0</cx:pt>
          <cx:pt idx="1696">0</cx:pt>
          <cx:pt idx="1697">0</cx:pt>
          <cx:pt idx="1698">0</cx:pt>
          <cx:pt idx="1699">0</cx:pt>
          <cx:pt idx="1700">0</cx:pt>
          <cx:pt idx="1701">0</cx:pt>
          <cx:pt idx="1702">0</cx:pt>
          <cx:pt idx="1703">0</cx:pt>
          <cx:pt idx="1704">0</cx:pt>
          <cx:pt idx="1705">0</cx:pt>
          <cx:pt idx="1706">0</cx:pt>
          <cx:pt idx="1707">0</cx:pt>
          <cx:pt idx="1708">0</cx:pt>
          <cx:pt idx="1709">0</cx:pt>
          <cx:pt idx="1710">0</cx:pt>
          <cx:pt idx="1711">0</cx:pt>
          <cx:pt idx="1712">0</cx:pt>
          <cx:pt idx="1713">0</cx:pt>
          <cx:pt idx="1714">0</cx:pt>
          <cx:pt idx="1715">0</cx:pt>
          <cx:pt idx="1716">0</cx:pt>
          <cx:pt idx="1717">0</cx:pt>
          <cx:pt idx="1718">0</cx:pt>
          <cx:pt idx="1719">0</cx:pt>
          <cx:pt idx="1720">0</cx:pt>
          <cx:pt idx="1721">0</cx:pt>
          <cx:pt idx="1722">0</cx:pt>
          <cx:pt idx="1723">0</cx:pt>
          <cx:pt idx="1724">0</cx:pt>
          <cx:pt idx="1725">0</cx:pt>
          <cx:pt idx="1726">0</cx:pt>
          <cx:pt idx="1727">0</cx:pt>
          <cx:pt idx="1728">0</cx:pt>
          <cx:pt idx="1729">0</cx:pt>
          <cx:pt idx="1730">0</cx:pt>
          <cx:pt idx="1731">0</cx:pt>
          <cx:pt idx="1732">0</cx:pt>
          <cx:pt idx="1733">0</cx:pt>
          <cx:pt idx="1734">0</cx:pt>
          <cx:pt idx="1735">0</cx:pt>
          <cx:pt idx="1736">0</cx:pt>
          <cx:pt idx="1737">0</cx:pt>
          <cx:pt idx="1738">0</cx:pt>
          <cx:pt idx="1739">0</cx:pt>
          <cx:pt idx="1740">0</cx:pt>
          <cx:pt idx="1741">0</cx:pt>
          <cx:pt idx="1742">0</cx:pt>
          <cx:pt idx="1743">0</cx:pt>
          <cx:pt idx="1744">0</cx:pt>
          <cx:pt idx="1745">0</cx:pt>
          <cx:pt idx="1746">0</cx:pt>
          <cx:pt idx="1747">0</cx:pt>
          <cx:pt idx="1748">0</cx:pt>
          <cx:pt idx="1749">0</cx:pt>
          <cx:pt idx="1750">0</cx:pt>
          <cx:pt idx="1751">0</cx:pt>
          <cx:pt idx="1752">0</cx:pt>
          <cx:pt idx="1753">0</cx:pt>
          <cx:pt idx="1754">0</cx:pt>
          <cx:pt idx="1755">0</cx:pt>
          <cx:pt idx="1756">0</cx:pt>
          <cx:pt idx="1757">0</cx:pt>
          <cx:pt idx="1758">0</cx:pt>
          <cx:pt idx="1759">0</cx:pt>
          <cx:pt idx="1760">0</cx:pt>
          <cx:pt idx="1761">0</cx:pt>
          <cx:pt idx="1762">0</cx:pt>
          <cx:pt idx="1763">0</cx:pt>
          <cx:pt idx="1764">0</cx:pt>
          <cx:pt idx="1765">0</cx:pt>
          <cx:pt idx="1766">0</cx:pt>
          <cx:pt idx="1767">0</cx:pt>
          <cx:pt idx="1768">0</cx:pt>
          <cx:pt idx="1769">0</cx:pt>
          <cx:pt idx="1770">0</cx:pt>
          <cx:pt idx="1771">0</cx:pt>
          <cx:pt idx="1772">0</cx:pt>
          <cx:pt idx="1773">0</cx:pt>
          <cx:pt idx="1774">0</cx:pt>
          <cx:pt idx="1775">0</cx:pt>
          <cx:pt idx="1776">0</cx:pt>
          <cx:pt idx="1777">0</cx:pt>
          <cx:pt idx="1778">0</cx:pt>
          <cx:pt idx="1779">0</cx:pt>
          <cx:pt idx="1780">0</cx:pt>
          <cx:pt idx="1781">0</cx:pt>
          <cx:pt idx="1782">0</cx:pt>
          <cx:pt idx="1783">0</cx:pt>
          <cx:pt idx="1784">0</cx:pt>
          <cx:pt idx="1785">0</cx:pt>
          <cx:pt idx="1786">0</cx:pt>
          <cx:pt idx="1787">0</cx:pt>
          <cx:pt idx="1788">0</cx:pt>
          <cx:pt idx="1789">0</cx:pt>
          <cx:pt idx="1790">0</cx:pt>
          <cx:pt idx="1791">0</cx:pt>
          <cx:pt idx="1792">0</cx:pt>
          <cx:pt idx="1793">0</cx:pt>
          <cx:pt idx="1794">0</cx:pt>
          <cx:pt idx="1795">0</cx:pt>
          <cx:pt idx="1796">0</cx:pt>
          <cx:pt idx="1797">0</cx:pt>
          <cx:pt idx="1798">0</cx:pt>
          <cx:pt idx="1799">0</cx:pt>
          <cx:pt idx="1800">0</cx:pt>
          <cx:pt idx="1801">0</cx:pt>
          <cx:pt idx="1802">0</cx:pt>
          <cx:pt idx="1803">0</cx:pt>
          <cx:pt idx="1804">0</cx:pt>
          <cx:pt idx="1805">0</cx:pt>
          <cx:pt idx="1806">0</cx:pt>
          <cx:pt idx="1807">0</cx:pt>
          <cx:pt idx="1808">0</cx:pt>
          <cx:pt idx="1809">0</cx:pt>
          <cx:pt idx="1810">0</cx:pt>
          <cx:pt idx="1811">0</cx:pt>
          <cx:pt idx="1812">0</cx:pt>
          <cx:pt idx="1813">0</cx:pt>
          <cx:pt idx="1814">0</cx:pt>
          <cx:pt idx="1815">0</cx:pt>
          <cx:pt idx="1816">0</cx:pt>
          <cx:pt idx="1817">0</cx:pt>
          <cx:pt idx="1818">0</cx:pt>
          <cx:pt idx="1819">0</cx:pt>
          <cx:pt idx="1820">0</cx:pt>
          <cx:pt idx="1821">0</cx:pt>
          <cx:pt idx="1822">0</cx:pt>
          <cx:pt idx="1823">0</cx:pt>
          <cx:pt idx="1824">0</cx:pt>
          <cx:pt idx="1825">0</cx:pt>
          <cx:pt idx="1826">0</cx:pt>
          <cx:pt idx="1827">0</cx:pt>
          <cx:pt idx="1828">0</cx:pt>
          <cx:pt idx="1829">0</cx:pt>
          <cx:pt idx="1830">0</cx:pt>
          <cx:pt idx="1831">0</cx:pt>
          <cx:pt idx="1832">0</cx:pt>
          <cx:pt idx="1833">0</cx:pt>
          <cx:pt idx="1834">0</cx:pt>
          <cx:pt idx="1835">0</cx:pt>
          <cx:pt idx="1836">0</cx:pt>
          <cx:pt idx="1837">0</cx:pt>
          <cx:pt idx="1838">0</cx:pt>
          <cx:pt idx="1839">0</cx:pt>
          <cx:pt idx="1840">0</cx:pt>
          <cx:pt idx="1841">0</cx:pt>
          <cx:pt idx="1842">0</cx:pt>
          <cx:pt idx="1843">0</cx:pt>
          <cx:pt idx="1844">0</cx:pt>
          <cx:pt idx="1845">0</cx:pt>
          <cx:pt idx="1846">0</cx:pt>
          <cx:pt idx="1847">0</cx:pt>
          <cx:pt idx="1848">0</cx:pt>
          <cx:pt idx="1849">0</cx:pt>
          <cx:pt idx="1850">0</cx:pt>
          <cx:pt idx="1851">0</cx:pt>
          <cx:pt idx="1852">0</cx:pt>
          <cx:pt idx="1853">0</cx:pt>
          <cx:pt idx="1854">0</cx:pt>
          <cx:pt idx="1855">0</cx:pt>
          <cx:pt idx="1856">0</cx:pt>
          <cx:pt idx="1857">0</cx:pt>
          <cx:pt idx="1858">0</cx:pt>
          <cx:pt idx="1859">0</cx:pt>
          <cx:pt idx="1860">0</cx:pt>
          <cx:pt idx="1861">0</cx:pt>
          <cx:pt idx="1862">0</cx:pt>
          <cx:pt idx="1863">0</cx:pt>
          <cx:pt idx="1864">0</cx:pt>
          <cx:pt idx="1865">0</cx:pt>
          <cx:pt idx="1866">0</cx:pt>
          <cx:pt idx="1867">0</cx:pt>
          <cx:pt idx="1868">0</cx:pt>
          <cx:pt idx="1869">0</cx:pt>
          <cx:pt idx="1870">0</cx:pt>
          <cx:pt idx="1871">0</cx:pt>
          <cx:pt idx="1872">0</cx:pt>
          <cx:pt idx="1873">0</cx:pt>
          <cx:pt idx="1874">0</cx:pt>
          <cx:pt idx="1875">0</cx:pt>
          <cx:pt idx="1876">0</cx:pt>
          <cx:pt idx="1877">0</cx:pt>
          <cx:pt idx="1878">0</cx:pt>
          <cx:pt idx="1879">0</cx:pt>
          <cx:pt idx="1880">0</cx:pt>
          <cx:pt idx="1881">0</cx:pt>
          <cx:pt idx="1882">0</cx:pt>
          <cx:pt idx="1883">0</cx:pt>
          <cx:pt idx="1884">0</cx:pt>
          <cx:pt idx="1885">0</cx:pt>
          <cx:pt idx="1886">0</cx:pt>
          <cx:pt idx="1887">0</cx:pt>
          <cx:pt idx="1888">0</cx:pt>
          <cx:pt idx="1889">0</cx:pt>
          <cx:pt idx="1890">0</cx:pt>
          <cx:pt idx="1891">0</cx:pt>
          <cx:pt idx="1892">0</cx:pt>
          <cx:pt idx="1893">0</cx:pt>
          <cx:pt idx="1894">0</cx:pt>
          <cx:pt idx="1895">0</cx:pt>
          <cx:pt idx="1896">0</cx:pt>
          <cx:pt idx="1897">0</cx:pt>
          <cx:pt idx="1898">0</cx:pt>
          <cx:pt idx="1899">0</cx:pt>
          <cx:pt idx="1900">0</cx:pt>
          <cx:pt idx="1901">0</cx:pt>
          <cx:pt idx="1902">0</cx:pt>
          <cx:pt idx="1903">0</cx:pt>
          <cx:pt idx="1904">0</cx:pt>
          <cx:pt idx="1905">0</cx:pt>
          <cx:pt idx="1906">0</cx:pt>
          <cx:pt idx="1907">0</cx:pt>
          <cx:pt idx="1908">0</cx:pt>
          <cx:pt idx="1909">0</cx:pt>
          <cx:pt idx="1910">0</cx:pt>
          <cx:pt idx="1911">0</cx:pt>
          <cx:pt idx="1912">0</cx:pt>
          <cx:pt idx="1913">0</cx:pt>
          <cx:pt idx="1914">0</cx:pt>
          <cx:pt idx="1915">0</cx:pt>
          <cx:pt idx="1916">0</cx:pt>
          <cx:pt idx="1917">0</cx:pt>
          <cx:pt idx="1918">0</cx:pt>
          <cx:pt idx="1919">0</cx:pt>
          <cx:pt idx="1920">0</cx:pt>
          <cx:pt idx="1921">0</cx:pt>
          <cx:pt idx="1922">0</cx:pt>
          <cx:pt idx="1923">0</cx:pt>
          <cx:pt idx="1924">0</cx:pt>
          <cx:pt idx="1925">0</cx:pt>
          <cx:pt idx="1926">0</cx:pt>
          <cx:pt idx="1927">0</cx:pt>
          <cx:pt idx="1928">0</cx:pt>
          <cx:pt idx="1929">0</cx:pt>
          <cx:pt idx="1930">0</cx:pt>
          <cx:pt idx="1931">0</cx:pt>
          <cx:pt idx="1932">0</cx:pt>
          <cx:pt idx="1933">0</cx:pt>
          <cx:pt idx="1934">0</cx:pt>
          <cx:pt idx="1935">0</cx:pt>
          <cx:pt idx="1936">0</cx:pt>
          <cx:pt idx="1937">0</cx:pt>
          <cx:pt idx="1938">0</cx:pt>
          <cx:pt idx="1939">0</cx:pt>
          <cx:pt idx="1940">0</cx:pt>
          <cx:pt idx="1941">0</cx:pt>
          <cx:pt idx="1942">0</cx:pt>
          <cx:pt idx="1943">0</cx:pt>
          <cx:pt idx="1944">0</cx:pt>
          <cx:pt idx="1945">0</cx:pt>
          <cx:pt idx="1946">0</cx:pt>
          <cx:pt idx="1947">0</cx:pt>
          <cx:pt idx="1948">0</cx:pt>
          <cx:pt idx="1949">0</cx:pt>
          <cx:pt idx="1950">0</cx:pt>
          <cx:pt idx="1951">0</cx:pt>
          <cx:pt idx="1952">0</cx:pt>
          <cx:pt idx="1953">0</cx:pt>
          <cx:pt idx="1954">0</cx:pt>
          <cx:pt idx="1955">0</cx:pt>
          <cx:pt idx="1956">0</cx:pt>
          <cx:pt idx="1957">0</cx:pt>
          <cx:pt idx="1958">0</cx:pt>
          <cx:pt idx="1959">0</cx:pt>
          <cx:pt idx="1960">0</cx:pt>
          <cx:pt idx="1961">0</cx:pt>
          <cx:pt idx="1962">0</cx:pt>
          <cx:pt idx="1963">0</cx:pt>
          <cx:pt idx="1964">0</cx:pt>
          <cx:pt idx="1965">0</cx:pt>
          <cx:pt idx="1966">0</cx:pt>
          <cx:pt idx="1967">0</cx:pt>
          <cx:pt idx="1968">0</cx:pt>
          <cx:pt idx="1969">0</cx:pt>
          <cx:pt idx="1970">0</cx:pt>
          <cx:pt idx="1971">0</cx:pt>
          <cx:pt idx="1972">0</cx:pt>
          <cx:pt idx="1973">0</cx:pt>
          <cx:pt idx="1974">0</cx:pt>
          <cx:pt idx="1975">0</cx:pt>
          <cx:pt idx="1976">0</cx:pt>
          <cx:pt idx="1977">0</cx:pt>
          <cx:pt idx="1978">0</cx:pt>
          <cx:pt idx="1979">0</cx:pt>
          <cx:pt idx="1980">0</cx:pt>
          <cx:pt idx="1981">0</cx:pt>
          <cx:pt idx="1982">0</cx:pt>
          <cx:pt idx="1983">0</cx:pt>
          <cx:pt idx="1984">0</cx:pt>
          <cx:pt idx="1985">0</cx:pt>
          <cx:pt idx="1986">0</cx:pt>
          <cx:pt idx="1987">0</cx:pt>
          <cx:pt idx="1988">0</cx:pt>
          <cx:pt idx="1989">0</cx:pt>
          <cx:pt idx="1990">0</cx:pt>
          <cx:pt idx="1991">0</cx:pt>
          <cx:pt idx="1992">0</cx:pt>
          <cx:pt idx="1993">0</cx:pt>
          <cx:pt idx="1994">0</cx:pt>
          <cx:pt idx="1995">0</cx:pt>
          <cx:pt idx="1996">0</cx:pt>
          <cx:pt idx="1997">0</cx:pt>
          <cx:pt idx="1998">0</cx:pt>
          <cx:pt idx="1999">0</cx:pt>
          <cx:pt idx="2000">0</cx:pt>
          <cx:pt idx="2001">0</cx:pt>
          <cx:pt idx="2002">0</cx:pt>
          <cx:pt idx="2003">0</cx:pt>
          <cx:pt idx="2004">0</cx:pt>
          <cx:pt idx="2005">0</cx:pt>
          <cx:pt idx="2006">0</cx:pt>
          <cx:pt idx="2007">0</cx:pt>
          <cx:pt idx="2008">0</cx:pt>
          <cx:pt idx="2009">0</cx:pt>
          <cx:pt idx="2010">0</cx:pt>
          <cx:pt idx="2011">0</cx:pt>
          <cx:pt idx="2012">0</cx:pt>
          <cx:pt idx="2013">0</cx:pt>
          <cx:pt idx="2014">0</cx:pt>
          <cx:pt idx="2015">0</cx:pt>
          <cx:pt idx="2016">0</cx:pt>
          <cx:pt idx="2017">0</cx:pt>
          <cx:pt idx="2018">0</cx:pt>
          <cx:pt idx="2019">0</cx:pt>
          <cx:pt idx="2020">0</cx:pt>
          <cx:pt idx="2021">0</cx:pt>
          <cx:pt idx="2022">0</cx:pt>
          <cx:pt idx="2023">0</cx:pt>
          <cx:pt idx="2024">0</cx:pt>
          <cx:pt idx="2025">0</cx:pt>
          <cx:pt idx="2026">0</cx:pt>
          <cx:pt idx="2027">0</cx:pt>
          <cx:pt idx="2028">0</cx:pt>
          <cx:pt idx="2029">0</cx:pt>
          <cx:pt idx="2030">0</cx:pt>
          <cx:pt idx="2031">0</cx:pt>
          <cx:pt idx="2032">0</cx:pt>
          <cx:pt idx="2033">0</cx:pt>
          <cx:pt idx="2034">0</cx:pt>
          <cx:pt idx="2035">0</cx:pt>
          <cx:pt idx="2036">0</cx:pt>
          <cx:pt idx="2037">0</cx:pt>
          <cx:pt idx="2038">0</cx:pt>
          <cx:pt idx="2039">0</cx:pt>
          <cx:pt idx="2040">0</cx:pt>
          <cx:pt idx="2041">0</cx:pt>
          <cx:pt idx="2042">0</cx:pt>
          <cx:pt idx="2043">0</cx:pt>
          <cx:pt idx="2044">0</cx:pt>
          <cx:pt idx="2045">0</cx:pt>
          <cx:pt idx="2046">0</cx:pt>
          <cx:pt idx="2047">0</cx:pt>
          <cx:pt idx="2048">0</cx:pt>
          <cx:pt idx="2049">0</cx:pt>
          <cx:pt idx="2050">0</cx:pt>
          <cx:pt idx="2051">0</cx:pt>
          <cx:pt idx="2052">0</cx:pt>
          <cx:pt idx="2053">0</cx:pt>
          <cx:pt idx="2054">0</cx:pt>
          <cx:pt idx="2055">0</cx:pt>
          <cx:pt idx="2056">0</cx:pt>
          <cx:pt idx="2057">0</cx:pt>
          <cx:pt idx="2058">0</cx:pt>
          <cx:pt idx="2059">0</cx:pt>
          <cx:pt idx="2060">0</cx:pt>
          <cx:pt idx="2061">0</cx:pt>
          <cx:pt idx="2062">0</cx:pt>
          <cx:pt idx="2063">0</cx:pt>
          <cx:pt idx="2064">0</cx:pt>
          <cx:pt idx="2065">0</cx:pt>
          <cx:pt idx="2066">0</cx:pt>
          <cx:pt idx="2067">0</cx:pt>
          <cx:pt idx="2068">0</cx:pt>
          <cx:pt idx="2069">0</cx:pt>
          <cx:pt idx="2070">0</cx:pt>
          <cx:pt idx="2071">0</cx:pt>
          <cx:pt idx="2072">0</cx:pt>
          <cx:pt idx="2073">0</cx:pt>
          <cx:pt idx="2074">0</cx:pt>
          <cx:pt idx="2075">0</cx:pt>
          <cx:pt idx="2076">0</cx:pt>
          <cx:pt idx="2077">0</cx:pt>
          <cx:pt idx="2078">0</cx:pt>
          <cx:pt idx="2079">0</cx:pt>
          <cx:pt idx="2080">0</cx:pt>
          <cx:pt idx="2081">0</cx:pt>
          <cx:pt idx="2082">0</cx:pt>
          <cx:pt idx="2083">0</cx:pt>
          <cx:pt idx="2084">0</cx:pt>
          <cx:pt idx="2085">0</cx:pt>
          <cx:pt idx="2086">0</cx:pt>
          <cx:pt idx="2087">0</cx:pt>
          <cx:pt idx="2088">0</cx:pt>
          <cx:pt idx="2089">0</cx:pt>
          <cx:pt idx="2090">0</cx:pt>
          <cx:pt idx="2091">0</cx:pt>
          <cx:pt idx="2092">0</cx:pt>
          <cx:pt idx="2093">0</cx:pt>
          <cx:pt idx="2094">0</cx:pt>
          <cx:pt idx="2095">0</cx:pt>
          <cx:pt idx="2096">0</cx:pt>
          <cx:pt idx="2097">0</cx:pt>
          <cx:pt idx="2098">0</cx:pt>
          <cx:pt idx="2099">0</cx:pt>
          <cx:pt idx="2100">0</cx:pt>
          <cx:pt idx="2101">0</cx:pt>
          <cx:pt idx="2102">0</cx:pt>
          <cx:pt idx="2103">0</cx:pt>
          <cx:pt idx="2104">0</cx:pt>
          <cx:pt idx="2105">0</cx:pt>
          <cx:pt idx="2106">0</cx:pt>
          <cx:pt idx="2107">0</cx:pt>
          <cx:pt idx="2108">0</cx:pt>
          <cx:pt idx="2109">0</cx:pt>
          <cx:pt idx="2110">0</cx:pt>
          <cx:pt idx="2111">0</cx:pt>
          <cx:pt idx="2112">0</cx:pt>
          <cx:pt idx="2113">0</cx:pt>
          <cx:pt idx="2114">0</cx:pt>
          <cx:pt idx="2115">0</cx:pt>
          <cx:pt idx="2116">0</cx:pt>
          <cx:pt idx="2117">0</cx:pt>
          <cx:pt idx="2118">0</cx:pt>
          <cx:pt idx="2119">0</cx:pt>
          <cx:pt idx="2120">0</cx:pt>
          <cx:pt idx="2121">0</cx:pt>
          <cx:pt idx="2122">0</cx:pt>
          <cx:pt idx="2123">0</cx:pt>
          <cx:pt idx="2124">0</cx:pt>
          <cx:pt idx="2125">0</cx:pt>
          <cx:pt idx="2126">0</cx:pt>
          <cx:pt idx="2127">0</cx:pt>
          <cx:pt idx="2128">0</cx:pt>
          <cx:pt idx="2129">0</cx:pt>
          <cx:pt idx="2130">0</cx:pt>
          <cx:pt idx="2131">0</cx:pt>
          <cx:pt idx="2132">0</cx:pt>
          <cx:pt idx="2133">0</cx:pt>
          <cx:pt idx="2134">0</cx:pt>
          <cx:pt idx="2135">0</cx:pt>
          <cx:pt idx="2136">0</cx:pt>
          <cx:pt idx="2137">0</cx:pt>
          <cx:pt idx="2138">0</cx:pt>
          <cx:pt idx="2139">0</cx:pt>
          <cx:pt idx="2140">0</cx:pt>
          <cx:pt idx="2141">0</cx:pt>
          <cx:pt idx="2142">0</cx:pt>
          <cx:pt idx="2143">0</cx:pt>
          <cx:pt idx="2144">0</cx:pt>
          <cx:pt idx="2145">0</cx:pt>
          <cx:pt idx="2146">0</cx:pt>
          <cx:pt idx="2147">0</cx:pt>
          <cx:pt idx="2148">0</cx:pt>
          <cx:pt idx="2149">0</cx:pt>
          <cx:pt idx="2150">0</cx:pt>
          <cx:pt idx="2151">0</cx:pt>
          <cx:pt idx="2152">0</cx:pt>
          <cx:pt idx="2153">0</cx:pt>
          <cx:pt idx="2154">0</cx:pt>
          <cx:pt idx="2155">0</cx:pt>
          <cx:pt idx="2156">0</cx:pt>
          <cx:pt idx="2157">0</cx:pt>
          <cx:pt idx="2158">0</cx:pt>
          <cx:pt idx="2159">0</cx:pt>
          <cx:pt idx="2160">0</cx:pt>
          <cx:pt idx="2161">0</cx:pt>
          <cx:pt idx="2162">0</cx:pt>
          <cx:pt idx="2163">0</cx:pt>
          <cx:pt idx="2164">0</cx:pt>
          <cx:pt idx="2165">0</cx:pt>
          <cx:pt idx="2166">0</cx:pt>
          <cx:pt idx="2167">0</cx:pt>
          <cx:pt idx="2168">0</cx:pt>
          <cx:pt idx="2169">0</cx:pt>
          <cx:pt idx="2170">0</cx:pt>
          <cx:pt idx="2171">0</cx:pt>
          <cx:pt idx="2172">0</cx:pt>
          <cx:pt idx="2173">0</cx:pt>
          <cx:pt idx="2174">0</cx:pt>
          <cx:pt idx="2175">0</cx:pt>
          <cx:pt idx="2176">0</cx:pt>
          <cx:pt idx="2177">0</cx:pt>
          <cx:pt idx="2178">0</cx:pt>
          <cx:pt idx="2179">0</cx:pt>
          <cx:pt idx="2180">0</cx:pt>
          <cx:pt idx="2181">0</cx:pt>
          <cx:pt idx="2182">0</cx:pt>
          <cx:pt idx="2183">0</cx:pt>
          <cx:pt idx="2184">0</cx:pt>
          <cx:pt idx="2185">0</cx:pt>
          <cx:pt idx="2186">0</cx:pt>
          <cx:pt idx="2187">0</cx:pt>
          <cx:pt idx="2188">0</cx:pt>
          <cx:pt idx="2189">0</cx:pt>
          <cx:pt idx="2190">0</cx:pt>
          <cx:pt idx="2191">0</cx:pt>
          <cx:pt idx="2192">0</cx:pt>
          <cx:pt idx="2193">0</cx:pt>
          <cx:pt idx="2194">0</cx:pt>
          <cx:pt idx="2195">0</cx:pt>
          <cx:pt idx="2196">0</cx:pt>
          <cx:pt idx="2197">0</cx:pt>
          <cx:pt idx="2198">0</cx:pt>
          <cx:pt idx="2199">0</cx:pt>
          <cx:pt idx="2200">0</cx:pt>
          <cx:pt idx="2201">0</cx:pt>
          <cx:pt idx="2202">0</cx:pt>
          <cx:pt idx="2203">0</cx:pt>
          <cx:pt idx="2204">0</cx:pt>
          <cx:pt idx="2205">0</cx:pt>
          <cx:pt idx="2206">0</cx:pt>
          <cx:pt idx="2207">0</cx:pt>
          <cx:pt idx="2208">0</cx:pt>
          <cx:pt idx="2209">0</cx:pt>
          <cx:pt idx="2210">0</cx:pt>
          <cx:pt idx="2211">0</cx:pt>
          <cx:pt idx="2212">0</cx:pt>
          <cx:pt idx="2213">0</cx:pt>
          <cx:pt idx="2214">0</cx:pt>
          <cx:pt idx="2215">0</cx:pt>
          <cx:pt idx="2216">0</cx:pt>
          <cx:pt idx="2217">0</cx:pt>
          <cx:pt idx="2218">0</cx:pt>
          <cx:pt idx="2219">0</cx:pt>
          <cx:pt idx="2220">0</cx:pt>
          <cx:pt idx="2221">0</cx:pt>
          <cx:pt idx="2222">0</cx:pt>
          <cx:pt idx="2223">0</cx:pt>
          <cx:pt idx="2224">0</cx:pt>
          <cx:pt idx="2225">0</cx:pt>
          <cx:pt idx="2226">0</cx:pt>
          <cx:pt idx="2227">0</cx:pt>
          <cx:pt idx="2228">0</cx:pt>
          <cx:pt idx="2229">0</cx:pt>
          <cx:pt idx="2230">0</cx:pt>
          <cx:pt idx="2231">0</cx:pt>
          <cx:pt idx="2232">0</cx:pt>
          <cx:pt idx="2233">0</cx:pt>
          <cx:pt idx="2234">0</cx:pt>
          <cx:pt idx="2235">0</cx:pt>
          <cx:pt idx="2236">0</cx:pt>
          <cx:pt idx="2237">0</cx:pt>
          <cx:pt idx="2238">0</cx:pt>
          <cx:pt idx="2239">0</cx:pt>
          <cx:pt idx="2240">0</cx:pt>
          <cx:pt idx="2241">0</cx:pt>
          <cx:pt idx="2242">0</cx:pt>
          <cx:pt idx="2243">0</cx:pt>
          <cx:pt idx="2244">0</cx:pt>
          <cx:pt idx="2245">0</cx:pt>
          <cx:pt idx="2246">0</cx:pt>
          <cx:pt idx="2247">0</cx:pt>
          <cx:pt idx="2248">0</cx:pt>
          <cx:pt idx="2249">0</cx:pt>
          <cx:pt idx="2250">0</cx:pt>
          <cx:pt idx="2251">0</cx:pt>
          <cx:pt idx="2252">0</cx:pt>
          <cx:pt idx="2253">0</cx:pt>
          <cx:pt idx="2254">0</cx:pt>
          <cx:pt idx="2255">0</cx:pt>
          <cx:pt idx="2256">0</cx:pt>
          <cx:pt idx="2257">0</cx:pt>
          <cx:pt idx="2258">0</cx:pt>
          <cx:pt idx="2259">0</cx:pt>
          <cx:pt idx="2260">0</cx:pt>
          <cx:pt idx="2261">0</cx:pt>
          <cx:pt idx="2262">0</cx:pt>
          <cx:pt idx="2263">0</cx:pt>
          <cx:pt idx="2264">0</cx:pt>
          <cx:pt idx="2265">0</cx:pt>
          <cx:pt idx="2266">0</cx:pt>
          <cx:pt idx="2267">0</cx:pt>
          <cx:pt idx="2268">0</cx:pt>
          <cx:pt idx="2269">0</cx:pt>
          <cx:pt idx="2270">0</cx:pt>
          <cx:pt idx="2271">0</cx:pt>
          <cx:pt idx="2272">0</cx:pt>
          <cx:pt idx="2273">0</cx:pt>
          <cx:pt idx="2274">0</cx:pt>
          <cx:pt idx="2275">0</cx:pt>
          <cx:pt idx="2276">0</cx:pt>
          <cx:pt idx="2277">0</cx:pt>
          <cx:pt idx="2278">0</cx:pt>
          <cx:pt idx="2279">0</cx:pt>
          <cx:pt idx="2280">0</cx:pt>
          <cx:pt idx="2281">0</cx:pt>
          <cx:pt idx="2282">0</cx:pt>
          <cx:pt idx="2283">0</cx:pt>
          <cx:pt idx="2284">0</cx:pt>
          <cx:pt idx="2285">0</cx:pt>
          <cx:pt idx="2286">0</cx:pt>
          <cx:pt idx="2287">0</cx:pt>
          <cx:pt idx="2288">0</cx:pt>
          <cx:pt idx="2289">0</cx:pt>
          <cx:pt idx="2290">0</cx:pt>
          <cx:pt idx="2291">0</cx:pt>
          <cx:pt idx="2292">0</cx:pt>
          <cx:pt idx="2293">0</cx:pt>
          <cx:pt idx="2294">0</cx:pt>
          <cx:pt idx="2295">0</cx:pt>
          <cx:pt idx="2296">0</cx:pt>
          <cx:pt idx="2297">0</cx:pt>
          <cx:pt idx="2298">0</cx:pt>
          <cx:pt idx="2299">0</cx:pt>
          <cx:pt idx="2300">0</cx:pt>
          <cx:pt idx="2301">0</cx:pt>
          <cx:pt idx="2302">0</cx:pt>
          <cx:pt idx="2303">0</cx:pt>
          <cx:pt idx="2304">0</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0</cx:pt>
          <cx:pt idx="2322">0</cx:pt>
          <cx:pt idx="2323">0</cx:pt>
          <cx:pt idx="2324">0</cx:pt>
          <cx:pt idx="2325">0</cx:pt>
          <cx:pt idx="2326">0</cx:pt>
          <cx:pt idx="2327">0</cx:pt>
          <cx:pt idx="2328">0</cx:pt>
          <cx:pt idx="2329">0</cx:pt>
          <cx:pt idx="2330">0</cx:pt>
          <cx:pt idx="2331">0</cx:pt>
          <cx:pt idx="2332">0</cx:pt>
          <cx:pt idx="2333">0</cx:pt>
          <cx:pt idx="2334">0</cx:pt>
          <cx:pt idx="2335">0</cx:pt>
          <cx:pt idx="2336">0</cx:pt>
          <cx:pt idx="2337">0</cx:pt>
          <cx:pt idx="2338">0</cx:pt>
          <cx:pt idx="2339">0</cx:pt>
          <cx:pt idx="2340">0</cx:pt>
          <cx:pt idx="2341">0</cx:pt>
          <cx:pt idx="2342">0</cx:pt>
          <cx:pt idx="2343">0</cx:pt>
          <cx:pt idx="2344">0</cx:pt>
          <cx:pt idx="2345">0</cx:pt>
          <cx:pt idx="2346">0</cx:pt>
          <cx:pt idx="2347">0</cx:pt>
          <cx:pt idx="2348">0</cx:pt>
          <cx:pt idx="2349">0</cx:pt>
          <cx:pt idx="2350">0</cx:pt>
          <cx:pt idx="2351">0</cx:pt>
          <cx:pt idx="2352">0</cx:pt>
          <cx:pt idx="2353">0</cx:pt>
          <cx:pt idx="2354">0</cx:pt>
          <cx:pt idx="2355">0</cx:pt>
          <cx:pt idx="2356">0</cx:pt>
          <cx:pt idx="2357">0</cx:pt>
          <cx:pt idx="2358">0</cx:pt>
          <cx:pt idx="2359">0</cx:pt>
          <cx:pt idx="2360">0</cx:pt>
          <cx:pt idx="2361">0</cx:pt>
          <cx:pt idx="2362">0</cx:pt>
          <cx:pt idx="2363">0</cx:pt>
          <cx:pt idx="2364">0</cx:pt>
          <cx:pt idx="2365">0</cx:pt>
          <cx:pt idx="2366">0</cx:pt>
          <cx:pt idx="2367">0</cx:pt>
          <cx:pt idx="2368">0</cx:pt>
          <cx:pt idx="2369">0</cx:pt>
          <cx:pt idx="2370">0</cx:pt>
          <cx:pt idx="2371">0</cx:pt>
          <cx:pt idx="2372">0</cx:pt>
          <cx:pt idx="2373">0</cx:pt>
          <cx:pt idx="2374">0</cx:pt>
          <cx:pt idx="2375">0</cx:pt>
          <cx:pt idx="2376">0</cx:pt>
          <cx:pt idx="2377">0</cx:pt>
          <cx:pt idx="2378">0</cx:pt>
          <cx:pt idx="2379">0</cx:pt>
          <cx:pt idx="2380">0</cx:pt>
          <cx:pt idx="2381">0</cx:pt>
          <cx:pt idx="2382">0</cx:pt>
          <cx:pt idx="2383">0</cx:pt>
          <cx:pt idx="2384">0</cx:pt>
          <cx:pt idx="2385">0</cx:pt>
          <cx:pt idx="2386">0</cx:pt>
          <cx:pt idx="2387">0</cx:pt>
          <cx:pt idx="2388">0</cx:pt>
          <cx:pt idx="2389">0</cx:pt>
          <cx:pt idx="2390">0</cx:pt>
          <cx:pt idx="2391">0</cx:pt>
          <cx:pt idx="2392">0</cx:pt>
          <cx:pt idx="2393">0</cx:pt>
          <cx:pt idx="2394">0</cx:pt>
          <cx:pt idx="2395">0</cx:pt>
          <cx:pt idx="2396">0</cx:pt>
          <cx:pt idx="2397">0</cx:pt>
          <cx:pt idx="2398">0</cx:pt>
          <cx:pt idx="2399">0</cx:pt>
          <cx:pt idx="2400">0</cx:pt>
          <cx:pt idx="2401">0</cx:pt>
          <cx:pt idx="2402">0</cx:pt>
          <cx:pt idx="2403">0</cx:pt>
          <cx:pt idx="2404">0</cx:pt>
          <cx:pt idx="2405">0</cx:pt>
          <cx:pt idx="2406">0</cx:pt>
          <cx:pt idx="2407">0</cx:pt>
          <cx:pt idx="2408">0</cx:pt>
          <cx:pt idx="2409">0</cx:pt>
          <cx:pt idx="2410">0</cx:pt>
          <cx:pt idx="2411">0</cx:pt>
          <cx:pt idx="2412">0</cx:pt>
          <cx:pt idx="2413">0</cx:pt>
          <cx:pt idx="2414">0</cx:pt>
          <cx:pt idx="2415">0</cx:pt>
          <cx:pt idx="2416">0</cx:pt>
          <cx:pt idx="2417">0</cx:pt>
          <cx:pt idx="2418">0</cx:pt>
          <cx:pt idx="2419">0</cx:pt>
          <cx:pt idx="2420">0</cx:pt>
          <cx:pt idx="2421">0</cx:pt>
          <cx:pt idx="2422">0</cx:pt>
          <cx:pt idx="2423">0</cx:pt>
          <cx:pt idx="2424">0</cx:pt>
          <cx:pt idx="2425">0</cx:pt>
          <cx:pt idx="2426">0</cx:pt>
          <cx:pt idx="2427">0</cx:pt>
          <cx:pt idx="2428">0</cx:pt>
          <cx:pt idx="2429">0</cx:pt>
          <cx:pt idx="2430">0</cx:pt>
          <cx:pt idx="2431">0</cx:pt>
          <cx:pt idx="2432">0</cx:pt>
          <cx:pt idx="2433">0</cx:pt>
          <cx:pt idx="2434">0</cx:pt>
          <cx:pt idx="2435">0</cx:pt>
          <cx:pt idx="2436">0</cx:pt>
          <cx:pt idx="2437">0</cx:pt>
          <cx:pt idx="2438">0</cx:pt>
          <cx:pt idx="2439">0</cx:pt>
          <cx:pt idx="2440">0</cx:pt>
          <cx:pt idx="2441">0</cx:pt>
          <cx:pt idx="2442">0</cx:pt>
          <cx:pt idx="2443">0</cx:pt>
          <cx:pt idx="2444">0</cx:pt>
          <cx:pt idx="2445">0</cx:pt>
          <cx:pt idx="2446">0</cx:pt>
          <cx:pt idx="2447">0</cx:pt>
          <cx:pt idx="2448">0</cx:pt>
          <cx:pt idx="2449">0</cx:pt>
          <cx:pt idx="2450">0</cx:pt>
          <cx:pt idx="2451">0</cx:pt>
          <cx:pt idx="2452">0</cx:pt>
          <cx:pt idx="2453">0</cx:pt>
          <cx:pt idx="2454">0</cx:pt>
          <cx:pt idx="2455">0</cx:pt>
          <cx:pt idx="2456">0</cx:pt>
          <cx:pt idx="2457">0</cx:pt>
          <cx:pt idx="2458">0</cx:pt>
          <cx:pt idx="2459">0</cx:pt>
          <cx:pt idx="2460">0</cx:pt>
          <cx:pt idx="2461">0</cx:pt>
          <cx:pt idx="2462">0</cx:pt>
          <cx:pt idx="2463">0</cx:pt>
          <cx:pt idx="2464">0</cx:pt>
          <cx:pt idx="2465">0</cx:pt>
          <cx:pt idx="2466">0</cx:pt>
          <cx:pt idx="2467">0</cx:pt>
          <cx:pt idx="2468">0</cx:pt>
          <cx:pt idx="2469">0</cx:pt>
          <cx:pt idx="2470">0</cx:pt>
          <cx:pt idx="2471">0</cx:pt>
          <cx:pt idx="2472">0</cx:pt>
          <cx:pt idx="2473">0</cx:pt>
          <cx:pt idx="2474">0</cx:pt>
          <cx:pt idx="2475">0</cx:pt>
          <cx:pt idx="2476">0</cx:pt>
          <cx:pt idx="2477">0</cx:pt>
          <cx:pt idx="2478">0</cx:pt>
          <cx:pt idx="2479">0</cx:pt>
          <cx:pt idx="2480">0</cx:pt>
          <cx:pt idx="2481">0</cx:pt>
          <cx:pt idx="2482">0</cx:pt>
          <cx:pt idx="2483">0</cx:pt>
          <cx:pt idx="2484">0</cx:pt>
          <cx:pt idx="2485">0</cx:pt>
          <cx:pt idx="2486">0</cx:pt>
          <cx:pt idx="2487">0</cx:pt>
          <cx:pt idx="2488">0</cx:pt>
          <cx:pt idx="2489">0</cx:pt>
          <cx:pt idx="2490">0</cx:pt>
          <cx:pt idx="2491">0</cx:pt>
          <cx:pt idx="2492">0</cx:pt>
          <cx:pt idx="2493">0</cx:pt>
          <cx:pt idx="2494">0</cx:pt>
          <cx:pt idx="2495">0</cx:pt>
          <cx:pt idx="2496">0</cx:pt>
          <cx:pt idx="2497">0</cx:pt>
          <cx:pt idx="2498">0</cx:pt>
          <cx:pt idx="2499">0</cx:pt>
          <cx:pt idx="2500">0</cx:pt>
          <cx:pt idx="2501">0</cx:pt>
          <cx:pt idx="2502">0</cx:pt>
          <cx:pt idx="2503">0</cx:pt>
          <cx:pt idx="2504">0</cx:pt>
          <cx:pt idx="2505">0</cx:pt>
          <cx:pt idx="2506">0</cx:pt>
          <cx:pt idx="2507">0</cx:pt>
          <cx:pt idx="2508">0</cx:pt>
          <cx:pt idx="2509">0</cx:pt>
          <cx:pt idx="2510">0</cx:pt>
          <cx:pt idx="2511">0</cx:pt>
          <cx:pt idx="2512">0</cx:pt>
          <cx:pt idx="2513">0</cx:pt>
          <cx:pt idx="2514">0</cx:pt>
          <cx:pt idx="2515">0</cx:pt>
          <cx:pt idx="2516">0</cx:pt>
          <cx:pt idx="2517">0</cx:pt>
          <cx:pt idx="2518">0</cx:pt>
          <cx:pt idx="2519">0</cx:pt>
          <cx:pt idx="2520">0</cx:pt>
          <cx:pt idx="2521">0</cx:pt>
          <cx:pt idx="2522">0</cx:pt>
          <cx:pt idx="2523">0</cx:pt>
          <cx:pt idx="2524">0</cx:pt>
          <cx:pt idx="2525">0</cx:pt>
          <cx:pt idx="2526">0</cx:pt>
          <cx:pt idx="2527">0</cx:pt>
          <cx:pt idx="2528">0</cx:pt>
          <cx:pt idx="2529">0</cx:pt>
          <cx:pt idx="2530">0</cx:pt>
          <cx:pt idx="2531">0</cx:pt>
          <cx:pt idx="2532">0</cx:pt>
          <cx:pt idx="2533">0</cx:pt>
          <cx:pt idx="2534">0</cx:pt>
          <cx:pt idx="2535">0</cx:pt>
          <cx:pt idx="2536">0</cx:pt>
          <cx:pt idx="2537">0</cx:pt>
          <cx:pt idx="2538">0</cx:pt>
          <cx:pt idx="2539">0</cx:pt>
          <cx:pt idx="2540">0</cx:pt>
          <cx:pt idx="2541">0</cx:pt>
          <cx:pt idx="2542">0</cx:pt>
          <cx:pt idx="2543">0</cx:pt>
          <cx:pt idx="2544">0</cx:pt>
          <cx:pt idx="2545">0</cx:pt>
          <cx:pt idx="2546">0</cx:pt>
          <cx:pt idx="2547">0</cx:pt>
          <cx:pt idx="2548">0</cx:pt>
          <cx:pt idx="2549">0</cx:pt>
          <cx:pt idx="2550">0</cx:pt>
          <cx:pt idx="2551">0</cx:pt>
          <cx:pt idx="2552">0</cx:pt>
          <cx:pt idx="2553">0</cx:pt>
          <cx:pt idx="2554">0</cx:pt>
          <cx:pt idx="2555">0</cx:pt>
          <cx:pt idx="2556">0</cx:pt>
          <cx:pt idx="2557">0</cx:pt>
          <cx:pt idx="2558">0</cx:pt>
          <cx:pt idx="2559">0</cx:pt>
          <cx:pt idx="2560">0</cx:pt>
          <cx:pt idx="2561">0</cx:pt>
          <cx:pt idx="2562">0</cx:pt>
          <cx:pt idx="2563">0</cx:pt>
          <cx:pt idx="2564">0</cx:pt>
          <cx:pt idx="2565">0</cx:pt>
          <cx:pt idx="2566">0</cx:pt>
          <cx:pt idx="2567">0</cx:pt>
          <cx:pt idx="2568">0</cx:pt>
          <cx:pt idx="2569">0</cx:pt>
          <cx:pt idx="2570">0</cx:pt>
          <cx:pt idx="2571">0</cx:pt>
          <cx:pt idx="2572">0</cx:pt>
          <cx:pt idx="2573">0</cx:pt>
          <cx:pt idx="2574">0</cx:pt>
          <cx:pt idx="2575">0</cx:pt>
          <cx:pt idx="2576">0</cx:pt>
          <cx:pt idx="2577">0</cx:pt>
          <cx:pt idx="2578">0</cx:pt>
          <cx:pt idx="2579">0</cx:pt>
          <cx:pt idx="2580">0</cx:pt>
          <cx:pt idx="2581">0</cx:pt>
          <cx:pt idx="2582">0</cx:pt>
          <cx:pt idx="2583">0</cx:pt>
          <cx:pt idx="2584">0</cx:pt>
          <cx:pt idx="2585">0</cx:pt>
          <cx:pt idx="2586">0</cx:pt>
          <cx:pt idx="2587">0</cx:pt>
          <cx:pt idx="2588">0</cx:pt>
          <cx:pt idx="2589">0</cx:pt>
          <cx:pt idx="2590">0</cx:pt>
          <cx:pt idx="2591">0</cx:pt>
          <cx:pt idx="2592">0</cx:pt>
          <cx:pt idx="2593">0</cx:pt>
          <cx:pt idx="2594">0</cx:pt>
          <cx:pt idx="2595">0</cx:pt>
          <cx:pt idx="2596">0</cx:pt>
          <cx:pt idx="2597">0</cx:pt>
          <cx:pt idx="2598">0</cx:pt>
          <cx:pt idx="2599">0</cx:pt>
          <cx:pt idx="2600">0</cx:pt>
          <cx:pt idx="2601">0</cx:pt>
          <cx:pt idx="2602">0</cx:pt>
          <cx:pt idx="2603">0</cx:pt>
          <cx:pt idx="2604">0</cx:pt>
          <cx:pt idx="2605">0</cx:pt>
          <cx:pt idx="2606">0</cx:pt>
          <cx:pt idx="2607">0</cx:pt>
          <cx:pt idx="2608">0</cx:pt>
          <cx:pt idx="2609">0</cx:pt>
          <cx:pt idx="2610">0</cx:pt>
          <cx:pt idx="2611">0</cx:pt>
          <cx:pt idx="2612">0</cx:pt>
          <cx:pt idx="2613">0</cx:pt>
          <cx:pt idx="2614">0</cx:pt>
          <cx:pt idx="2615">0</cx:pt>
          <cx:pt idx="2616">0</cx:pt>
          <cx:pt idx="2617">0</cx:pt>
          <cx:pt idx="2618">0</cx:pt>
          <cx:pt idx="2619">0</cx:pt>
          <cx:pt idx="2620">0</cx:pt>
          <cx:pt idx="2621">0</cx:pt>
          <cx:pt idx="2622">0</cx:pt>
          <cx:pt idx="2623">0</cx:pt>
          <cx:pt idx="2624">0</cx:pt>
          <cx:pt idx="2625">0</cx:pt>
          <cx:pt idx="2626">0</cx:pt>
          <cx:pt idx="2627">0</cx:pt>
          <cx:pt idx="2628">0</cx:pt>
          <cx:pt idx="2629">0</cx:pt>
          <cx:pt idx="2630">0</cx:pt>
          <cx:pt idx="2631">0</cx:pt>
          <cx:pt idx="2632">0</cx:pt>
          <cx:pt idx="2633">0</cx:pt>
          <cx:pt idx="2634">0</cx:pt>
          <cx:pt idx="2635">0</cx:pt>
          <cx:pt idx="2636">0</cx:pt>
          <cx:pt idx="2637">0</cx:pt>
          <cx:pt idx="2638">0</cx:pt>
          <cx:pt idx="2639">0</cx:pt>
          <cx:pt idx="2640">0</cx:pt>
          <cx:pt idx="2641">0</cx:pt>
          <cx:pt idx="2642">0</cx:pt>
          <cx:pt idx="2643">0</cx:pt>
          <cx:pt idx="2644">0</cx:pt>
          <cx:pt idx="2645">0</cx:pt>
          <cx:pt idx="2646">0</cx:pt>
          <cx:pt idx="2647">0</cx:pt>
          <cx:pt idx="2648">0</cx:pt>
          <cx:pt idx="2649">0</cx:pt>
          <cx:pt idx="2650">0</cx:pt>
          <cx:pt idx="2651">0</cx:pt>
          <cx:pt idx="2652">0</cx:pt>
          <cx:pt idx="2653">0</cx:pt>
          <cx:pt idx="2654">0</cx:pt>
          <cx:pt idx="2655">0</cx:pt>
          <cx:pt idx="2656">0</cx:pt>
          <cx:pt idx="2657">0</cx:pt>
          <cx:pt idx="2658">0</cx:pt>
          <cx:pt idx="2659">0</cx:pt>
          <cx:pt idx="2660">0</cx:pt>
          <cx:pt idx="2661">0</cx:pt>
          <cx:pt idx="2662">0</cx:pt>
          <cx:pt idx="2663">0</cx:pt>
          <cx:pt idx="2664">0</cx:pt>
          <cx:pt idx="2665">0</cx:pt>
          <cx:pt idx="2666">0</cx:pt>
          <cx:pt idx="2667">0</cx:pt>
          <cx:pt idx="2668">0</cx:pt>
          <cx:pt idx="2669">0</cx:pt>
          <cx:pt idx="2670">0</cx:pt>
          <cx:pt idx="2671">0</cx:pt>
          <cx:pt idx="2672">0</cx:pt>
          <cx:pt idx="2673">0</cx:pt>
          <cx:pt idx="2674">0</cx:pt>
          <cx:pt idx="2675">0</cx:pt>
          <cx:pt idx="2676">0</cx:pt>
          <cx:pt idx="2677">0</cx:pt>
          <cx:pt idx="2678">0</cx:pt>
          <cx:pt idx="2679">0</cx:pt>
          <cx:pt idx="2680">0</cx:pt>
          <cx:pt idx="2681">0</cx:pt>
          <cx:pt idx="2682">0</cx:pt>
          <cx:pt idx="2683">0</cx:pt>
          <cx:pt idx="2684">0</cx:pt>
          <cx:pt idx="2685">0</cx:pt>
          <cx:pt idx="2686">0</cx:pt>
          <cx:pt idx="2687">0</cx:pt>
          <cx:pt idx="2688">0</cx:pt>
          <cx:pt idx="2689">0</cx:pt>
          <cx:pt idx="2690">0</cx:pt>
          <cx:pt idx="2691">0</cx:pt>
          <cx:pt idx="2692">0</cx:pt>
          <cx:pt idx="2693">0</cx:pt>
          <cx:pt idx="2694">0</cx:pt>
          <cx:pt idx="2695">0</cx:pt>
          <cx:pt idx="2696">0</cx:pt>
          <cx:pt idx="2697">0</cx:pt>
          <cx:pt idx="2698">0</cx:pt>
          <cx:pt idx="2699">0</cx:pt>
          <cx:pt idx="2700">0</cx:pt>
          <cx:pt idx="2701">0</cx:pt>
          <cx:pt idx="2702">0</cx:pt>
          <cx:pt idx="2703">0</cx:pt>
          <cx:pt idx="2704">0</cx:pt>
          <cx:pt idx="2705">0</cx:pt>
          <cx:pt idx="2706">0</cx:pt>
          <cx:pt idx="2707">0</cx:pt>
          <cx:pt idx="2708">0</cx:pt>
          <cx:pt idx="2709">0</cx:pt>
          <cx:pt idx="2710">0</cx:pt>
          <cx:pt idx="2711">0</cx:pt>
          <cx:pt idx="2712">0</cx:pt>
          <cx:pt idx="2713">0</cx:pt>
          <cx:pt idx="2714">0</cx:pt>
          <cx:pt idx="2715">0</cx:pt>
          <cx:pt idx="2716">0</cx:pt>
          <cx:pt idx="2717">0</cx:pt>
          <cx:pt idx="2718">0</cx:pt>
          <cx:pt idx="2719">0</cx:pt>
          <cx:pt idx="2720">0</cx:pt>
          <cx:pt idx="2721">0</cx:pt>
          <cx:pt idx="2722">0</cx:pt>
          <cx:pt idx="2723">0</cx:pt>
          <cx:pt idx="2724">0</cx:pt>
          <cx:pt idx="2725">0</cx:pt>
          <cx:pt idx="2726">0</cx:pt>
          <cx:pt idx="2727">0</cx:pt>
          <cx:pt idx="2728">0</cx:pt>
          <cx:pt idx="2729">0</cx:pt>
          <cx:pt idx="2730">0</cx:pt>
          <cx:pt idx="2731">0</cx:pt>
          <cx:pt idx="2732">0</cx:pt>
          <cx:pt idx="2733">0</cx:pt>
          <cx:pt idx="2734">0</cx:pt>
          <cx:pt idx="2735">0</cx:pt>
          <cx:pt idx="2736">0</cx:pt>
          <cx:pt idx="2737">0</cx:pt>
          <cx:pt idx="2738">0</cx:pt>
          <cx:pt idx="2739">0</cx:pt>
          <cx:pt idx="2740">0</cx:pt>
          <cx:pt idx="2741">0</cx:pt>
          <cx:pt idx="2742">0</cx:pt>
          <cx:pt idx="2743">0</cx:pt>
          <cx:pt idx="2744">0</cx:pt>
          <cx:pt idx="2745">0</cx:pt>
          <cx:pt idx="2746">0</cx:pt>
          <cx:pt idx="2747">0</cx:pt>
          <cx:pt idx="2748">0</cx:pt>
          <cx:pt idx="2749">0</cx:pt>
          <cx:pt idx="2750">0</cx:pt>
          <cx:pt idx="2751">0</cx:pt>
          <cx:pt idx="2752">0</cx:pt>
          <cx:pt idx="2753">0</cx:pt>
          <cx:pt idx="2754">0</cx:pt>
          <cx:pt idx="2755">0</cx:pt>
          <cx:pt idx="2756">0</cx:pt>
          <cx:pt idx="2757">0</cx:pt>
          <cx:pt idx="2758">0</cx:pt>
          <cx:pt idx="2759">0</cx:pt>
          <cx:pt idx="2760">0</cx:pt>
          <cx:pt idx="2761">0</cx:pt>
          <cx:pt idx="2762">0</cx:pt>
          <cx:pt idx="2763">0</cx:pt>
          <cx:pt idx="2764">0</cx:pt>
          <cx:pt idx="2765">0</cx:pt>
          <cx:pt idx="2766">0</cx:pt>
          <cx:pt idx="2767">0</cx:pt>
          <cx:pt idx="2768">0</cx:pt>
          <cx:pt idx="2769">0</cx:pt>
          <cx:pt idx="2770">0</cx:pt>
          <cx:pt idx="2771">0</cx:pt>
          <cx:pt idx="2772">0</cx:pt>
          <cx:pt idx="2773">0</cx:pt>
          <cx:pt idx="2774">0</cx:pt>
          <cx:pt idx="2775">0</cx:pt>
          <cx:pt idx="2776">0</cx:pt>
          <cx:pt idx="2777">0</cx:pt>
          <cx:pt idx="2778">0</cx:pt>
          <cx:pt idx="2779">0</cx:pt>
          <cx:pt idx="2780">0</cx:pt>
          <cx:pt idx="2781">0</cx:pt>
          <cx:pt idx="2782">0</cx:pt>
          <cx:pt idx="2783">0</cx:pt>
          <cx:pt idx="2784">0</cx:pt>
          <cx:pt idx="2785">0</cx:pt>
          <cx:pt idx="2786">0</cx:pt>
          <cx:pt idx="2787">0</cx:pt>
          <cx:pt idx="2788">0</cx:pt>
          <cx:pt idx="2789">0</cx:pt>
          <cx:pt idx="2790">0</cx:pt>
          <cx:pt idx="2791">0</cx:pt>
          <cx:pt idx="2792">0</cx:pt>
          <cx:pt idx="2793">0</cx:pt>
          <cx:pt idx="2794">0</cx:pt>
          <cx:pt idx="2795">0</cx:pt>
          <cx:pt idx="2796">0</cx:pt>
          <cx:pt idx="2797">0</cx:pt>
          <cx:pt idx="2798">0</cx:pt>
          <cx:pt idx="2799">0</cx:pt>
          <cx:pt idx="2800">0</cx:pt>
          <cx:pt idx="2801">0</cx:pt>
          <cx:pt idx="2802">0</cx:pt>
          <cx:pt idx="2803">0</cx:pt>
          <cx:pt idx="2804">0</cx:pt>
          <cx:pt idx="2805">0</cx:pt>
          <cx:pt idx="2806">0</cx:pt>
          <cx:pt idx="2807">0</cx:pt>
          <cx:pt idx="2808">0</cx:pt>
          <cx:pt idx="2809">0</cx:pt>
          <cx:pt idx="2810">0</cx:pt>
          <cx:pt idx="2811">0</cx:pt>
          <cx:pt idx="2812">0</cx:pt>
          <cx:pt idx="2813">0</cx:pt>
          <cx:pt idx="2814">0</cx:pt>
          <cx:pt idx="2815">0</cx:pt>
          <cx:pt idx="2816">0</cx:pt>
          <cx:pt idx="2817">0</cx:pt>
          <cx:pt idx="2818">0</cx:pt>
          <cx:pt idx="2819">0</cx:pt>
          <cx:pt idx="2820">0</cx:pt>
          <cx:pt idx="2821">0</cx:pt>
          <cx:pt idx="2822">0</cx:pt>
          <cx:pt idx="2823">0</cx:pt>
          <cx:pt idx="2824">0</cx:pt>
          <cx:pt idx="2825">0</cx:pt>
          <cx:pt idx="2826">0</cx:pt>
          <cx:pt idx="2827">0</cx:pt>
          <cx:pt idx="2828">0</cx:pt>
          <cx:pt idx="2829">0</cx:pt>
          <cx:pt idx="2830">0</cx:pt>
          <cx:pt idx="2831">0</cx:pt>
          <cx:pt idx="2832">0</cx:pt>
          <cx:pt idx="2833">0</cx:pt>
          <cx:pt idx="2834">0</cx:pt>
          <cx:pt idx="2835">0</cx:pt>
          <cx:pt idx="2836">0</cx:pt>
          <cx:pt idx="2837">0</cx:pt>
          <cx:pt idx="2838">0</cx:pt>
          <cx:pt idx="2839">0</cx:pt>
          <cx:pt idx="2840">0</cx:pt>
          <cx:pt idx="2841">0</cx:pt>
          <cx:pt idx="2842">0</cx:pt>
          <cx:pt idx="2843">0</cx:pt>
          <cx:pt idx="2844">0</cx:pt>
          <cx:pt idx="2845">0</cx:pt>
          <cx:pt idx="2846">0</cx:pt>
          <cx:pt idx="2847">0</cx:pt>
          <cx:pt idx="2848">0</cx:pt>
          <cx:pt idx="2849">0</cx:pt>
          <cx:pt idx="2850">0</cx:pt>
          <cx:pt idx="2851">0</cx:pt>
          <cx:pt idx="2852">0</cx:pt>
          <cx:pt idx="2853">0</cx:pt>
          <cx:pt idx="2854">0</cx:pt>
          <cx:pt idx="2855">0</cx:pt>
          <cx:pt idx="2856">0</cx:pt>
          <cx:pt idx="2857">0</cx:pt>
          <cx:pt idx="2858">0</cx:pt>
          <cx:pt idx="2859">0</cx:pt>
          <cx:pt idx="2860">0</cx:pt>
          <cx:pt idx="2861">0</cx:pt>
          <cx:pt idx="2862">0</cx:pt>
          <cx:pt idx="2863">0</cx:pt>
          <cx:pt idx="2864">0</cx:pt>
          <cx:pt idx="2865">0</cx:pt>
          <cx:pt idx="2866">0</cx:pt>
          <cx:pt idx="2867">0</cx:pt>
          <cx:pt idx="2868">0</cx:pt>
          <cx:pt idx="2869">0</cx:pt>
          <cx:pt idx="2870">0</cx:pt>
          <cx:pt idx="2871">0</cx:pt>
          <cx:pt idx="2872">0</cx:pt>
          <cx:pt idx="2873">0</cx:pt>
          <cx:pt idx="2874">0</cx:pt>
          <cx:pt idx="2875">0</cx:pt>
          <cx:pt idx="2876">0</cx:pt>
          <cx:pt idx="2877">0</cx:pt>
          <cx:pt idx="2878">0</cx:pt>
          <cx:pt idx="2879">0</cx:pt>
          <cx:pt idx="2880">0</cx:pt>
          <cx:pt idx="2881">0</cx:pt>
          <cx:pt idx="2882">0</cx:pt>
          <cx:pt idx="2883">0</cx:pt>
          <cx:pt idx="2884">0</cx:pt>
          <cx:pt idx="2885">0</cx:pt>
          <cx:pt idx="2886">0</cx:pt>
          <cx:pt idx="2887">0</cx:pt>
          <cx:pt idx="2888">0</cx:pt>
          <cx:pt idx="2889">0</cx:pt>
          <cx:pt idx="2890">0</cx:pt>
          <cx:pt idx="2891">0</cx:pt>
          <cx:pt idx="2892">0</cx:pt>
          <cx:pt idx="2893">0</cx:pt>
          <cx:pt idx="2894">0</cx:pt>
          <cx:pt idx="2895">0</cx:pt>
          <cx:pt idx="2896">0</cx:pt>
          <cx:pt idx="2897">0</cx:pt>
          <cx:pt idx="2898">0</cx:pt>
          <cx:pt idx="2899">0</cx:pt>
          <cx:pt idx="2900">0</cx:pt>
          <cx:pt idx="2901">0</cx:pt>
          <cx:pt idx="2902">0</cx:pt>
          <cx:pt idx="2903">0</cx:pt>
          <cx:pt idx="2904">0</cx:pt>
          <cx:pt idx="2905">0</cx:pt>
          <cx:pt idx="2906">0</cx:pt>
          <cx:pt idx="2907">0</cx:pt>
          <cx:pt idx="2908">0</cx:pt>
          <cx:pt idx="2909">0</cx:pt>
          <cx:pt idx="2910">0</cx:pt>
          <cx:pt idx="2911">0</cx:pt>
          <cx:pt idx="2912">0</cx:pt>
          <cx:pt idx="2913">0</cx:pt>
          <cx:pt idx="2914">0</cx:pt>
          <cx:pt idx="2915">0</cx:pt>
          <cx:pt idx="2916">0</cx:pt>
          <cx:pt idx="2917">0</cx:pt>
          <cx:pt idx="2918">0</cx:pt>
          <cx:pt idx="2919">0</cx:pt>
          <cx:pt idx="2920">0</cx:pt>
          <cx:pt idx="2921">0</cx:pt>
          <cx:pt idx="2922">0</cx:pt>
          <cx:pt idx="2923">0</cx:pt>
          <cx:pt idx="2924">0</cx:pt>
          <cx:pt idx="2925">0</cx:pt>
          <cx:pt idx="2926">0</cx:pt>
          <cx:pt idx="2927">0</cx:pt>
          <cx:pt idx="2928">0</cx:pt>
          <cx:pt idx="2929">0</cx:pt>
          <cx:pt idx="2930">0</cx:pt>
          <cx:pt idx="2931">0</cx:pt>
          <cx:pt idx="2932">0</cx:pt>
          <cx:pt idx="2933">0</cx:pt>
          <cx:pt idx="2934">0</cx:pt>
          <cx:pt idx="2935">0</cx:pt>
          <cx:pt idx="2936">0</cx:pt>
          <cx:pt idx="2937">0</cx:pt>
          <cx:pt idx="2938">0</cx:pt>
          <cx:pt idx="2939">0</cx:pt>
          <cx:pt idx="2940">0</cx:pt>
          <cx:pt idx="2941">0</cx:pt>
          <cx:pt idx="2942">0</cx:pt>
          <cx:pt idx="2943">0</cx:pt>
          <cx:pt idx="2944">0</cx:pt>
          <cx:pt idx="2945">0</cx:pt>
          <cx:pt idx="2946">0</cx:pt>
          <cx:pt idx="2947">0</cx:pt>
          <cx:pt idx="2948">0</cx:pt>
          <cx:pt idx="2949">0</cx:pt>
          <cx:pt idx="2950">0</cx:pt>
          <cx:pt idx="2951">0</cx:pt>
          <cx:pt idx="2952">0</cx:pt>
          <cx:pt idx="2953">0</cx:pt>
          <cx:pt idx="2954">0</cx:pt>
          <cx:pt idx="2955">0</cx:pt>
          <cx:pt idx="2956">0</cx:pt>
          <cx:pt idx="2957">0</cx:pt>
          <cx:pt idx="2958">0</cx:pt>
          <cx:pt idx="2959">0</cx:pt>
          <cx:pt idx="2960">0</cx:pt>
          <cx:pt idx="2961">0</cx:pt>
          <cx:pt idx="2962">0</cx:pt>
          <cx:pt idx="2963">0</cx:pt>
          <cx:pt idx="2964">0</cx:pt>
          <cx:pt idx="2965">0</cx:pt>
          <cx:pt idx="2966">0</cx:pt>
          <cx:pt idx="2967">0</cx:pt>
          <cx:pt idx="2968">0</cx:pt>
          <cx:pt idx="2969">0</cx:pt>
          <cx:pt idx="2970">0</cx:pt>
          <cx:pt idx="2971">0</cx:pt>
          <cx:pt idx="2972">0</cx:pt>
          <cx:pt idx="2973">0</cx:pt>
          <cx:pt idx="2974">0</cx:pt>
          <cx:pt idx="2975">0</cx:pt>
          <cx:pt idx="2976">0</cx:pt>
          <cx:pt idx="2977">0</cx:pt>
          <cx:pt idx="2978">0</cx:pt>
          <cx:pt idx="2979">0</cx:pt>
          <cx:pt idx="2980">0</cx:pt>
          <cx:pt idx="2981">0</cx:pt>
          <cx:pt idx="2982">0</cx:pt>
          <cx:pt idx="2983">0</cx:pt>
          <cx:pt idx="2984">0</cx:pt>
          <cx:pt idx="2985">0</cx:pt>
          <cx:pt idx="2986">0</cx:pt>
          <cx:pt idx="2987">0</cx:pt>
          <cx:pt idx="2988">0</cx:pt>
          <cx:pt idx="2989">0</cx:pt>
          <cx:pt idx="2990">0</cx:pt>
          <cx:pt idx="2991">0</cx:pt>
          <cx:pt idx="2992">0</cx:pt>
          <cx:pt idx="2993">0</cx:pt>
          <cx:pt idx="2994">0</cx:pt>
          <cx:pt idx="2995">0</cx:pt>
          <cx:pt idx="2996">0</cx:pt>
          <cx:pt idx="2997">0</cx:pt>
          <cx:pt idx="2998">0</cx:pt>
          <cx:pt idx="2999">0</cx:pt>
          <cx:pt idx="3000">0</cx:pt>
          <cx:pt idx="3001">0</cx:pt>
          <cx:pt idx="3002">0</cx:pt>
          <cx:pt idx="3003">0</cx:pt>
          <cx:pt idx="3004">0</cx:pt>
          <cx:pt idx="3005">0</cx:pt>
          <cx:pt idx="3006">0</cx:pt>
          <cx:pt idx="3007">0</cx:pt>
          <cx:pt idx="3008">0</cx:pt>
          <cx:pt idx="3009">0</cx:pt>
          <cx:pt idx="3010">0</cx:pt>
          <cx:pt idx="3011">0</cx:pt>
          <cx:pt idx="3012">0</cx:pt>
          <cx:pt idx="3013">0</cx:pt>
          <cx:pt idx="3014">0</cx:pt>
          <cx:pt idx="3015">0</cx:pt>
          <cx:pt idx="3016">0</cx:pt>
          <cx:pt idx="3017">0</cx:pt>
          <cx:pt idx="3018">0</cx:pt>
          <cx:pt idx="3019">0</cx:pt>
          <cx:pt idx="3020">0</cx:pt>
          <cx:pt idx="3021">0</cx:pt>
          <cx:pt idx="3022">0</cx:pt>
          <cx:pt idx="3023">0</cx:pt>
          <cx:pt idx="3024">0</cx:pt>
          <cx:pt idx="3025">0</cx:pt>
          <cx:pt idx="3026">0</cx:pt>
          <cx:pt idx="3027">0</cx:pt>
          <cx:pt idx="3028">0</cx:pt>
          <cx:pt idx="3029">0</cx:pt>
          <cx:pt idx="3030">0</cx:pt>
          <cx:pt idx="3031">0</cx:pt>
          <cx:pt idx="3032">0</cx:pt>
          <cx:pt idx="3033">0</cx:pt>
          <cx:pt idx="3034">0</cx:pt>
          <cx:pt idx="3035">0</cx:pt>
          <cx:pt idx="3036">0</cx:pt>
          <cx:pt idx="3037">0</cx:pt>
          <cx:pt idx="3038">0</cx:pt>
          <cx:pt idx="3039">0</cx:pt>
          <cx:pt idx="3040">0</cx:pt>
          <cx:pt idx="3041">0</cx:pt>
          <cx:pt idx="3042">0</cx:pt>
          <cx:pt idx="3043">0</cx:pt>
          <cx:pt idx="3044">0</cx:pt>
          <cx:pt idx="3045">0</cx:pt>
          <cx:pt idx="3046">0</cx:pt>
          <cx:pt idx="3047">0</cx:pt>
          <cx:pt idx="3048">0</cx:pt>
          <cx:pt idx="3049">0</cx:pt>
          <cx:pt idx="3050">0</cx:pt>
          <cx:pt idx="3051">0</cx:pt>
          <cx:pt idx="3052">0</cx:pt>
          <cx:pt idx="3053">0</cx:pt>
          <cx:pt idx="3054">0</cx:pt>
          <cx:pt idx="3055">0</cx:pt>
          <cx:pt idx="3056">0</cx:pt>
          <cx:pt idx="3057">0</cx:pt>
          <cx:pt idx="3058">0</cx:pt>
          <cx:pt idx="3059">0</cx:pt>
          <cx:pt idx="3060">0</cx:pt>
          <cx:pt idx="3061">0</cx:pt>
          <cx:pt idx="3062">0</cx:pt>
          <cx:pt idx="3063">0</cx:pt>
          <cx:pt idx="3064">0</cx:pt>
          <cx:pt idx="3065">0</cx:pt>
          <cx:pt idx="3066">0</cx:pt>
          <cx:pt idx="3067">0</cx:pt>
          <cx:pt idx="3068">0</cx:pt>
          <cx:pt idx="3069">0</cx:pt>
          <cx:pt idx="3070">0</cx:pt>
          <cx:pt idx="3071">0</cx:pt>
          <cx:pt idx="3072">0</cx:pt>
          <cx:pt idx="3073">0</cx:pt>
          <cx:pt idx="3074">0</cx:pt>
          <cx:pt idx="3075">0</cx:pt>
          <cx:pt idx="3076">0</cx:pt>
          <cx:pt idx="3077">0</cx:pt>
          <cx:pt idx="3078">0</cx:pt>
          <cx:pt idx="3079">0</cx:pt>
          <cx:pt idx="3080">0</cx:pt>
          <cx:pt idx="3081">0</cx:pt>
          <cx:pt idx="3082">0</cx:pt>
          <cx:pt idx="3083">0</cx:pt>
          <cx:pt idx="3084">0</cx:pt>
          <cx:pt idx="3085">0</cx:pt>
          <cx:pt idx="3086">0</cx:pt>
          <cx:pt idx="3087">0</cx:pt>
          <cx:pt idx="3088">0</cx:pt>
          <cx:pt idx="3089">0</cx:pt>
          <cx:pt idx="3090">0</cx:pt>
          <cx:pt idx="3091">0</cx:pt>
          <cx:pt idx="3092">0</cx:pt>
          <cx:pt idx="3093">0</cx:pt>
          <cx:pt idx="3094">0</cx:pt>
          <cx:pt idx="3095">0</cx:pt>
          <cx:pt idx="3096">0</cx:pt>
          <cx:pt idx="3097">0</cx:pt>
          <cx:pt idx="3098">0</cx:pt>
          <cx:pt idx="3099">0</cx:pt>
          <cx:pt idx="3100">0</cx:pt>
          <cx:pt idx="3101">0</cx:pt>
          <cx:pt idx="3102">0</cx:pt>
          <cx:pt idx="3103">0</cx:pt>
          <cx:pt idx="3104">0</cx:pt>
          <cx:pt idx="3105">0</cx:pt>
          <cx:pt idx="3106">0</cx:pt>
          <cx:pt idx="3107">0</cx:pt>
          <cx:pt idx="3108">0</cx:pt>
          <cx:pt idx="3109">0</cx:pt>
          <cx:pt idx="3110">0</cx:pt>
          <cx:pt idx="3111">0</cx:pt>
          <cx:pt idx="3112">0</cx:pt>
          <cx:pt idx="3113">0</cx:pt>
          <cx:pt idx="3114">0</cx:pt>
          <cx:pt idx="3115">0</cx:pt>
          <cx:pt idx="3116">0</cx:pt>
          <cx:pt idx="3117">0</cx:pt>
          <cx:pt idx="3118">0</cx:pt>
          <cx:pt idx="3119">0</cx:pt>
          <cx:pt idx="3120">0</cx:pt>
          <cx:pt idx="3121">0</cx:pt>
          <cx:pt idx="3122">0</cx:pt>
          <cx:pt idx="3123">0</cx:pt>
          <cx:pt idx="3124">0</cx:pt>
          <cx:pt idx="3125">0</cx:pt>
          <cx:pt idx="3126">0</cx:pt>
          <cx:pt idx="3127">0</cx:pt>
          <cx:pt idx="3128">0</cx:pt>
          <cx:pt idx="3129">0</cx:pt>
          <cx:pt idx="3130">0</cx:pt>
          <cx:pt idx="3131">0</cx:pt>
          <cx:pt idx="3132">0</cx:pt>
          <cx:pt idx="3133">0</cx:pt>
          <cx:pt idx="3134">0</cx:pt>
          <cx:pt idx="3135">0</cx:pt>
          <cx:pt idx="3136">0</cx:pt>
          <cx:pt idx="3137">0</cx:pt>
          <cx:pt idx="3138">0</cx:pt>
          <cx:pt idx="3139">0</cx:pt>
          <cx:pt idx="3140">0</cx:pt>
          <cx:pt idx="3141">0</cx:pt>
          <cx:pt idx="3142">0</cx:pt>
          <cx:pt idx="3143">0</cx:pt>
          <cx:pt idx="3144">0</cx:pt>
          <cx:pt idx="3145">0</cx:pt>
          <cx:pt idx="3146">0</cx:pt>
          <cx:pt idx="3147">0</cx:pt>
          <cx:pt idx="3148">0</cx:pt>
          <cx:pt idx="3149">0</cx:pt>
          <cx:pt idx="3150">0</cx:pt>
          <cx:pt idx="3151">0</cx:pt>
          <cx:pt idx="3152">0</cx:pt>
          <cx:pt idx="3153">0</cx:pt>
          <cx:pt idx="3154">0</cx:pt>
          <cx:pt idx="3155">0</cx:pt>
          <cx:pt idx="3156">0</cx:pt>
          <cx:pt idx="3157">0</cx:pt>
          <cx:pt idx="3158">0</cx:pt>
          <cx:pt idx="3159">0</cx:pt>
          <cx:pt idx="3160">0</cx:pt>
          <cx:pt idx="3161">0</cx:pt>
          <cx:pt idx="3162">0</cx:pt>
          <cx:pt idx="3163">0</cx:pt>
          <cx:pt idx="3164">0</cx:pt>
          <cx:pt idx="3165">0</cx:pt>
          <cx:pt idx="3166">0</cx:pt>
          <cx:pt idx="3167">0</cx:pt>
          <cx:pt idx="3168">0</cx:pt>
          <cx:pt idx="3169">0</cx:pt>
          <cx:pt idx="3170">0</cx:pt>
          <cx:pt idx="3171">0</cx:pt>
          <cx:pt idx="3172">0</cx:pt>
          <cx:pt idx="3173">0</cx:pt>
          <cx:pt idx="3174">0</cx:pt>
          <cx:pt idx="3175">0</cx:pt>
          <cx:pt idx="3176">0</cx:pt>
          <cx:pt idx="3177">0</cx:pt>
          <cx:pt idx="3178">0</cx:pt>
          <cx:pt idx="3179">0</cx:pt>
          <cx:pt idx="3180">0</cx:pt>
          <cx:pt idx="3181">0</cx:pt>
          <cx:pt idx="3182">0</cx:pt>
          <cx:pt idx="3183">0</cx:pt>
          <cx:pt idx="3184">0</cx:pt>
          <cx:pt idx="3185">0</cx:pt>
          <cx:pt idx="3186">0</cx:pt>
          <cx:pt idx="3187">0</cx:pt>
          <cx:pt idx="3188">0</cx:pt>
          <cx:pt idx="3189">0</cx:pt>
          <cx:pt idx="3190">0</cx:pt>
          <cx:pt idx="3191">0</cx:pt>
          <cx:pt idx="3192">0</cx:pt>
          <cx:pt idx="3193">0</cx:pt>
          <cx:pt idx="3194">0</cx:pt>
          <cx:pt idx="3195">0</cx:pt>
          <cx:pt idx="3196">0</cx:pt>
          <cx:pt idx="3197">0</cx:pt>
          <cx:pt idx="3198">0</cx:pt>
          <cx:pt idx="3199">0</cx:pt>
          <cx:pt idx="3200">0</cx:pt>
          <cx:pt idx="3201">0</cx:pt>
          <cx:pt idx="3202">0</cx:pt>
          <cx:pt idx="3203">0</cx:pt>
          <cx:pt idx="3204">0</cx:pt>
          <cx:pt idx="3205">0</cx:pt>
          <cx:pt idx="3206">0</cx:pt>
          <cx:pt idx="3207">0</cx:pt>
          <cx:pt idx="3208">0</cx:pt>
          <cx:pt idx="3209">0</cx:pt>
          <cx:pt idx="3210">0</cx:pt>
          <cx:pt idx="3211">0</cx:pt>
          <cx:pt idx="3212">0</cx:pt>
          <cx:pt idx="3213">0</cx:pt>
          <cx:pt idx="3214">0</cx:pt>
          <cx:pt idx="3215">0</cx:pt>
          <cx:pt idx="3216">0</cx:pt>
          <cx:pt idx="3217">0</cx:pt>
          <cx:pt idx="3218">0</cx:pt>
          <cx:pt idx="3219">0</cx:pt>
          <cx:pt idx="3220">0</cx:pt>
          <cx:pt idx="3221">0</cx:pt>
          <cx:pt idx="3222">0</cx:pt>
          <cx:pt idx="3223">0</cx:pt>
          <cx:pt idx="3224">0</cx:pt>
          <cx:pt idx="3225">0</cx:pt>
          <cx:pt idx="3226">0</cx:pt>
          <cx:pt idx="3227">0</cx:pt>
          <cx:pt idx="3228">0</cx:pt>
          <cx:pt idx="3229">0</cx:pt>
          <cx:pt idx="3230">0</cx:pt>
          <cx:pt idx="3231">0</cx:pt>
          <cx:pt idx="3232">0</cx:pt>
          <cx:pt idx="3233">0</cx:pt>
          <cx:pt idx="3234">0</cx:pt>
          <cx:pt idx="3235">0</cx:pt>
          <cx:pt idx="3236">0</cx:pt>
          <cx:pt idx="3237">0</cx:pt>
          <cx:pt idx="3238">0</cx:pt>
          <cx:pt idx="3239">0</cx:pt>
          <cx:pt idx="3240">0</cx:pt>
          <cx:pt idx="3241">0</cx:pt>
          <cx:pt idx="3242">0</cx:pt>
          <cx:pt idx="3243">0</cx:pt>
          <cx:pt idx="3244">0</cx:pt>
          <cx:pt idx="3245">0</cx:pt>
          <cx:pt idx="3246">0</cx:pt>
          <cx:pt idx="3247">0</cx:pt>
          <cx:pt idx="3248">0</cx:pt>
          <cx:pt idx="3249">0</cx:pt>
          <cx:pt idx="3250">0</cx:pt>
          <cx:pt idx="3251">0</cx:pt>
          <cx:pt idx="3252">0</cx:pt>
          <cx:pt idx="3253">0</cx:pt>
          <cx:pt idx="3254">0</cx:pt>
          <cx:pt idx="3255">0</cx:pt>
          <cx:pt idx="3256">0</cx:pt>
          <cx:pt idx="3257">0</cx:pt>
          <cx:pt idx="3258">0</cx:pt>
          <cx:pt idx="3259">0</cx:pt>
          <cx:pt idx="3260">0</cx:pt>
          <cx:pt idx="3261">0</cx:pt>
          <cx:pt idx="3262">0</cx:pt>
          <cx:pt idx="3263">0</cx:pt>
          <cx:pt idx="3264">0</cx:pt>
          <cx:pt idx="3265">0</cx:pt>
          <cx:pt idx="3266">0</cx:pt>
          <cx:pt idx="3267">0</cx:pt>
          <cx:pt idx="3268">0</cx:pt>
          <cx:pt idx="3269">0</cx:pt>
          <cx:pt idx="3270">0</cx:pt>
          <cx:pt idx="3271">0</cx:pt>
          <cx:pt idx="3272">0</cx:pt>
          <cx:pt idx="3273">0</cx:pt>
          <cx:pt idx="3274">0</cx:pt>
          <cx:pt idx="3275">0</cx:pt>
          <cx:pt idx="3276">0</cx:pt>
          <cx:pt idx="3277">0</cx:pt>
          <cx:pt idx="3278">0</cx:pt>
          <cx:pt idx="3279">0</cx:pt>
          <cx:pt idx="3280">0</cx:pt>
          <cx:pt idx="3281">0</cx:pt>
          <cx:pt idx="3282">0</cx:pt>
          <cx:pt idx="3283">0</cx:pt>
          <cx:pt idx="3284">0</cx:pt>
          <cx:pt idx="3285">0</cx:pt>
          <cx:pt idx="3286">0</cx:pt>
          <cx:pt idx="3287">0</cx:pt>
          <cx:pt idx="3288">0</cx:pt>
          <cx:pt idx="3289">0</cx:pt>
          <cx:pt idx="3290">0</cx:pt>
          <cx:pt idx="3291">0</cx:pt>
          <cx:pt idx="3292">0</cx:pt>
          <cx:pt idx="3293">0</cx:pt>
          <cx:pt idx="3294">0</cx:pt>
          <cx:pt idx="3295">0</cx:pt>
          <cx:pt idx="3296">0</cx:pt>
          <cx:pt idx="3297">0</cx:pt>
          <cx:pt idx="3298">0</cx:pt>
          <cx:pt idx="3299">0</cx:pt>
          <cx:pt idx="3300">0</cx:pt>
          <cx:pt idx="3301">0</cx:pt>
          <cx:pt idx="3302">0</cx:pt>
          <cx:pt idx="3303">0</cx:pt>
          <cx:pt idx="3304">0</cx:pt>
          <cx:pt idx="3305">0</cx:pt>
          <cx:pt idx="3306">0</cx:pt>
          <cx:pt idx="3307">0</cx:pt>
          <cx:pt idx="3308">0</cx:pt>
          <cx:pt idx="3309">0</cx:pt>
          <cx:pt idx="3310">0</cx:pt>
          <cx:pt idx="3311">0</cx:pt>
          <cx:pt idx="3312">0</cx:pt>
          <cx:pt idx="3313">0</cx:pt>
          <cx:pt idx="3314">0</cx:pt>
          <cx:pt idx="3315">0</cx:pt>
          <cx:pt idx="3316">0</cx:pt>
          <cx:pt idx="3317">0</cx:pt>
          <cx:pt idx="3318">0</cx:pt>
          <cx:pt idx="3319">0</cx:pt>
          <cx:pt idx="3320">0</cx:pt>
          <cx:pt idx="3321">0</cx:pt>
          <cx:pt idx="3322">0</cx:pt>
          <cx:pt idx="3323">0</cx:pt>
          <cx:pt idx="3324">0</cx:pt>
          <cx:pt idx="3325">0</cx:pt>
          <cx:pt idx="3326">0</cx:pt>
          <cx:pt idx="3327">0</cx:pt>
          <cx:pt idx="3328">0</cx:pt>
          <cx:pt idx="3329">0</cx:pt>
          <cx:pt idx="3330">0</cx:pt>
          <cx:pt idx="3331">0</cx:pt>
          <cx:pt idx="3332">0</cx:pt>
          <cx:pt idx="3333">0</cx:pt>
          <cx:pt idx="3334">0</cx:pt>
          <cx:pt idx="3335">0</cx:pt>
          <cx:pt idx="3336">0</cx:pt>
          <cx:pt idx="3337">0</cx:pt>
          <cx:pt idx="3338">0</cx:pt>
          <cx:pt idx="3339">0</cx:pt>
          <cx:pt idx="3340">0</cx:pt>
          <cx:pt idx="3341">0</cx:pt>
          <cx:pt idx="3342">0</cx:pt>
          <cx:pt idx="3343">0</cx:pt>
          <cx:pt idx="3344">0</cx:pt>
          <cx:pt idx="3345">0</cx:pt>
          <cx:pt idx="3346">0</cx:pt>
          <cx:pt idx="3347">0</cx:pt>
          <cx:pt idx="3348">0</cx:pt>
          <cx:pt idx="3349">0</cx:pt>
          <cx:pt idx="3350">0</cx:pt>
          <cx:pt idx="3351">0</cx:pt>
          <cx:pt idx="3352">0</cx:pt>
          <cx:pt idx="3353">0</cx:pt>
          <cx:pt idx="3354">0</cx:pt>
          <cx:pt idx="3355">0</cx:pt>
          <cx:pt idx="3356">0</cx:pt>
          <cx:pt idx="3357">0</cx:pt>
          <cx:pt idx="3358">0</cx:pt>
          <cx:pt idx="3359">0</cx:pt>
          <cx:pt idx="3360">0</cx:pt>
          <cx:pt idx="3361">0</cx:pt>
          <cx:pt idx="3362">0</cx:pt>
          <cx:pt idx="3363">0</cx:pt>
          <cx:pt idx="3364">0</cx:pt>
          <cx:pt idx="3365">0</cx:pt>
          <cx:pt idx="3366">0</cx:pt>
          <cx:pt idx="3367">0</cx:pt>
          <cx:pt idx="3368">0</cx:pt>
          <cx:pt idx="3369">0</cx:pt>
          <cx:pt idx="3370">0</cx:pt>
          <cx:pt idx="3371">0</cx:pt>
          <cx:pt idx="3372">0</cx:pt>
          <cx:pt idx="3373">0</cx:pt>
          <cx:pt idx="3374">0</cx:pt>
          <cx:pt idx="3375">0</cx:pt>
          <cx:pt idx="3376">0</cx:pt>
          <cx:pt idx="3377">0</cx:pt>
          <cx:pt idx="3378">0</cx:pt>
          <cx:pt idx="3379">0</cx:pt>
          <cx:pt idx="3380">0</cx:pt>
          <cx:pt idx="3381">0</cx:pt>
          <cx:pt idx="3382">0</cx:pt>
          <cx:pt idx="3383">0</cx:pt>
          <cx:pt idx="3384">0</cx:pt>
          <cx:pt idx="3385">0</cx:pt>
          <cx:pt idx="3386">0</cx:pt>
          <cx:pt idx="3387">0</cx:pt>
          <cx:pt idx="3388">0</cx:pt>
          <cx:pt idx="3389">0</cx:pt>
          <cx:pt idx="3390">0</cx:pt>
          <cx:pt idx="3391">0</cx:pt>
          <cx:pt idx="3392">0</cx:pt>
          <cx:pt idx="3393">0</cx:pt>
          <cx:pt idx="3394">0</cx:pt>
          <cx:pt idx="3395">0</cx:pt>
          <cx:pt idx="3396">0</cx:pt>
          <cx:pt idx="3397">0</cx:pt>
          <cx:pt idx="3398">0</cx:pt>
          <cx:pt idx="3399">0</cx:pt>
          <cx:pt idx="3400">0</cx:pt>
          <cx:pt idx="3401">0</cx:pt>
          <cx:pt idx="3402">0</cx:pt>
          <cx:pt idx="3403">0</cx:pt>
          <cx:pt idx="3404">0</cx:pt>
          <cx:pt idx="3405">0</cx:pt>
          <cx:pt idx="3406">0</cx:pt>
          <cx:pt idx="3407">0</cx:pt>
          <cx:pt idx="3408">0</cx:pt>
          <cx:pt idx="3409">0</cx:pt>
          <cx:pt idx="3410">0</cx:pt>
          <cx:pt idx="3411">0</cx:pt>
          <cx:pt idx="3412">0</cx:pt>
          <cx:pt idx="3413">0</cx:pt>
          <cx:pt idx="3414">0</cx:pt>
          <cx:pt idx="3415">0</cx:pt>
          <cx:pt idx="3416">0</cx:pt>
          <cx:pt idx="3417">0</cx:pt>
          <cx:pt idx="3418">0</cx:pt>
          <cx:pt idx="3419">0</cx:pt>
          <cx:pt idx="3420">0</cx:pt>
          <cx:pt idx="3421">0</cx:pt>
          <cx:pt idx="3422">0</cx:pt>
          <cx:pt idx="3423">0</cx:pt>
          <cx:pt idx="3424">0</cx:pt>
          <cx:pt idx="3425">0</cx:pt>
          <cx:pt idx="3426">0</cx:pt>
          <cx:pt idx="3427">0</cx:pt>
          <cx:pt idx="3428">0</cx:pt>
          <cx:pt idx="3429">0</cx:pt>
          <cx:pt idx="3430">0</cx:pt>
          <cx:pt idx="3431">0</cx:pt>
          <cx:pt idx="3432">0</cx:pt>
          <cx:pt idx="3433">0</cx:pt>
          <cx:pt idx="3434">0</cx:pt>
          <cx:pt idx="3435">0</cx:pt>
          <cx:pt idx="3436">0</cx:pt>
          <cx:pt idx="3437">0</cx:pt>
          <cx:pt idx="3438">0</cx:pt>
          <cx:pt idx="3439">0</cx:pt>
          <cx:pt idx="3440">0</cx:pt>
          <cx:pt idx="3441">0</cx:pt>
          <cx:pt idx="3442">0</cx:pt>
          <cx:pt idx="3443">0</cx:pt>
          <cx:pt idx="3444">0</cx:pt>
          <cx:pt idx="3445">0</cx:pt>
          <cx:pt idx="3446">0</cx:pt>
          <cx:pt idx="3447">0</cx:pt>
          <cx:pt idx="3448">0</cx:pt>
          <cx:pt idx="3449">0</cx:pt>
          <cx:pt idx="3450">0</cx:pt>
          <cx:pt idx="3451">0</cx:pt>
          <cx:pt idx="3452">0</cx:pt>
          <cx:pt idx="3453">0</cx:pt>
          <cx:pt idx="3454">0</cx:pt>
          <cx:pt idx="3455">0</cx:pt>
          <cx:pt idx="3456">0</cx:pt>
          <cx:pt idx="3457">0</cx:pt>
          <cx:pt idx="3458">0</cx:pt>
          <cx:pt idx="3459">0</cx:pt>
          <cx:pt idx="3460">0</cx:pt>
          <cx:pt idx="3461">0</cx:pt>
          <cx:pt idx="3462">0</cx:pt>
          <cx:pt idx="3463">0</cx:pt>
          <cx:pt idx="3464">0</cx:pt>
          <cx:pt idx="3465">0</cx:pt>
          <cx:pt idx="3466">0</cx:pt>
          <cx:pt idx="3467">0</cx:pt>
          <cx:pt idx="3468">0</cx:pt>
          <cx:pt idx="3469">0</cx:pt>
          <cx:pt idx="3470">0</cx:pt>
          <cx:pt idx="3471">0</cx:pt>
          <cx:pt idx="3472">0</cx:pt>
          <cx:pt idx="3473">0</cx:pt>
          <cx:pt idx="3474">0</cx:pt>
          <cx:pt idx="3475">0</cx:pt>
          <cx:pt idx="3476">0</cx:pt>
          <cx:pt idx="3477">0</cx:pt>
          <cx:pt idx="3478">0</cx:pt>
          <cx:pt idx="3479">0</cx:pt>
          <cx:pt idx="3480">0</cx:pt>
          <cx:pt idx="3481">0</cx:pt>
          <cx:pt idx="3482">0</cx:pt>
          <cx:pt idx="3483">0</cx:pt>
          <cx:pt idx="3484">0</cx:pt>
          <cx:pt idx="3485">0</cx:pt>
          <cx:pt idx="3486">0</cx:pt>
          <cx:pt idx="3487">0</cx:pt>
          <cx:pt idx="3488">0</cx:pt>
          <cx:pt idx="3489">0</cx:pt>
          <cx:pt idx="3490">0</cx:pt>
          <cx:pt idx="3491">0</cx:pt>
          <cx:pt idx="3492">0</cx:pt>
          <cx:pt idx="3493">0</cx:pt>
          <cx:pt idx="3494">0</cx:pt>
          <cx:pt idx="3495">0</cx:pt>
          <cx:pt idx="3496">0</cx:pt>
          <cx:pt idx="3497">0</cx:pt>
          <cx:pt idx="3498">0</cx:pt>
          <cx:pt idx="3499">0</cx:pt>
          <cx:pt idx="3500">0</cx:pt>
          <cx:pt idx="3501">0</cx:pt>
          <cx:pt idx="3502">0</cx:pt>
          <cx:pt idx="3503">0</cx:pt>
          <cx:pt idx="3504">0</cx:pt>
          <cx:pt idx="3505">0</cx:pt>
          <cx:pt idx="3506">0</cx:pt>
          <cx:pt idx="3507">0</cx:pt>
          <cx:pt idx="3508">0</cx:pt>
          <cx:pt idx="3509">0</cx:pt>
          <cx:pt idx="3510">0</cx:pt>
          <cx:pt idx="3511">0</cx:pt>
          <cx:pt idx="3512">0</cx:pt>
          <cx:pt idx="3513">0</cx:pt>
          <cx:pt idx="3514">0</cx:pt>
          <cx:pt idx="3515">0</cx:pt>
          <cx:pt idx="3516">0</cx:pt>
          <cx:pt idx="3517">0</cx:pt>
          <cx:pt idx="3518">0</cx:pt>
          <cx:pt idx="3519">0</cx:pt>
          <cx:pt idx="3520">0</cx:pt>
          <cx:pt idx="3521">0</cx:pt>
          <cx:pt idx="3522">0</cx:pt>
          <cx:pt idx="3523">0</cx:pt>
          <cx:pt idx="3524">0</cx:pt>
          <cx:pt idx="3525">0</cx:pt>
          <cx:pt idx="3526">0</cx:pt>
          <cx:pt idx="3527">0</cx:pt>
          <cx:pt idx="3528">0</cx:pt>
          <cx:pt idx="3529">0</cx:pt>
          <cx:pt idx="3530">0</cx:pt>
          <cx:pt idx="3531">0</cx:pt>
          <cx:pt idx="3532">0</cx:pt>
          <cx:pt idx="3533">0</cx:pt>
          <cx:pt idx="3534">0</cx:pt>
          <cx:pt idx="3535">0</cx:pt>
          <cx:pt idx="3536">0</cx:pt>
          <cx:pt idx="3537">0</cx:pt>
          <cx:pt idx="3538">0</cx:pt>
          <cx:pt idx="3539">0</cx:pt>
          <cx:pt idx="3540">0</cx:pt>
          <cx:pt idx="3541">0</cx:pt>
          <cx:pt idx="3542">0</cx:pt>
          <cx:pt idx="3543">0</cx:pt>
          <cx:pt idx="3544">0</cx:pt>
          <cx:pt idx="3545">0</cx:pt>
          <cx:pt idx="3546">0</cx:pt>
          <cx:pt idx="3547">0</cx:pt>
          <cx:pt idx="3548">0</cx:pt>
          <cx:pt idx="3549">0</cx:pt>
          <cx:pt idx="3550">0</cx:pt>
          <cx:pt idx="3551">0</cx:pt>
          <cx:pt idx="3552">0</cx:pt>
          <cx:pt idx="3553">0</cx:pt>
          <cx:pt idx="3554">0</cx:pt>
          <cx:pt idx="3555">0</cx:pt>
          <cx:pt idx="3556">0</cx:pt>
          <cx:pt idx="3557">0</cx:pt>
          <cx:pt idx="3558">0</cx:pt>
          <cx:pt idx="3559">0</cx:pt>
          <cx:pt idx="3560">0</cx:pt>
          <cx:pt idx="3561">0</cx:pt>
          <cx:pt idx="3562">0</cx:pt>
          <cx:pt idx="3563">0</cx:pt>
          <cx:pt idx="3564">0</cx:pt>
          <cx:pt idx="3565">0</cx:pt>
          <cx:pt idx="3566">0</cx:pt>
          <cx:pt idx="3567">0</cx:pt>
          <cx:pt idx="3568">0</cx:pt>
          <cx:pt idx="3569">0</cx:pt>
          <cx:pt idx="3570">0</cx:pt>
          <cx:pt idx="3571">0</cx:pt>
          <cx:pt idx="3572">0</cx:pt>
          <cx:pt idx="3573">0</cx:pt>
          <cx:pt idx="3574">0</cx:pt>
          <cx:pt idx="3575">0</cx:pt>
          <cx:pt idx="3576">0</cx:pt>
          <cx:pt idx="3577">0</cx:pt>
          <cx:pt idx="3578">0</cx:pt>
          <cx:pt idx="3579">0</cx:pt>
          <cx:pt idx="3580">0</cx:pt>
          <cx:pt idx="3581">0</cx:pt>
          <cx:pt idx="3582">0</cx:pt>
          <cx:pt idx="3583">0</cx:pt>
          <cx:pt idx="3584">0</cx:pt>
          <cx:pt idx="3585">0</cx:pt>
          <cx:pt idx="3586">0</cx:pt>
          <cx:pt idx="3587">0</cx:pt>
          <cx:pt idx="3588">0</cx:pt>
          <cx:pt idx="3589">0</cx:pt>
          <cx:pt idx="3590">0</cx:pt>
          <cx:pt idx="3591">0</cx:pt>
          <cx:pt idx="3592">0</cx:pt>
          <cx:pt idx="3593">0</cx:pt>
          <cx:pt idx="3594">0</cx:pt>
          <cx:pt idx="3595">0</cx:pt>
          <cx:pt idx="3596">0</cx:pt>
          <cx:pt idx="3597">0</cx:pt>
          <cx:pt idx="3598">0</cx:pt>
          <cx:pt idx="3599">0</cx:pt>
          <cx:pt idx="3600">0</cx:pt>
          <cx:pt idx="3601">0</cx:pt>
          <cx:pt idx="3602">0</cx:pt>
          <cx:pt idx="3603">0</cx:pt>
          <cx:pt idx="3604">0</cx:pt>
          <cx:pt idx="3605">0</cx:pt>
          <cx:pt idx="3606">0</cx:pt>
          <cx:pt idx="3607">0</cx:pt>
          <cx:pt idx="3608">0</cx:pt>
          <cx:pt idx="3609">0</cx:pt>
          <cx:pt idx="3610">0</cx:pt>
          <cx:pt idx="3611">0</cx:pt>
          <cx:pt idx="3612">0</cx:pt>
          <cx:pt idx="3613">0</cx:pt>
          <cx:pt idx="3614">0</cx:pt>
          <cx:pt idx="3615">0</cx:pt>
          <cx:pt idx="3616">0</cx:pt>
          <cx:pt idx="3617">0</cx:pt>
          <cx:pt idx="3618">0</cx:pt>
          <cx:pt idx="3619">0</cx:pt>
          <cx:pt idx="3620">0</cx:pt>
          <cx:pt idx="3621">0</cx:pt>
          <cx:pt idx="3622">0</cx:pt>
          <cx:pt idx="3623">0</cx:pt>
          <cx:pt idx="3624">0</cx:pt>
          <cx:pt idx="3625">0</cx:pt>
          <cx:pt idx="3626">0</cx:pt>
          <cx:pt idx="3627">0</cx:pt>
          <cx:pt idx="3628">0</cx:pt>
          <cx:pt idx="3629">0</cx:pt>
          <cx:pt idx="3630">0</cx:pt>
          <cx:pt idx="3631">0</cx:pt>
          <cx:pt idx="3632">0</cx:pt>
          <cx:pt idx="3633">0</cx:pt>
          <cx:pt idx="3634">0</cx:pt>
          <cx:pt idx="3635">0</cx:pt>
          <cx:pt idx="3636">0</cx:pt>
          <cx:pt idx="3637">0</cx:pt>
          <cx:pt idx="3638">0</cx:pt>
          <cx:pt idx="3639">0</cx:pt>
          <cx:pt idx="3640">0</cx:pt>
          <cx:pt idx="3641">0</cx:pt>
          <cx:pt idx="3642">0</cx:pt>
          <cx:pt idx="3643">0</cx:pt>
          <cx:pt idx="3644">0</cx:pt>
          <cx:pt idx="3645">0</cx:pt>
          <cx:pt idx="3646">0</cx:pt>
          <cx:pt idx="3647">0</cx:pt>
          <cx:pt idx="3648">0</cx:pt>
          <cx:pt idx="3649">0</cx:pt>
          <cx:pt idx="3650">0</cx:pt>
          <cx:pt idx="3651">0</cx:pt>
          <cx:pt idx="3652">0</cx:pt>
          <cx:pt idx="3653">0</cx:pt>
          <cx:pt idx="3654">0</cx:pt>
          <cx:pt idx="3655">0</cx:pt>
          <cx:pt idx="3656">0</cx:pt>
          <cx:pt idx="3657">0</cx:pt>
          <cx:pt idx="3658">0</cx:pt>
          <cx:pt idx="3659">0</cx:pt>
          <cx:pt idx="3660">0</cx:pt>
          <cx:pt idx="3661">0</cx:pt>
          <cx:pt idx="3662">0</cx:pt>
          <cx:pt idx="3663">0</cx:pt>
          <cx:pt idx="3664">0</cx:pt>
          <cx:pt idx="3665">0</cx:pt>
          <cx:pt idx="3666">0</cx:pt>
          <cx:pt idx="3667">0</cx:pt>
          <cx:pt idx="3668">0</cx:pt>
          <cx:pt idx="3669">0</cx:pt>
          <cx:pt idx="3670">0</cx:pt>
          <cx:pt idx="3671">0</cx:pt>
          <cx:pt idx="3672">0</cx:pt>
          <cx:pt idx="3673">0</cx:pt>
          <cx:pt idx="3674">0</cx:pt>
          <cx:pt idx="3675">0</cx:pt>
          <cx:pt idx="3676">0</cx:pt>
          <cx:pt idx="3677">0</cx:pt>
          <cx:pt idx="3678">0</cx:pt>
          <cx:pt idx="3679">0</cx:pt>
          <cx:pt idx="3680">0</cx:pt>
          <cx:pt idx="3681">0</cx:pt>
          <cx:pt idx="3682">0</cx:pt>
          <cx:pt idx="3683">0</cx:pt>
          <cx:pt idx="3684">0</cx:pt>
          <cx:pt idx="3685">0</cx:pt>
          <cx:pt idx="3686">0</cx:pt>
          <cx:pt idx="3687">0</cx:pt>
          <cx:pt idx="3688">0</cx:pt>
          <cx:pt idx="3689">0</cx:pt>
          <cx:pt idx="3690">0</cx:pt>
          <cx:pt idx="3691">0</cx:pt>
          <cx:pt idx="3692">0</cx:pt>
          <cx:pt idx="3693">0</cx:pt>
          <cx:pt idx="3694">0</cx:pt>
          <cx:pt idx="3695">0</cx:pt>
          <cx:pt idx="3696">0</cx:pt>
          <cx:pt idx="3697">0</cx:pt>
          <cx:pt idx="3698">0</cx:pt>
          <cx:pt idx="3699">0</cx:pt>
          <cx:pt idx="3700">0</cx:pt>
          <cx:pt idx="3701">0</cx:pt>
          <cx:pt idx="3702">0</cx:pt>
          <cx:pt idx="3703">0</cx:pt>
          <cx:pt idx="3704">0</cx:pt>
          <cx:pt idx="3705">0</cx:pt>
          <cx:pt idx="3706">0</cx:pt>
          <cx:pt idx="3707">0</cx:pt>
          <cx:pt idx="3708">0</cx:pt>
          <cx:pt idx="3709">0</cx:pt>
          <cx:pt idx="3710">0</cx:pt>
          <cx:pt idx="3711">0</cx:pt>
          <cx:pt idx="3712">0</cx:pt>
          <cx:pt idx="3713">0</cx:pt>
          <cx:pt idx="3714">0</cx:pt>
          <cx:pt idx="3715">0</cx:pt>
          <cx:pt idx="3716">0</cx:pt>
          <cx:pt idx="3717">0</cx:pt>
          <cx:pt idx="3718">0</cx:pt>
          <cx:pt idx="3719">0</cx:pt>
          <cx:pt idx="3720">0</cx:pt>
          <cx:pt idx="3721">0</cx:pt>
          <cx:pt idx="3722">0</cx:pt>
          <cx:pt idx="3723">0</cx:pt>
          <cx:pt idx="3724">0</cx:pt>
          <cx:pt idx="3725">0</cx:pt>
          <cx:pt idx="3726">0</cx:pt>
          <cx:pt idx="3727">0</cx:pt>
          <cx:pt idx="3728">0</cx:pt>
          <cx:pt idx="3729">0</cx:pt>
          <cx:pt idx="3730">0</cx:pt>
          <cx:pt idx="3731">0</cx:pt>
          <cx:pt idx="3732">0</cx:pt>
          <cx:pt idx="3733">0</cx:pt>
          <cx:pt idx="3734">0</cx:pt>
          <cx:pt idx="3735">0</cx:pt>
          <cx:pt idx="3736">0</cx:pt>
          <cx:pt idx="3737">0</cx:pt>
          <cx:pt idx="3738">0</cx:pt>
          <cx:pt idx="3739">0</cx:pt>
          <cx:pt idx="3740">0</cx:pt>
          <cx:pt idx="3741">0</cx:pt>
          <cx:pt idx="3742">0</cx:pt>
          <cx:pt idx="3743">0</cx:pt>
          <cx:pt idx="3744">0</cx:pt>
          <cx:pt idx="3745">0</cx:pt>
          <cx:pt idx="3746">0</cx:pt>
          <cx:pt idx="3747">0</cx:pt>
          <cx:pt idx="3748">0</cx:pt>
          <cx:pt idx="3749">0</cx:pt>
          <cx:pt idx="3750">0</cx:pt>
          <cx:pt idx="3751">0</cx:pt>
          <cx:pt idx="3752">0</cx:pt>
          <cx:pt idx="3753">0</cx:pt>
          <cx:pt idx="3754">0</cx:pt>
          <cx:pt idx="3755">0</cx:pt>
          <cx:pt idx="3756">0</cx:pt>
          <cx:pt idx="3757">0</cx:pt>
          <cx:pt idx="3758">0</cx:pt>
          <cx:pt idx="3759">0</cx:pt>
          <cx:pt idx="3760">0</cx:pt>
          <cx:pt idx="3761">0</cx:pt>
          <cx:pt idx="3762">0</cx:pt>
          <cx:pt idx="3763">0</cx:pt>
          <cx:pt idx="3764">0</cx:pt>
          <cx:pt idx="3765">0</cx:pt>
          <cx:pt idx="3766">0</cx:pt>
          <cx:pt idx="3767">0</cx:pt>
          <cx:pt idx="3768">0</cx:pt>
          <cx:pt idx="3769">0</cx:pt>
          <cx:pt idx="3770">0</cx:pt>
          <cx:pt idx="3771">0</cx:pt>
          <cx:pt idx="3772">0</cx:pt>
          <cx:pt idx="3773">0</cx:pt>
          <cx:pt idx="3774">0</cx:pt>
          <cx:pt idx="3775">0</cx:pt>
          <cx:pt idx="3776">0</cx:pt>
          <cx:pt idx="3777">0</cx:pt>
          <cx:pt idx="3778">0</cx:pt>
          <cx:pt idx="3779">0</cx:pt>
          <cx:pt idx="3780">0</cx:pt>
          <cx:pt idx="3781">0</cx:pt>
          <cx:pt idx="3782">0</cx:pt>
          <cx:pt idx="3783">0</cx:pt>
          <cx:pt idx="3784">0</cx:pt>
          <cx:pt idx="3785">0</cx:pt>
          <cx:pt idx="3786">0</cx:pt>
          <cx:pt idx="3787">0</cx:pt>
          <cx:pt idx="3788">0</cx:pt>
          <cx:pt idx="3789">0</cx:pt>
          <cx:pt idx="3790">0</cx:pt>
          <cx:pt idx="3791">0</cx:pt>
          <cx:pt idx="3792">0</cx:pt>
          <cx:pt idx="3793">0</cx:pt>
          <cx:pt idx="3794">0</cx:pt>
          <cx:pt idx="3795">0</cx:pt>
          <cx:pt idx="3796">0</cx:pt>
          <cx:pt idx="3797">0</cx:pt>
          <cx:pt idx="3798">0</cx:pt>
          <cx:pt idx="3799">0</cx:pt>
          <cx:pt idx="3800">0</cx:pt>
          <cx:pt idx="3801">0</cx:pt>
          <cx:pt idx="3802">0</cx:pt>
          <cx:pt idx="3803">0</cx:pt>
          <cx:pt idx="3804">0</cx:pt>
          <cx:pt idx="3805">0</cx:pt>
          <cx:pt idx="3806">0</cx:pt>
          <cx:pt idx="3807">0</cx:pt>
          <cx:pt idx="3808">0</cx:pt>
          <cx:pt idx="3809">0</cx:pt>
          <cx:pt idx="3810">0</cx:pt>
          <cx:pt idx="3811">0</cx:pt>
          <cx:pt idx="3812">0</cx:pt>
          <cx:pt idx="3813">0</cx:pt>
          <cx:pt idx="3814">0</cx:pt>
          <cx:pt idx="3815">0</cx:pt>
          <cx:pt idx="3816">0</cx:pt>
          <cx:pt idx="3817">0</cx:pt>
          <cx:pt idx="3818">0</cx:pt>
          <cx:pt idx="3819">0</cx:pt>
          <cx:pt idx="3820">0</cx:pt>
          <cx:pt idx="3821">0</cx:pt>
          <cx:pt idx="3822">0</cx:pt>
          <cx:pt idx="3823">0</cx:pt>
          <cx:pt idx="3824">0</cx:pt>
          <cx:pt idx="3825">0</cx:pt>
          <cx:pt idx="3826">0</cx:pt>
          <cx:pt idx="3827">0</cx:pt>
          <cx:pt idx="3828">0</cx:pt>
          <cx:pt idx="3829">0</cx:pt>
          <cx:pt idx="3830">0</cx:pt>
          <cx:pt idx="3831">0</cx:pt>
          <cx:pt idx="3832">0</cx:pt>
          <cx:pt idx="3833">0</cx:pt>
          <cx:pt idx="3834">0</cx:pt>
          <cx:pt idx="3835">0</cx:pt>
          <cx:pt idx="3836">0</cx:pt>
          <cx:pt idx="3837">0</cx:pt>
          <cx:pt idx="3838">0</cx:pt>
          <cx:pt idx="3839">0</cx:pt>
          <cx:pt idx="3840">0</cx:pt>
          <cx:pt idx="3841">0</cx:pt>
          <cx:pt idx="3842">0</cx:pt>
          <cx:pt idx="3843">0</cx:pt>
          <cx:pt idx="3844">0</cx:pt>
          <cx:pt idx="3845">0</cx:pt>
          <cx:pt idx="3846">0</cx:pt>
          <cx:pt idx="3847">0</cx:pt>
          <cx:pt idx="3848">0</cx:pt>
          <cx:pt idx="3849">0</cx:pt>
          <cx:pt idx="3850">0</cx:pt>
          <cx:pt idx="3851">0</cx:pt>
          <cx:pt idx="3852">0</cx:pt>
          <cx:pt idx="3853">0</cx:pt>
          <cx:pt idx="3854">0</cx:pt>
          <cx:pt idx="3855">0</cx:pt>
          <cx:pt idx="3856">0</cx:pt>
          <cx:pt idx="3857">0</cx:pt>
          <cx:pt idx="3858">0</cx:pt>
          <cx:pt idx="3859">0</cx:pt>
          <cx:pt idx="3860">0</cx:pt>
          <cx:pt idx="3861">0</cx:pt>
          <cx:pt idx="3862">0</cx:pt>
          <cx:pt idx="3863">0</cx:pt>
          <cx:pt idx="3864">0</cx:pt>
          <cx:pt idx="3865">0</cx:pt>
          <cx:pt idx="3866">0</cx:pt>
          <cx:pt idx="3867">0</cx:pt>
          <cx:pt idx="3868">0</cx:pt>
          <cx:pt idx="3869">0</cx:pt>
          <cx:pt idx="3870">0</cx:pt>
          <cx:pt idx="3871">0</cx:pt>
          <cx:pt idx="3872">0</cx:pt>
          <cx:pt idx="3873">0</cx:pt>
          <cx:pt idx="3874">0</cx:pt>
          <cx:pt idx="3875">0</cx:pt>
          <cx:pt idx="3876">0</cx:pt>
          <cx:pt idx="3877">0</cx:pt>
          <cx:pt idx="3878">0</cx:pt>
          <cx:pt idx="3879">0</cx:pt>
          <cx:pt idx="3880">0</cx:pt>
          <cx:pt idx="3881">0</cx:pt>
          <cx:pt idx="3882">0</cx:pt>
          <cx:pt idx="3883">0</cx:pt>
          <cx:pt idx="3884">0</cx:pt>
          <cx:pt idx="3885">0</cx:pt>
          <cx:pt idx="3886">0</cx:pt>
          <cx:pt idx="3887">0</cx:pt>
          <cx:pt idx="3888">0</cx:pt>
          <cx:pt idx="3889">0</cx:pt>
          <cx:pt idx="3890">0</cx:pt>
          <cx:pt idx="3891">0</cx:pt>
          <cx:pt idx="3892">0</cx:pt>
          <cx:pt idx="3893">0</cx:pt>
          <cx:pt idx="3894">0</cx:pt>
          <cx:pt idx="3895">0</cx:pt>
          <cx:pt idx="3896">0</cx:pt>
          <cx:pt idx="3897">0</cx:pt>
          <cx:pt idx="3898">0</cx:pt>
          <cx:pt idx="3899">0</cx:pt>
          <cx:pt idx="3900">0</cx:pt>
          <cx:pt idx="3901">0</cx:pt>
          <cx:pt idx="3902">0</cx:pt>
          <cx:pt idx="3903">0</cx:pt>
          <cx:pt idx="3904">0</cx:pt>
          <cx:pt idx="3905">0</cx:pt>
          <cx:pt idx="3906">0</cx:pt>
          <cx:pt idx="3907">0</cx:pt>
          <cx:pt idx="3908">0</cx:pt>
          <cx:pt idx="3909">0</cx:pt>
          <cx:pt idx="3910">0</cx:pt>
          <cx:pt idx="3911">0</cx:pt>
          <cx:pt idx="3912">0</cx:pt>
          <cx:pt idx="3913">0</cx:pt>
          <cx:pt idx="3914">0</cx:pt>
          <cx:pt idx="3915">0</cx:pt>
          <cx:pt idx="3916">0</cx:pt>
          <cx:pt idx="3917">0</cx:pt>
          <cx:pt idx="3918">0</cx:pt>
          <cx:pt idx="3919">0</cx:pt>
          <cx:pt idx="3920">0</cx:pt>
          <cx:pt idx="3921">0</cx:pt>
          <cx:pt idx="3922">0</cx:pt>
          <cx:pt idx="3923">0</cx:pt>
          <cx:pt idx="3924">0</cx:pt>
          <cx:pt idx="3925">0</cx:pt>
          <cx:pt idx="3926">0</cx:pt>
          <cx:pt idx="3927">0</cx:pt>
          <cx:pt idx="3928">0</cx:pt>
          <cx:pt idx="3929">0</cx:pt>
          <cx:pt idx="3930">0</cx:pt>
          <cx:pt idx="3931">0</cx:pt>
          <cx:pt idx="3932">0</cx:pt>
          <cx:pt idx="3933">0</cx:pt>
          <cx:pt idx="3934">0</cx:pt>
          <cx:pt idx="3935">0</cx:pt>
          <cx:pt idx="3936">0</cx:pt>
          <cx:pt idx="3937">0</cx:pt>
          <cx:pt idx="3938">0</cx:pt>
          <cx:pt idx="3939">0</cx:pt>
          <cx:pt idx="3940">0</cx:pt>
          <cx:pt idx="3941">0</cx:pt>
          <cx:pt idx="3942">0</cx:pt>
          <cx:pt idx="3943">0</cx:pt>
          <cx:pt idx="3944">0</cx:pt>
          <cx:pt idx="3945">0</cx:pt>
          <cx:pt idx="3946">0</cx:pt>
          <cx:pt idx="3947">0</cx:pt>
          <cx:pt idx="3948">0</cx:pt>
          <cx:pt idx="3949">0</cx:pt>
          <cx:pt idx="3950">0</cx:pt>
          <cx:pt idx="3951">0</cx:pt>
          <cx:pt idx="3952">0</cx:pt>
          <cx:pt idx="3953">0</cx:pt>
          <cx:pt idx="3954">0</cx:pt>
          <cx:pt idx="3955">0</cx:pt>
          <cx:pt idx="3956">0</cx:pt>
          <cx:pt idx="3957">0</cx:pt>
          <cx:pt idx="3958">0</cx:pt>
          <cx:pt idx="3959">0</cx:pt>
          <cx:pt idx="3960">0</cx:pt>
          <cx:pt idx="3961">0</cx:pt>
          <cx:pt idx="3962">0</cx:pt>
          <cx:pt idx="3963">0</cx:pt>
          <cx:pt idx="3964">0</cx:pt>
          <cx:pt idx="3965">0</cx:pt>
          <cx:pt idx="3966">0</cx:pt>
          <cx:pt idx="3967">0</cx:pt>
          <cx:pt idx="3968">0</cx:pt>
          <cx:pt idx="3969">0</cx:pt>
          <cx:pt idx="3970">0</cx:pt>
          <cx:pt idx="3971">0</cx:pt>
          <cx:pt idx="3972">0</cx:pt>
          <cx:pt idx="3973">0</cx:pt>
          <cx:pt idx="3974">0</cx:pt>
          <cx:pt idx="3975">0</cx:pt>
          <cx:pt idx="3976">0</cx:pt>
          <cx:pt idx="3977">0</cx:pt>
          <cx:pt idx="3978">0</cx:pt>
          <cx:pt idx="3979">0</cx:pt>
          <cx:pt idx="3980">0</cx:pt>
          <cx:pt idx="3981">0</cx:pt>
          <cx:pt idx="3982">0</cx:pt>
          <cx:pt idx="3983">0</cx:pt>
          <cx:pt idx="3984">0</cx:pt>
          <cx:pt idx="3985">0</cx:pt>
          <cx:pt idx="3986">0</cx:pt>
          <cx:pt idx="3987">0</cx:pt>
          <cx:pt idx="3988">0</cx:pt>
          <cx:pt idx="3989">0</cx:pt>
          <cx:pt idx="3990">0</cx:pt>
          <cx:pt idx="3991">0</cx:pt>
          <cx:pt idx="3992">0</cx:pt>
          <cx:pt idx="3993">0</cx:pt>
          <cx:pt idx="3994">0</cx:pt>
          <cx:pt idx="3995">0</cx:pt>
          <cx:pt idx="3996">0</cx:pt>
          <cx:pt idx="3997">0</cx:pt>
          <cx:pt idx="3998">0</cx:pt>
          <cx:pt idx="3999">0</cx:pt>
          <cx:pt idx="4000">0</cx:pt>
          <cx:pt idx="4001">0</cx:pt>
          <cx:pt idx="4002">0</cx:pt>
          <cx:pt idx="4003">0</cx:pt>
          <cx:pt idx="4004">0</cx:pt>
          <cx:pt idx="4005">0</cx:pt>
          <cx:pt idx="4006">0</cx:pt>
          <cx:pt idx="4007">0</cx:pt>
          <cx:pt idx="4008">0</cx:pt>
          <cx:pt idx="4009">0</cx:pt>
          <cx:pt idx="4010">0</cx:pt>
          <cx:pt idx="4011">0</cx:pt>
          <cx:pt idx="4012">0</cx:pt>
          <cx:pt idx="4013">0</cx:pt>
          <cx:pt idx="4014">0</cx:pt>
          <cx:pt idx="4015">0</cx:pt>
          <cx:pt idx="4016">0</cx:pt>
          <cx:pt idx="4017">0</cx:pt>
          <cx:pt idx="4018">0</cx:pt>
          <cx:pt idx="4019">0</cx:pt>
          <cx:pt idx="4020">0</cx:pt>
          <cx:pt idx="4021">0</cx:pt>
          <cx:pt idx="4022">0</cx:pt>
          <cx:pt idx="4023">0</cx:pt>
          <cx:pt idx="4024">0</cx:pt>
          <cx:pt idx="4025">0</cx:pt>
          <cx:pt idx="4026">0</cx:pt>
          <cx:pt idx="4027">0</cx:pt>
          <cx:pt idx="4028">0</cx:pt>
          <cx:pt idx="4029">0</cx:pt>
          <cx:pt idx="4030">0</cx:pt>
          <cx:pt idx="4031">0</cx:pt>
          <cx:pt idx="4032">0</cx:pt>
          <cx:pt idx="4033">0</cx:pt>
          <cx:pt idx="4034">0</cx:pt>
          <cx:pt idx="4035">0</cx:pt>
          <cx:pt idx="4036">0</cx:pt>
          <cx:pt idx="4037">0</cx:pt>
          <cx:pt idx="4038">0</cx:pt>
          <cx:pt idx="4039">0</cx:pt>
          <cx:pt idx="4040">0</cx:pt>
          <cx:pt idx="4041">0</cx:pt>
          <cx:pt idx="4042">0</cx:pt>
          <cx:pt idx="4043">0</cx:pt>
          <cx:pt idx="4044">0</cx:pt>
          <cx:pt idx="4045">0</cx:pt>
          <cx:pt idx="4046">0</cx:pt>
          <cx:pt idx="4047">0</cx:pt>
          <cx:pt idx="4048">0</cx:pt>
          <cx:pt idx="4049">0</cx:pt>
          <cx:pt idx="4050">0</cx:pt>
          <cx:pt idx="4051">0</cx:pt>
          <cx:pt idx="4052">0</cx:pt>
          <cx:pt idx="4053">0</cx:pt>
          <cx:pt idx="4054">0</cx:pt>
          <cx:pt idx="4055">0</cx:pt>
          <cx:pt idx="4056">0</cx:pt>
          <cx:pt idx="4057">0</cx:pt>
          <cx:pt idx="4058">0</cx:pt>
          <cx:pt idx="4059">0</cx:pt>
          <cx:pt idx="4060">0</cx:pt>
          <cx:pt idx="4061">0</cx:pt>
          <cx:pt idx="4062">0</cx:pt>
          <cx:pt idx="4063">0</cx:pt>
          <cx:pt idx="4064">0</cx:pt>
          <cx:pt idx="4065">0</cx:pt>
          <cx:pt idx="4066">0</cx:pt>
          <cx:pt idx="4067">0</cx:pt>
          <cx:pt idx="4068">0</cx:pt>
          <cx:pt idx="4069">0</cx:pt>
          <cx:pt idx="4070">0</cx:pt>
          <cx:pt idx="4071">0</cx:pt>
          <cx:pt idx="4072">0</cx:pt>
          <cx:pt idx="4073">0</cx:pt>
          <cx:pt idx="4074">0</cx:pt>
          <cx:pt idx="4075">0</cx:pt>
          <cx:pt idx="4076">0</cx:pt>
          <cx:pt idx="4077">0</cx:pt>
          <cx:pt idx="4078">0</cx:pt>
          <cx:pt idx="4079">0</cx:pt>
          <cx:pt idx="4080">0</cx:pt>
          <cx:pt idx="4081">0</cx:pt>
          <cx:pt idx="4082">0</cx:pt>
          <cx:pt idx="4083">0</cx:pt>
          <cx:pt idx="4084">0</cx:pt>
          <cx:pt idx="4085">0</cx:pt>
          <cx:pt idx="4086">0</cx:pt>
          <cx:pt idx="4087">0</cx:pt>
          <cx:pt idx="4088">0</cx:pt>
          <cx:pt idx="4089">0</cx:pt>
          <cx:pt idx="4090">0</cx:pt>
          <cx:pt idx="4091">0</cx:pt>
          <cx:pt idx="4092">0</cx:pt>
          <cx:pt idx="4093">0</cx:pt>
          <cx:pt idx="4094">0</cx:pt>
          <cx:pt idx="4095">0</cx:pt>
          <cx:pt idx="4096">0</cx:pt>
          <cx:pt idx="4097">0</cx:pt>
          <cx:pt idx="4098">0</cx:pt>
          <cx:pt idx="4099">0</cx:pt>
          <cx:pt idx="4100">0</cx:pt>
          <cx:pt idx="4101">0</cx:pt>
          <cx:pt idx="4102">0</cx:pt>
          <cx:pt idx="4103">0</cx:pt>
          <cx:pt idx="4104">0</cx:pt>
          <cx:pt idx="4105">0</cx:pt>
          <cx:pt idx="4106">0</cx:pt>
          <cx:pt idx="4107">0</cx:pt>
          <cx:pt idx="4108">0</cx:pt>
          <cx:pt idx="4109">0</cx:pt>
          <cx:pt idx="4110">0</cx:pt>
          <cx:pt idx="4111">0</cx:pt>
          <cx:pt idx="4112">0</cx:pt>
          <cx:pt idx="4113">0</cx:pt>
          <cx:pt idx="4114">0</cx:pt>
          <cx:pt idx="4115">0</cx:pt>
          <cx:pt idx="4116">0</cx:pt>
          <cx:pt idx="4117">0</cx:pt>
          <cx:pt idx="4118">0</cx:pt>
          <cx:pt idx="4119">0</cx:pt>
          <cx:pt idx="4120">0</cx:pt>
          <cx:pt idx="4121">0</cx:pt>
          <cx:pt idx="4122">0</cx:pt>
          <cx:pt idx="4123">0</cx:pt>
          <cx:pt idx="4124">0</cx:pt>
          <cx:pt idx="4125">0</cx:pt>
          <cx:pt idx="4126">0</cx:pt>
          <cx:pt idx="4127">0</cx:pt>
          <cx:pt idx="4128">0</cx:pt>
          <cx:pt idx="4129">0</cx:pt>
          <cx:pt idx="4130">0</cx:pt>
          <cx:pt idx="4131">0</cx:pt>
          <cx:pt idx="4132">0</cx:pt>
          <cx:pt idx="4133">0</cx:pt>
          <cx:pt idx="4134">0</cx:pt>
          <cx:pt idx="4135">0</cx:pt>
          <cx:pt idx="4136">0</cx:pt>
          <cx:pt idx="4137">0</cx:pt>
          <cx:pt idx="4138">0</cx:pt>
          <cx:pt idx="4139">0</cx:pt>
          <cx:pt idx="4140">0</cx:pt>
          <cx:pt idx="4141">0</cx:pt>
          <cx:pt idx="4142">0</cx:pt>
          <cx:pt idx="4143">0</cx:pt>
          <cx:pt idx="4144">0</cx:pt>
          <cx:pt idx="4145">0</cx:pt>
          <cx:pt idx="4146">0</cx:pt>
          <cx:pt idx="4147">0</cx:pt>
          <cx:pt idx="4148">0</cx:pt>
          <cx:pt idx="4149">0</cx:pt>
          <cx:pt idx="4150">0</cx:pt>
          <cx:pt idx="4151">0</cx:pt>
          <cx:pt idx="4152">0</cx:pt>
          <cx:pt idx="4153">0</cx:pt>
          <cx:pt idx="4154">0</cx:pt>
          <cx:pt idx="4155">0</cx:pt>
          <cx:pt idx="4156">0</cx:pt>
          <cx:pt idx="4157">0</cx:pt>
          <cx:pt idx="4158">0</cx:pt>
          <cx:pt idx="4159">0</cx:pt>
          <cx:pt idx="4160">0</cx:pt>
          <cx:pt idx="4161">0</cx:pt>
          <cx:pt idx="4162">0</cx:pt>
          <cx:pt idx="4163">0</cx:pt>
          <cx:pt idx="4164">0</cx:pt>
          <cx:pt idx="4165">0</cx:pt>
          <cx:pt idx="4166">0</cx:pt>
          <cx:pt idx="4167">0</cx:pt>
          <cx:pt idx="4168">0</cx:pt>
          <cx:pt idx="4169">0</cx:pt>
          <cx:pt idx="4170">0</cx:pt>
          <cx:pt idx="4171">0</cx:pt>
          <cx:pt idx="4172">0</cx:pt>
          <cx:pt idx="4173">0</cx:pt>
          <cx:pt idx="4174">0</cx:pt>
          <cx:pt idx="4175">0</cx:pt>
          <cx:pt idx="4176">0</cx:pt>
          <cx:pt idx="4177">0</cx:pt>
          <cx:pt idx="4178">0</cx:pt>
          <cx:pt idx="4179">0</cx:pt>
          <cx:pt idx="4180">0</cx:pt>
          <cx:pt idx="4181">0</cx:pt>
          <cx:pt idx="4182">0</cx:pt>
          <cx:pt idx="4183">0</cx:pt>
          <cx:pt idx="4184">0</cx:pt>
          <cx:pt idx="4185">0</cx:pt>
          <cx:pt idx="4186">0</cx:pt>
          <cx:pt idx="4187">0</cx:pt>
          <cx:pt idx="4188">0</cx:pt>
          <cx:pt idx="4189">0</cx:pt>
          <cx:pt idx="4190">0</cx:pt>
          <cx:pt idx="4191">0</cx:pt>
          <cx:pt idx="4192">0</cx:pt>
          <cx:pt idx="4193">0</cx:pt>
          <cx:pt idx="4194">0</cx:pt>
          <cx:pt idx="4195">0</cx:pt>
          <cx:pt idx="4196">0</cx:pt>
          <cx:pt idx="4197">0</cx:pt>
          <cx:pt idx="4198">0</cx:pt>
          <cx:pt idx="4199">0</cx:pt>
          <cx:pt idx="4200">0</cx:pt>
          <cx:pt idx="4201">0</cx:pt>
          <cx:pt idx="4202">0</cx:pt>
          <cx:pt idx="4203">0</cx:pt>
          <cx:pt idx="4204">0</cx:pt>
          <cx:pt idx="4205">0</cx:pt>
          <cx:pt idx="4206">0</cx:pt>
          <cx:pt idx="4207">0</cx:pt>
          <cx:pt idx="4208">0</cx:pt>
          <cx:pt idx="4209">0</cx:pt>
          <cx:pt idx="4210">0</cx:pt>
          <cx:pt idx="4211">0</cx:pt>
          <cx:pt idx="4212">0</cx:pt>
          <cx:pt idx="4213">0</cx:pt>
          <cx:pt idx="4214">0</cx:pt>
          <cx:pt idx="4215">0</cx:pt>
          <cx:pt idx="4216">0</cx:pt>
          <cx:pt idx="4217">0</cx:pt>
          <cx:pt idx="4218">0</cx:pt>
          <cx:pt idx="4219">0</cx:pt>
          <cx:pt idx="4220">0</cx:pt>
          <cx:pt idx="4221">0</cx:pt>
          <cx:pt idx="4222">0</cx:pt>
          <cx:pt idx="4223">0</cx:pt>
          <cx:pt idx="4224">0</cx:pt>
          <cx:pt idx="4225">0</cx:pt>
          <cx:pt idx="4226">0</cx:pt>
          <cx:pt idx="4227">0</cx:pt>
          <cx:pt idx="4228">0</cx:pt>
          <cx:pt idx="4229">0</cx:pt>
          <cx:pt idx="4230">0</cx:pt>
          <cx:pt idx="4231">0</cx:pt>
          <cx:pt idx="4232">0</cx:pt>
          <cx:pt idx="4233">0</cx:pt>
          <cx:pt idx="4234">0</cx:pt>
          <cx:pt idx="4235">0</cx:pt>
          <cx:pt idx="4236">0</cx:pt>
          <cx:pt idx="4237">0</cx:pt>
          <cx:pt idx="4238">0</cx:pt>
          <cx:pt idx="4239">0</cx:pt>
          <cx:pt idx="4240">0</cx:pt>
          <cx:pt idx="4241">0</cx:pt>
          <cx:pt idx="4242">0</cx:pt>
          <cx:pt idx="4243">0</cx:pt>
          <cx:pt idx="4244">0</cx:pt>
          <cx:pt idx="4245">0</cx:pt>
          <cx:pt idx="4246">0</cx:pt>
          <cx:pt idx="4247">0</cx:pt>
          <cx:pt idx="4248">0</cx:pt>
          <cx:pt idx="4249">0</cx:pt>
          <cx:pt idx="4250">0</cx:pt>
          <cx:pt idx="4251">0</cx:pt>
          <cx:pt idx="4252">0</cx:pt>
          <cx:pt idx="4253">0</cx:pt>
          <cx:pt idx="4254">0</cx:pt>
          <cx:pt idx="4255">0</cx:pt>
          <cx:pt idx="4256">0</cx:pt>
          <cx:pt idx="4257">0</cx:pt>
          <cx:pt idx="4258">0</cx:pt>
          <cx:pt idx="4259">0</cx:pt>
          <cx:pt idx="4260">0</cx:pt>
          <cx:pt idx="4261">0</cx:pt>
          <cx:pt idx="4262">0</cx:pt>
          <cx:pt idx="4263">0</cx:pt>
          <cx:pt idx="4264">0</cx:pt>
          <cx:pt idx="4265">0</cx:pt>
          <cx:pt idx="4266">0</cx:pt>
          <cx:pt idx="4267">0</cx:pt>
          <cx:pt idx="4268">0</cx:pt>
          <cx:pt idx="4269">0</cx:pt>
          <cx:pt idx="4270">0</cx:pt>
          <cx:pt idx="4271">0</cx:pt>
          <cx:pt idx="4272">0</cx:pt>
          <cx:pt idx="4273">0</cx:pt>
          <cx:pt idx="4274">0</cx:pt>
          <cx:pt idx="4275">0</cx:pt>
          <cx:pt idx="4276">0</cx:pt>
          <cx:pt idx="4277">0</cx:pt>
          <cx:pt idx="4278">0</cx:pt>
          <cx:pt idx="4279">0</cx:pt>
          <cx:pt idx="4280">0</cx:pt>
          <cx:pt idx="4281">0</cx:pt>
          <cx:pt idx="4282">0</cx:pt>
          <cx:pt idx="4283">0</cx:pt>
          <cx:pt idx="4284">0</cx:pt>
          <cx:pt idx="4285">0</cx:pt>
          <cx:pt idx="4286">0</cx:pt>
          <cx:pt idx="4287">0</cx:pt>
          <cx:pt idx="4288">0</cx:pt>
          <cx:pt idx="4289">0</cx:pt>
          <cx:pt idx="4290">0</cx:pt>
          <cx:pt idx="4291">0</cx:pt>
          <cx:pt idx="4292">0</cx:pt>
          <cx:pt idx="4293">0</cx:pt>
          <cx:pt idx="4294">0</cx:pt>
          <cx:pt idx="4295">0</cx:pt>
          <cx:pt idx="4296">0</cx:pt>
          <cx:pt idx="4297">0</cx:pt>
          <cx:pt idx="4298">0</cx:pt>
          <cx:pt idx="4299">0</cx:pt>
          <cx:pt idx="4300">0</cx:pt>
          <cx:pt idx="4301">0</cx:pt>
          <cx:pt idx="4302">0</cx:pt>
          <cx:pt idx="4303">0</cx:pt>
          <cx:pt idx="4304">0</cx:pt>
          <cx:pt idx="4305">0</cx:pt>
          <cx:pt idx="4306">0</cx:pt>
          <cx:pt idx="4307">0</cx:pt>
          <cx:pt idx="4308">0</cx:pt>
          <cx:pt idx="4309">0</cx:pt>
          <cx:pt idx="4310">0</cx:pt>
          <cx:pt idx="4311">0</cx:pt>
          <cx:pt idx="4312">0</cx:pt>
          <cx:pt idx="4313">0</cx:pt>
          <cx:pt idx="4314">0</cx:pt>
          <cx:pt idx="4315">0</cx:pt>
          <cx:pt idx="4316">0</cx:pt>
          <cx:pt idx="4317">0</cx:pt>
          <cx:pt idx="4318">0</cx:pt>
          <cx:pt idx="4319">0</cx:pt>
          <cx:pt idx="4320">0</cx:pt>
          <cx:pt idx="4321">0</cx:pt>
          <cx:pt idx="4322">0</cx:pt>
          <cx:pt idx="4323">0</cx:pt>
          <cx:pt idx="4324">0</cx:pt>
          <cx:pt idx="4325">0</cx:pt>
          <cx:pt idx="4326">0</cx:pt>
          <cx:pt idx="4327">0</cx:pt>
          <cx:pt idx="4328">0</cx:pt>
          <cx:pt idx="4329">0</cx:pt>
          <cx:pt idx="4330">0</cx:pt>
          <cx:pt idx="4331">0</cx:pt>
          <cx:pt idx="4332">0</cx:pt>
          <cx:pt idx="4333">0</cx:pt>
          <cx:pt idx="4334">0</cx:pt>
          <cx:pt idx="4335">0</cx:pt>
          <cx:pt idx="4336">0</cx:pt>
          <cx:pt idx="4337">0</cx:pt>
          <cx:pt idx="4338">0</cx:pt>
          <cx:pt idx="4339">0</cx:pt>
          <cx:pt idx="4340">0</cx:pt>
          <cx:pt idx="4341">0</cx:pt>
          <cx:pt idx="4342">0</cx:pt>
          <cx:pt idx="4343">0</cx:pt>
          <cx:pt idx="4344">0</cx:pt>
          <cx:pt idx="4345">0</cx:pt>
          <cx:pt idx="4346">0</cx:pt>
          <cx:pt idx="4347">0</cx:pt>
          <cx:pt idx="4348">0</cx:pt>
          <cx:pt idx="4349">0</cx:pt>
          <cx:pt idx="4350">0</cx:pt>
          <cx:pt idx="4351">0</cx:pt>
          <cx:pt idx="4352">0</cx:pt>
          <cx:pt idx="4353">0</cx:pt>
          <cx:pt idx="4354">0</cx:pt>
          <cx:pt idx="4355">0</cx:pt>
          <cx:pt idx="4356">0</cx:pt>
          <cx:pt idx="4357">0</cx:pt>
          <cx:pt idx="4358">0</cx:pt>
          <cx:pt idx="4359">0</cx:pt>
          <cx:pt idx="4360">0</cx:pt>
          <cx:pt idx="4361">0</cx:pt>
          <cx:pt idx="4362">0</cx:pt>
          <cx:pt idx="4363">0</cx:pt>
          <cx:pt idx="4364">0</cx:pt>
          <cx:pt idx="4365">0</cx:pt>
          <cx:pt idx="4366">0</cx:pt>
          <cx:pt idx="4367">0</cx:pt>
          <cx:pt idx="4368">0</cx:pt>
          <cx:pt idx="4369">0</cx:pt>
          <cx:pt idx="4370">0</cx:pt>
          <cx:pt idx="4371">0</cx:pt>
          <cx:pt idx="4372">0</cx:pt>
          <cx:pt idx="4373">0</cx:pt>
          <cx:pt idx="4374">0</cx:pt>
          <cx:pt idx="4375">0</cx:pt>
          <cx:pt idx="4376">0</cx:pt>
          <cx:pt idx="4377">0</cx:pt>
          <cx:pt idx="4378">0</cx:pt>
          <cx:pt idx="4379">0</cx:pt>
          <cx:pt idx="4380">0</cx:pt>
          <cx:pt idx="4381">0</cx:pt>
          <cx:pt idx="4382">0</cx:pt>
          <cx:pt idx="4383">0</cx:pt>
          <cx:pt idx="4384">0</cx:pt>
          <cx:pt idx="4385">0</cx:pt>
          <cx:pt idx="4386">0</cx:pt>
          <cx:pt idx="4387">0</cx:pt>
          <cx:pt idx="4388">0</cx:pt>
          <cx:pt idx="4389">0</cx:pt>
          <cx:pt idx="4390">0</cx:pt>
          <cx:pt idx="4391">0</cx:pt>
          <cx:pt idx="4392">0</cx:pt>
          <cx:pt idx="4393">0</cx:pt>
          <cx:pt idx="4394">0</cx:pt>
          <cx:pt idx="4395">0</cx:pt>
          <cx:pt idx="4396">0</cx:pt>
          <cx:pt idx="4397">0</cx:pt>
          <cx:pt idx="4398">0</cx:pt>
          <cx:pt idx="4399">0</cx:pt>
          <cx:pt idx="4400">0</cx:pt>
          <cx:pt idx="4401">0</cx:pt>
          <cx:pt idx="4402">0</cx:pt>
          <cx:pt idx="4403">0</cx:pt>
          <cx:pt idx="4404">0</cx:pt>
          <cx:pt idx="4405">0</cx:pt>
          <cx:pt idx="4406">0</cx:pt>
          <cx:pt idx="4407">0</cx:pt>
          <cx:pt idx="4408">0</cx:pt>
          <cx:pt idx="4409">0</cx:pt>
          <cx:pt idx="4410">0</cx:pt>
          <cx:pt idx="4411">0</cx:pt>
          <cx:pt idx="4412">0</cx:pt>
          <cx:pt idx="4413">0</cx:pt>
          <cx:pt idx="4414">0</cx:pt>
          <cx:pt idx="4415">0</cx:pt>
          <cx:pt idx="4416">0</cx:pt>
          <cx:pt idx="4417">0</cx:pt>
          <cx:pt idx="4418">0</cx:pt>
          <cx:pt idx="4419">0</cx:pt>
          <cx:pt idx="4420">0</cx:pt>
          <cx:pt idx="4421">0</cx:pt>
          <cx:pt idx="4422">0</cx:pt>
          <cx:pt idx="4423">0</cx:pt>
          <cx:pt idx="4424">0</cx:pt>
          <cx:pt idx="4425">0</cx:pt>
          <cx:pt idx="4426">0</cx:pt>
          <cx:pt idx="4427">0</cx:pt>
          <cx:pt idx="4428">0</cx:pt>
          <cx:pt idx="4429">0</cx:pt>
          <cx:pt idx="4430">0</cx:pt>
          <cx:pt idx="4431">0</cx:pt>
          <cx:pt idx="4432">0</cx:pt>
          <cx:pt idx="4433">0</cx:pt>
          <cx:pt idx="4434">0</cx:pt>
          <cx:pt idx="4435">0</cx:pt>
          <cx:pt idx="4436">0</cx:pt>
          <cx:pt idx="4437">0</cx:pt>
          <cx:pt idx="4438">0</cx:pt>
          <cx:pt idx="4439">0</cx:pt>
          <cx:pt idx="4440">0</cx:pt>
          <cx:pt idx="4441">0</cx:pt>
          <cx:pt idx="4442">0</cx:pt>
          <cx:pt idx="4443">0</cx:pt>
          <cx:pt idx="4444">0</cx:pt>
          <cx:pt idx="4445">0</cx:pt>
          <cx:pt idx="4446">0</cx:pt>
          <cx:pt idx="4447">0</cx:pt>
          <cx:pt idx="4448">0</cx:pt>
          <cx:pt idx="4449">0</cx:pt>
          <cx:pt idx="4450">0</cx:pt>
          <cx:pt idx="4451">0</cx:pt>
          <cx:pt idx="4452">0</cx:pt>
          <cx:pt idx="4453">0</cx:pt>
          <cx:pt idx="4454">0</cx:pt>
          <cx:pt idx="4455">0</cx:pt>
          <cx:pt idx="4456">0</cx:pt>
          <cx:pt idx="4457">0</cx:pt>
          <cx:pt idx="4458">0</cx:pt>
          <cx:pt idx="4459">0</cx:pt>
          <cx:pt idx="4460">0</cx:pt>
          <cx:pt idx="4461">0</cx:pt>
          <cx:pt idx="4462">0</cx:pt>
          <cx:pt idx="4463">0</cx:pt>
          <cx:pt idx="4464">0</cx:pt>
          <cx:pt idx="4465">0</cx:pt>
          <cx:pt idx="4466">0</cx:pt>
          <cx:pt idx="4467">0</cx:pt>
          <cx:pt idx="4468">0</cx:pt>
          <cx:pt idx="4469">0</cx:pt>
          <cx:pt idx="4470">0</cx:pt>
          <cx:pt idx="4471">0</cx:pt>
          <cx:pt idx="4472">0</cx:pt>
          <cx:pt idx="4473">0</cx:pt>
          <cx:pt idx="4474">0</cx:pt>
          <cx:pt idx="4475">0</cx:pt>
          <cx:pt idx="4476">0</cx:pt>
          <cx:pt idx="4477">0</cx:pt>
          <cx:pt idx="4478">0</cx:pt>
          <cx:pt idx="4479">0</cx:pt>
          <cx:pt idx="4480">0</cx:pt>
          <cx:pt idx="4481">0</cx:pt>
          <cx:pt idx="4482">0</cx:pt>
          <cx:pt idx="4483">0</cx:pt>
          <cx:pt idx="4484">0</cx:pt>
          <cx:pt idx="4485">0</cx:pt>
          <cx:pt idx="4486">0</cx:pt>
          <cx:pt idx="4487">0</cx:pt>
          <cx:pt idx="4488">0</cx:pt>
          <cx:pt idx="4489">0</cx:pt>
          <cx:pt idx="4490">0</cx:pt>
          <cx:pt idx="4491">0</cx:pt>
          <cx:pt idx="4492">0</cx:pt>
          <cx:pt idx="4493">0</cx:pt>
          <cx:pt idx="4494">0</cx:pt>
          <cx:pt idx="4495">0</cx:pt>
          <cx:pt idx="4496">0</cx:pt>
          <cx:pt idx="4497">0</cx:pt>
          <cx:pt idx="4498">0</cx:pt>
          <cx:pt idx="4499">0</cx:pt>
          <cx:pt idx="4500">0</cx:pt>
          <cx:pt idx="4501">0</cx:pt>
          <cx:pt idx="4502">0</cx:pt>
          <cx:pt idx="4503">0</cx:pt>
          <cx:pt idx="4504">0</cx:pt>
          <cx:pt idx="4505">0</cx:pt>
          <cx:pt idx="4506">0</cx:pt>
          <cx:pt idx="4507">0</cx:pt>
          <cx:pt idx="4508">0</cx:pt>
          <cx:pt idx="4509">0</cx:pt>
          <cx:pt idx="4510">0</cx:pt>
          <cx:pt idx="4511">0</cx:pt>
          <cx:pt idx="4512">0</cx:pt>
          <cx:pt idx="4513">0</cx:pt>
          <cx:pt idx="4514">0</cx:pt>
          <cx:pt idx="4515">0</cx:pt>
          <cx:pt idx="4516">0</cx:pt>
          <cx:pt idx="4517">0</cx:pt>
          <cx:pt idx="4518">0</cx:pt>
          <cx:pt idx="4519">0</cx:pt>
          <cx:pt idx="4520">0</cx:pt>
          <cx:pt idx="4521">0</cx:pt>
          <cx:pt idx="4522">0</cx:pt>
          <cx:pt idx="4523">0</cx:pt>
          <cx:pt idx="4524">0</cx:pt>
          <cx:pt idx="4525">0</cx:pt>
          <cx:pt idx="4526">0</cx:pt>
          <cx:pt idx="4527">0</cx:pt>
          <cx:pt idx="4528">0</cx:pt>
          <cx:pt idx="4529">0</cx:pt>
          <cx:pt idx="4530">0</cx:pt>
          <cx:pt idx="4531">0</cx:pt>
          <cx:pt idx="4532">0</cx:pt>
          <cx:pt idx="4533">0</cx:pt>
          <cx:pt idx="4534">0</cx:pt>
          <cx:pt idx="4535">0</cx:pt>
          <cx:pt idx="4536">0</cx:pt>
          <cx:pt idx="4537">0</cx:pt>
          <cx:pt idx="4538">0</cx:pt>
          <cx:pt idx="4539">0</cx:pt>
          <cx:pt idx="4540">0</cx:pt>
          <cx:pt idx="4541">0</cx:pt>
          <cx:pt idx="4542">0</cx:pt>
          <cx:pt idx="4543">0</cx:pt>
          <cx:pt idx="4544">0</cx:pt>
          <cx:pt idx="4545">0</cx:pt>
          <cx:pt idx="4546">0</cx:pt>
          <cx:pt idx="4547">0</cx:pt>
          <cx:pt idx="4548">0</cx:pt>
          <cx:pt idx="4549">0</cx:pt>
          <cx:pt idx="4550">0</cx:pt>
          <cx:pt idx="4551">0</cx:pt>
          <cx:pt idx="4552">0</cx:pt>
          <cx:pt idx="4553">0</cx:pt>
          <cx:pt idx="4554">0</cx:pt>
          <cx:pt idx="4555">0</cx:pt>
          <cx:pt idx="4556">0</cx:pt>
          <cx:pt idx="4557">0</cx:pt>
          <cx:pt idx="4558">0</cx:pt>
          <cx:pt idx="4559">0</cx:pt>
          <cx:pt idx="4560">0</cx:pt>
          <cx:pt idx="4561">0</cx:pt>
          <cx:pt idx="4562">0</cx:pt>
          <cx:pt idx="4563">0</cx:pt>
          <cx:pt idx="4564">0</cx:pt>
          <cx:pt idx="4565">0</cx:pt>
          <cx:pt idx="4566">0</cx:pt>
          <cx:pt idx="4567">0</cx:pt>
          <cx:pt idx="4568">0</cx:pt>
          <cx:pt idx="4569">0</cx:pt>
          <cx:pt idx="4570">0</cx:pt>
          <cx:pt idx="4571">0</cx:pt>
          <cx:pt idx="4572">0</cx:pt>
          <cx:pt idx="4573">0</cx:pt>
          <cx:pt idx="4574">0</cx:pt>
          <cx:pt idx="4575">0</cx:pt>
          <cx:pt idx="4576">0</cx:pt>
          <cx:pt idx="4577">0</cx:pt>
          <cx:pt idx="4578">0</cx:pt>
          <cx:pt idx="4579">0</cx:pt>
          <cx:pt idx="4580">0</cx:pt>
          <cx:pt idx="4581">0</cx:pt>
          <cx:pt idx="4582">0</cx:pt>
          <cx:pt idx="4583">0</cx:pt>
          <cx:pt idx="4584">0</cx:pt>
          <cx:pt idx="4585">0</cx:pt>
          <cx:pt idx="4586">0</cx:pt>
          <cx:pt idx="4587">0</cx:pt>
          <cx:pt idx="4588">0</cx:pt>
          <cx:pt idx="4589">0</cx:pt>
          <cx:pt idx="4590">0</cx:pt>
          <cx:pt idx="4591">0</cx:pt>
          <cx:pt idx="4592">0</cx:pt>
          <cx:pt idx="4593">0</cx:pt>
          <cx:pt idx="4594">0</cx:pt>
          <cx:pt idx="4595">0</cx:pt>
          <cx:pt idx="4596">0</cx:pt>
          <cx:pt idx="4597">0</cx:pt>
          <cx:pt idx="4598">0</cx:pt>
          <cx:pt idx="4599">0</cx:pt>
          <cx:pt idx="4600">0</cx:pt>
          <cx:pt idx="4601">0</cx:pt>
          <cx:pt idx="4602">0</cx:pt>
          <cx:pt idx="4603">0</cx:pt>
          <cx:pt idx="4604">0</cx:pt>
          <cx:pt idx="4605">0</cx:pt>
          <cx:pt idx="4606">0</cx:pt>
          <cx:pt idx="4607">0</cx:pt>
          <cx:pt idx="4608">0</cx:pt>
          <cx:pt idx="4609">0</cx:pt>
          <cx:pt idx="4610">0</cx:pt>
          <cx:pt idx="4611">0</cx:pt>
          <cx:pt idx="4612">0</cx:pt>
          <cx:pt idx="4613">0</cx:pt>
          <cx:pt idx="4614">0</cx:pt>
          <cx:pt idx="4615">0</cx:pt>
          <cx:pt idx="4616">0</cx:pt>
          <cx:pt idx="4617">0</cx:pt>
          <cx:pt idx="4618">0</cx:pt>
          <cx:pt idx="4619">0</cx:pt>
          <cx:pt idx="4620">0</cx:pt>
          <cx:pt idx="4621">0</cx:pt>
          <cx:pt idx="4622">0</cx:pt>
          <cx:pt idx="4623">0</cx:pt>
          <cx:pt idx="4624">0</cx:pt>
          <cx:pt idx="4625">0</cx:pt>
          <cx:pt idx="4626">0</cx:pt>
          <cx:pt idx="4627">0</cx:pt>
          <cx:pt idx="4628">0</cx:pt>
          <cx:pt idx="4629">0</cx:pt>
          <cx:pt idx="4630">0</cx:pt>
          <cx:pt idx="4631">0</cx:pt>
          <cx:pt idx="4632">0</cx:pt>
          <cx:pt idx="4633">0</cx:pt>
          <cx:pt idx="4634">0</cx:pt>
          <cx:pt idx="4635">0</cx:pt>
          <cx:pt idx="4636">0</cx:pt>
          <cx:pt idx="4637">0</cx:pt>
          <cx:pt idx="4638">0</cx:pt>
          <cx:pt idx="4639">0</cx:pt>
          <cx:pt idx="4640">0</cx:pt>
          <cx:pt idx="4641">0</cx:pt>
          <cx:pt idx="4642">0</cx:pt>
          <cx:pt idx="4643">0</cx:pt>
          <cx:pt idx="4644">0</cx:pt>
          <cx:pt idx="4645">0</cx:pt>
          <cx:pt idx="4646">0</cx:pt>
          <cx:pt idx="4647">0</cx:pt>
          <cx:pt idx="4648">0</cx:pt>
          <cx:pt idx="4649">0</cx:pt>
          <cx:pt idx="4650">0</cx:pt>
          <cx:pt idx="4651">0</cx:pt>
          <cx:pt idx="4652">0</cx:pt>
          <cx:pt idx="4653">0</cx:pt>
          <cx:pt idx="4654">0</cx:pt>
          <cx:pt idx="4655">0</cx:pt>
          <cx:pt idx="4656">0</cx:pt>
          <cx:pt idx="4657">0</cx:pt>
          <cx:pt idx="4658">0</cx:pt>
          <cx:pt idx="4659">0</cx:pt>
          <cx:pt idx="4660">0</cx:pt>
          <cx:pt idx="4661">0</cx:pt>
          <cx:pt idx="4662">0</cx:pt>
          <cx:pt idx="4663">0</cx:pt>
          <cx:pt idx="4664">0</cx:pt>
          <cx:pt idx="4665">0</cx:pt>
          <cx:pt idx="4666">0</cx:pt>
          <cx:pt idx="4667">0</cx:pt>
          <cx:pt idx="4668">0</cx:pt>
          <cx:pt idx="4669">0</cx:pt>
          <cx:pt idx="4670">0</cx:pt>
          <cx:pt idx="4671">0</cx:pt>
          <cx:pt idx="4672">0</cx:pt>
          <cx:pt idx="4673">0</cx:pt>
          <cx:pt idx="4674">0</cx:pt>
          <cx:pt idx="4675">0</cx:pt>
          <cx:pt idx="4676">0</cx:pt>
          <cx:pt idx="4677">0</cx:pt>
          <cx:pt idx="4678">0</cx:pt>
          <cx:pt idx="4679">0</cx:pt>
          <cx:pt idx="4680">0</cx:pt>
          <cx:pt idx="4681">0</cx:pt>
          <cx:pt idx="4682">0</cx:pt>
          <cx:pt idx="4683">0</cx:pt>
          <cx:pt idx="4684">0</cx:pt>
          <cx:pt idx="4685">0</cx:pt>
          <cx:pt idx="4686">0</cx:pt>
          <cx:pt idx="4687">0</cx:pt>
          <cx:pt idx="4688">0</cx:pt>
          <cx:pt idx="4689">0</cx:pt>
          <cx:pt idx="4690">0</cx:pt>
          <cx:pt idx="4691">0</cx:pt>
          <cx:pt idx="4692">0</cx:pt>
          <cx:pt idx="4693">0</cx:pt>
          <cx:pt idx="4694">0</cx:pt>
          <cx:pt idx="4695">0</cx:pt>
          <cx:pt idx="4696">0</cx:pt>
          <cx:pt idx="4697">0</cx:pt>
          <cx:pt idx="4698">0</cx:pt>
          <cx:pt idx="4699">0</cx:pt>
          <cx:pt idx="4700">0</cx:pt>
          <cx:pt idx="4701">0</cx:pt>
          <cx:pt idx="4702">0</cx:pt>
          <cx:pt idx="4703">0</cx:pt>
          <cx:pt idx="4704">0</cx:pt>
          <cx:pt idx="4705">0</cx:pt>
          <cx:pt idx="4706">0</cx:pt>
          <cx:pt idx="4707">0</cx:pt>
          <cx:pt idx="4708">0</cx:pt>
          <cx:pt idx="4709">0</cx:pt>
          <cx:pt idx="4710">0</cx:pt>
          <cx:pt idx="4711">0</cx:pt>
          <cx:pt idx="4712">0</cx:pt>
          <cx:pt idx="4713">0</cx:pt>
          <cx:pt idx="4714">0</cx:pt>
          <cx:pt idx="4715">0</cx:pt>
          <cx:pt idx="4716">0</cx:pt>
          <cx:pt idx="4717">0</cx:pt>
          <cx:pt idx="4718">0</cx:pt>
          <cx:pt idx="4719">0</cx:pt>
          <cx:pt idx="4720">0</cx:pt>
          <cx:pt idx="4721">0</cx:pt>
          <cx:pt idx="4722">0</cx:pt>
          <cx:pt idx="4723">0</cx:pt>
          <cx:pt idx="4724">0</cx:pt>
          <cx:pt idx="4725">0</cx:pt>
          <cx:pt idx="4726">0</cx:pt>
          <cx:pt idx="4727">0</cx:pt>
          <cx:pt idx="4728">0</cx:pt>
          <cx:pt idx="4729">0</cx:pt>
          <cx:pt idx="4730">0</cx:pt>
          <cx:pt idx="4731">0</cx:pt>
          <cx:pt idx="4732">0</cx:pt>
          <cx:pt idx="4733">0</cx:pt>
          <cx:pt idx="4734">0</cx:pt>
          <cx:pt idx="4735">0</cx:pt>
          <cx:pt idx="4736">0</cx:pt>
          <cx:pt idx="4737">0</cx:pt>
          <cx:pt idx="4738">0</cx:pt>
          <cx:pt idx="4739">0</cx:pt>
          <cx:pt idx="4740">0</cx:pt>
          <cx:pt idx="4741">0</cx:pt>
          <cx:pt idx="4742">0</cx:pt>
          <cx:pt idx="4743">0</cx:pt>
          <cx:pt idx="4744">0</cx:pt>
          <cx:pt idx="4745">0</cx:pt>
          <cx:pt idx="4746">0</cx:pt>
          <cx:pt idx="4747">0</cx:pt>
          <cx:pt idx="4748">0</cx:pt>
          <cx:pt idx="4749">0</cx:pt>
          <cx:pt idx="4750">0</cx:pt>
          <cx:pt idx="4751">0</cx:pt>
          <cx:pt idx="4752">0</cx:pt>
          <cx:pt idx="4753">0</cx:pt>
          <cx:pt idx="4754">0</cx:pt>
          <cx:pt idx="4755">0</cx:pt>
          <cx:pt idx="4756">0</cx:pt>
          <cx:pt idx="4757">0</cx:pt>
          <cx:pt idx="4758">0</cx:pt>
          <cx:pt idx="4759">0</cx:pt>
          <cx:pt idx="4760">0</cx:pt>
          <cx:pt idx="4761">0</cx:pt>
          <cx:pt idx="4762">0</cx:pt>
          <cx:pt idx="4763">0</cx:pt>
          <cx:pt idx="4764">0</cx:pt>
          <cx:pt idx="4765">0</cx:pt>
          <cx:pt idx="4766">0</cx:pt>
          <cx:pt idx="4767">0</cx:pt>
          <cx:pt idx="4768">0</cx:pt>
          <cx:pt idx="4769">0</cx:pt>
          <cx:pt idx="4770">0</cx:pt>
          <cx:pt idx="4771">0</cx:pt>
          <cx:pt idx="4772">0</cx:pt>
          <cx:pt idx="4773">0</cx:pt>
          <cx:pt idx="4774">0</cx:pt>
          <cx:pt idx="4775">0</cx:pt>
          <cx:pt idx="4776">0</cx:pt>
          <cx:pt idx="4777">0</cx:pt>
          <cx:pt idx="4778">0</cx:pt>
          <cx:pt idx="4779">0</cx:pt>
          <cx:pt idx="4780">0</cx:pt>
          <cx:pt idx="4781">0</cx:pt>
          <cx:pt idx="4782">0</cx:pt>
          <cx:pt idx="4783">0</cx:pt>
          <cx:pt idx="4784">0</cx:pt>
          <cx:pt idx="4785">0</cx:pt>
          <cx:pt idx="4786">0</cx:pt>
          <cx:pt idx="4787">0</cx:pt>
          <cx:pt idx="4788">0</cx:pt>
          <cx:pt idx="4789">0</cx:pt>
          <cx:pt idx="4790">0</cx:pt>
          <cx:pt idx="4791">0</cx:pt>
          <cx:pt idx="4792">0</cx:pt>
          <cx:pt idx="4793">0</cx:pt>
          <cx:pt idx="4794">0</cx:pt>
          <cx:pt idx="4795">0</cx:pt>
          <cx:pt idx="4796">0</cx:pt>
          <cx:pt idx="4797">0</cx:pt>
          <cx:pt idx="4798">0</cx:pt>
          <cx:pt idx="4799">0</cx:pt>
          <cx:pt idx="4800">0</cx:pt>
          <cx:pt idx="4801">0</cx:pt>
          <cx:pt idx="4802">0</cx:pt>
          <cx:pt idx="4803">0</cx:pt>
          <cx:pt idx="4804">0</cx:pt>
          <cx:pt idx="4805">0</cx:pt>
          <cx:pt idx="4806">0</cx:pt>
          <cx:pt idx="4807">0</cx:pt>
          <cx:pt idx="4808">0</cx:pt>
          <cx:pt idx="4809">0</cx:pt>
          <cx:pt idx="4810">0</cx:pt>
          <cx:pt idx="4811">0</cx:pt>
          <cx:pt idx="4812">0</cx:pt>
          <cx:pt idx="4813">0</cx:pt>
          <cx:pt idx="4814">0</cx:pt>
          <cx:pt idx="4815">0</cx:pt>
          <cx:pt idx="4816">0</cx:pt>
          <cx:pt idx="4817">0</cx:pt>
          <cx:pt idx="4818">0</cx:pt>
          <cx:pt idx="4819">0</cx:pt>
          <cx:pt idx="4820">0</cx:pt>
          <cx:pt idx="4821">0</cx:pt>
          <cx:pt idx="4822">0</cx:pt>
          <cx:pt idx="4823">0</cx:pt>
          <cx:pt idx="4824">0</cx:pt>
          <cx:pt idx="4825">0</cx:pt>
          <cx:pt idx="4826">0</cx:pt>
          <cx:pt idx="4827">0</cx:pt>
          <cx:pt idx="4828">0</cx:pt>
          <cx:pt idx="4829">0</cx:pt>
          <cx:pt idx="4830">0</cx:pt>
          <cx:pt idx="4831">0</cx:pt>
          <cx:pt idx="4832">0</cx:pt>
          <cx:pt idx="4833">0</cx:pt>
          <cx:pt idx="4834">0</cx:pt>
          <cx:pt idx="4835">0</cx:pt>
          <cx:pt idx="4836">0</cx:pt>
          <cx:pt idx="4837">0</cx:pt>
          <cx:pt idx="4838">0</cx:pt>
          <cx:pt idx="4839">0</cx:pt>
          <cx:pt idx="4840">0</cx:pt>
          <cx:pt idx="4841">0</cx:pt>
          <cx:pt idx="4842">0</cx:pt>
          <cx:pt idx="4843">0</cx:pt>
          <cx:pt idx="4844">0</cx:pt>
          <cx:pt idx="4845">0</cx:pt>
          <cx:pt idx="4846">0</cx:pt>
          <cx:pt idx="4847">0</cx:pt>
          <cx:pt idx="4848">0</cx:pt>
          <cx:pt idx="4849">0</cx:pt>
          <cx:pt idx="4850">0</cx:pt>
          <cx:pt idx="4851">0</cx:pt>
          <cx:pt idx="4852">0</cx:pt>
          <cx:pt idx="4853">0</cx:pt>
          <cx:pt idx="4854">0</cx:pt>
          <cx:pt idx="4855">0</cx:pt>
          <cx:pt idx="4856">0</cx:pt>
          <cx:pt idx="4857">0</cx:pt>
          <cx:pt idx="4858">0</cx:pt>
          <cx:pt idx="4859">0</cx:pt>
          <cx:pt idx="4860">0</cx:pt>
          <cx:pt idx="4861">0</cx:pt>
          <cx:pt idx="4862">0</cx:pt>
          <cx:pt idx="4863">0</cx:pt>
          <cx:pt idx="4864">0</cx:pt>
          <cx:pt idx="4865">0</cx:pt>
          <cx:pt idx="4866">0</cx:pt>
          <cx:pt idx="4867">0</cx:pt>
          <cx:pt idx="4868">0</cx:pt>
          <cx:pt idx="4869">0</cx:pt>
          <cx:pt idx="4870">0</cx:pt>
          <cx:pt idx="4871">0</cx:pt>
          <cx:pt idx="4872">0</cx:pt>
          <cx:pt idx="4873">0</cx:pt>
          <cx:pt idx="4874">0</cx:pt>
          <cx:pt idx="4875">0</cx:pt>
          <cx:pt idx="4876">0</cx:pt>
          <cx:pt idx="4877">0</cx:pt>
          <cx:pt idx="4878">0</cx:pt>
          <cx:pt idx="4879">0</cx:pt>
          <cx:pt idx="4880">0</cx:pt>
          <cx:pt idx="4881">0</cx:pt>
          <cx:pt idx="4882">0</cx:pt>
          <cx:pt idx="4883">0</cx:pt>
          <cx:pt idx="4884">0</cx:pt>
          <cx:pt idx="4885">0</cx:pt>
          <cx:pt idx="4886">0</cx:pt>
          <cx:pt idx="4887">0</cx:pt>
          <cx:pt idx="4888">0</cx:pt>
          <cx:pt idx="4889">0</cx:pt>
          <cx:pt idx="4890">0</cx:pt>
          <cx:pt idx="4891">0</cx:pt>
          <cx:pt idx="4892">0</cx:pt>
          <cx:pt idx="4893">0</cx:pt>
          <cx:pt idx="4894">0</cx:pt>
          <cx:pt idx="4895">0</cx:pt>
          <cx:pt idx="4896">0</cx:pt>
          <cx:pt idx="4897">0</cx:pt>
          <cx:pt idx="4898">0</cx:pt>
          <cx:pt idx="4899">0</cx:pt>
          <cx:pt idx="4900">0</cx:pt>
          <cx:pt idx="4901">0</cx:pt>
          <cx:pt idx="4902">0</cx:pt>
          <cx:pt idx="4903">0</cx:pt>
          <cx:pt idx="4904">0</cx:pt>
          <cx:pt idx="4905">0</cx:pt>
          <cx:pt idx="4906">0</cx:pt>
          <cx:pt idx="4907">0</cx:pt>
          <cx:pt idx="4908">0</cx:pt>
          <cx:pt idx="4909">0</cx:pt>
          <cx:pt idx="4910">0</cx:pt>
          <cx:pt idx="4911">0</cx:pt>
          <cx:pt idx="4912">0</cx:pt>
          <cx:pt idx="4913">0</cx:pt>
          <cx:pt idx="4914">0</cx:pt>
          <cx:pt idx="4915">0</cx:pt>
          <cx:pt idx="4916">0</cx:pt>
          <cx:pt idx="4917">0</cx:pt>
          <cx:pt idx="4918">0</cx:pt>
          <cx:pt idx="4919">0</cx:pt>
          <cx:pt idx="4920">0</cx:pt>
          <cx:pt idx="4921">0</cx:pt>
          <cx:pt idx="4922">0</cx:pt>
          <cx:pt idx="4923">0</cx:pt>
          <cx:pt idx="4924">0</cx:pt>
          <cx:pt idx="4925">0</cx:pt>
          <cx:pt idx="4926">0</cx:pt>
          <cx:pt idx="4927">0</cx:pt>
          <cx:pt idx="4928">0</cx:pt>
          <cx:pt idx="4929">0</cx:pt>
          <cx:pt idx="4930">0</cx:pt>
          <cx:pt idx="4931">0</cx:pt>
          <cx:pt idx="4932">0</cx:pt>
          <cx:pt idx="4933">0</cx:pt>
          <cx:pt idx="4934">0</cx:pt>
          <cx:pt idx="4935">0</cx:pt>
          <cx:pt idx="4936">0</cx:pt>
          <cx:pt idx="4937">0</cx:pt>
          <cx:pt idx="4938">0</cx:pt>
          <cx:pt idx="4939">0</cx:pt>
          <cx:pt idx="4940">0</cx:pt>
          <cx:pt idx="4941">0</cx:pt>
          <cx:pt idx="4942">0</cx:pt>
          <cx:pt idx="4943">0</cx:pt>
          <cx:pt idx="4944">0</cx:pt>
          <cx:pt idx="4945">0</cx:pt>
          <cx:pt idx="4946">0</cx:pt>
          <cx:pt idx="4947">0</cx:pt>
          <cx:pt idx="4948">0</cx:pt>
          <cx:pt idx="4949">0</cx:pt>
          <cx:pt idx="4950">0</cx:pt>
          <cx:pt idx="4951">0</cx:pt>
          <cx:pt idx="4952">0</cx:pt>
          <cx:pt idx="4953">0</cx:pt>
          <cx:pt idx="4954">0</cx:pt>
          <cx:pt idx="4955">0</cx:pt>
          <cx:pt idx="4956">0</cx:pt>
          <cx:pt idx="4957">0</cx:pt>
          <cx:pt idx="4958">0</cx:pt>
          <cx:pt idx="4959">0</cx:pt>
          <cx:pt idx="4960">0</cx:pt>
          <cx:pt idx="4961">0</cx:pt>
          <cx:pt idx="4962">0</cx:pt>
          <cx:pt idx="4963">0</cx:pt>
          <cx:pt idx="4964">0</cx:pt>
          <cx:pt idx="4965">0</cx:pt>
          <cx:pt idx="4966">0</cx:pt>
          <cx:pt idx="4967">0</cx:pt>
          <cx:pt idx="4968">0</cx:pt>
          <cx:pt idx="4969">0</cx:pt>
          <cx:pt idx="4970">0</cx:pt>
          <cx:pt idx="4971">0</cx:pt>
          <cx:pt idx="4972">0</cx:pt>
          <cx:pt idx="4973">0</cx:pt>
          <cx:pt idx="4974">0</cx:pt>
          <cx:pt idx="4975">0</cx:pt>
          <cx:pt idx="4976">0</cx:pt>
          <cx:pt idx="4977">0</cx:pt>
          <cx:pt idx="4978">0</cx:pt>
          <cx:pt idx="4979">0</cx:pt>
          <cx:pt idx="4980">0</cx:pt>
          <cx:pt idx="4981">0</cx:pt>
          <cx:pt idx="4982">0</cx:pt>
          <cx:pt idx="4983">0</cx:pt>
          <cx:pt idx="4984">0</cx:pt>
          <cx:pt idx="4985">0</cx:pt>
          <cx:pt idx="4986">0</cx:pt>
          <cx:pt idx="4987">0</cx:pt>
          <cx:pt idx="4988">0</cx:pt>
          <cx:pt idx="4989">0</cx:pt>
          <cx:pt idx="4990">0</cx:pt>
          <cx:pt idx="4991">0</cx:pt>
          <cx:pt idx="4992">0</cx:pt>
          <cx:pt idx="4993">0</cx:pt>
          <cx:pt idx="4994">0</cx:pt>
          <cx:pt idx="4995">0</cx:pt>
          <cx:pt idx="4996">0</cx:pt>
          <cx:pt idx="4997">0</cx:pt>
          <cx:pt idx="4998">0</cx:pt>
          <cx:pt idx="4999">0</cx:pt>
          <cx:pt idx="5000">0</cx:pt>
          <cx:pt idx="5001">0</cx:pt>
          <cx:pt idx="5002">0</cx:pt>
          <cx:pt idx="5003">0</cx:pt>
          <cx:pt idx="5004">0</cx:pt>
          <cx:pt idx="5005">0</cx:pt>
          <cx:pt idx="5006">0</cx:pt>
          <cx:pt idx="5007">0</cx:pt>
          <cx:pt idx="5008">0</cx:pt>
          <cx:pt idx="5009">0</cx:pt>
          <cx:pt idx="5010">0</cx:pt>
          <cx:pt idx="5011">0</cx:pt>
          <cx:pt idx="5012">0</cx:pt>
          <cx:pt idx="5013">0</cx:pt>
          <cx:pt idx="5014">0</cx:pt>
          <cx:pt idx="5015">0</cx:pt>
          <cx:pt idx="5016">0</cx:pt>
          <cx:pt idx="5017">0</cx:pt>
          <cx:pt idx="5018">0</cx:pt>
          <cx:pt idx="5019">0</cx:pt>
          <cx:pt idx="5020">0</cx:pt>
          <cx:pt idx="5021">0</cx:pt>
          <cx:pt idx="5022">0</cx:pt>
          <cx:pt idx="5023">0</cx:pt>
          <cx:pt idx="5024">0</cx:pt>
          <cx:pt idx="5025">0</cx:pt>
          <cx:pt idx="5026">0</cx:pt>
          <cx:pt idx="5027">0</cx:pt>
          <cx:pt idx="5028">0</cx:pt>
          <cx:pt idx="5029">0</cx:pt>
          <cx:pt idx="5030">0</cx:pt>
          <cx:pt idx="5031">0</cx:pt>
          <cx:pt idx="5032">0</cx:pt>
          <cx:pt idx="5033">0</cx:pt>
          <cx:pt idx="5034">0</cx:pt>
          <cx:pt idx="5035">0</cx:pt>
          <cx:pt idx="5036">0</cx:pt>
          <cx:pt idx="5037">0</cx:pt>
          <cx:pt idx="5038">0</cx:pt>
          <cx:pt idx="5039">0</cx:pt>
          <cx:pt idx="5040">0</cx:pt>
          <cx:pt idx="5041">0</cx:pt>
          <cx:pt idx="5042">0</cx:pt>
          <cx:pt idx="5043">0</cx:pt>
          <cx:pt idx="5044">0</cx:pt>
          <cx:pt idx="5045">0</cx:pt>
          <cx:pt idx="5046">0</cx:pt>
          <cx:pt idx="5047">0</cx:pt>
          <cx:pt idx="5048">0</cx:pt>
          <cx:pt idx="5049">0</cx:pt>
          <cx:pt idx="5050">0</cx:pt>
          <cx:pt idx="5051">0</cx:pt>
          <cx:pt idx="5052">0</cx:pt>
          <cx:pt idx="5053">0</cx:pt>
          <cx:pt idx="5054">0</cx:pt>
          <cx:pt idx="5055">0</cx:pt>
          <cx:pt idx="5056">0</cx:pt>
          <cx:pt idx="5057">0</cx:pt>
          <cx:pt idx="5058">0</cx:pt>
          <cx:pt idx="5059">0</cx:pt>
          <cx:pt idx="5060">0</cx:pt>
          <cx:pt idx="5061">0</cx:pt>
          <cx:pt idx="5062">0</cx:pt>
          <cx:pt idx="5063">0</cx:pt>
          <cx:pt idx="5064">0</cx:pt>
          <cx:pt idx="5065">0</cx:pt>
          <cx:pt idx="5066">0</cx:pt>
          <cx:pt idx="5067">0</cx:pt>
          <cx:pt idx="5068">0</cx:pt>
          <cx:pt idx="5069">0</cx:pt>
          <cx:pt idx="5070">0</cx:pt>
          <cx:pt idx="5071">0</cx:pt>
          <cx:pt idx="5072">0</cx:pt>
          <cx:pt idx="5073">0</cx:pt>
          <cx:pt idx="5074">0</cx:pt>
          <cx:pt idx="5075">0</cx:pt>
          <cx:pt idx="5076">0</cx:pt>
          <cx:pt idx="5077">0</cx:pt>
          <cx:pt idx="5078">0</cx:pt>
          <cx:pt idx="5079">0</cx:pt>
          <cx:pt idx="5080">0</cx:pt>
          <cx:pt idx="5081">0</cx:pt>
          <cx:pt idx="5082">0</cx:pt>
          <cx:pt idx="5083">0</cx:pt>
          <cx:pt idx="5084">0</cx:pt>
          <cx:pt idx="5085">0</cx:pt>
          <cx:pt idx="5086">0</cx:pt>
          <cx:pt idx="5087">0</cx:pt>
          <cx:pt idx="5088">0</cx:pt>
          <cx:pt idx="5089">0</cx:pt>
          <cx:pt idx="5090">0</cx:pt>
          <cx:pt idx="5091">0</cx:pt>
          <cx:pt idx="5092">0</cx:pt>
          <cx:pt idx="5093">0</cx:pt>
          <cx:pt idx="5094">0</cx:pt>
          <cx:pt idx="5095">0</cx:pt>
          <cx:pt idx="5096">0</cx:pt>
          <cx:pt idx="5097">0</cx:pt>
          <cx:pt idx="5098">0</cx:pt>
          <cx:pt idx="5099">0</cx:pt>
          <cx:pt idx="5100">0</cx:pt>
          <cx:pt idx="5101">0</cx:pt>
          <cx:pt idx="5102">0</cx:pt>
          <cx:pt idx="5103">0</cx:pt>
          <cx:pt idx="5104">0</cx:pt>
          <cx:pt idx="5105">0</cx:pt>
          <cx:pt idx="5106">0</cx:pt>
          <cx:pt idx="5107">0</cx:pt>
          <cx:pt idx="5108">0</cx:pt>
          <cx:pt idx="5109">0</cx:pt>
          <cx:pt idx="5110">0</cx:pt>
          <cx:pt idx="5111">0</cx:pt>
          <cx:pt idx="5112">0</cx:pt>
          <cx:pt idx="5113">0</cx:pt>
          <cx:pt idx="5114">0</cx:pt>
          <cx:pt idx="5115">0</cx:pt>
          <cx:pt idx="5116">0</cx:pt>
          <cx:pt idx="5117">0</cx:pt>
          <cx:pt idx="5118">0</cx:pt>
          <cx:pt idx="5119">0</cx:pt>
          <cx:pt idx="5120">0</cx:pt>
          <cx:pt idx="5121">0</cx:pt>
          <cx:pt idx="5122">0</cx:pt>
          <cx:pt idx="5123">0</cx:pt>
          <cx:pt idx="5124">0</cx:pt>
          <cx:pt idx="5125">0</cx:pt>
          <cx:pt idx="5126">0</cx:pt>
          <cx:pt idx="5127">0</cx:pt>
          <cx:pt idx="5128">0</cx:pt>
          <cx:pt idx="5129">0</cx:pt>
          <cx:pt idx="5130">0</cx:pt>
          <cx:pt idx="5131">0</cx:pt>
          <cx:pt idx="5132">0</cx:pt>
          <cx:pt idx="5133">0</cx:pt>
          <cx:pt idx="5134">0</cx:pt>
          <cx:pt idx="5135">0</cx:pt>
          <cx:pt idx="5136">0</cx:pt>
          <cx:pt idx="5137">0</cx:pt>
          <cx:pt idx="5138">0</cx:pt>
          <cx:pt idx="5139">0</cx:pt>
          <cx:pt idx="5140">0</cx:pt>
          <cx:pt idx="5141">0</cx:pt>
          <cx:pt idx="5142">0</cx:pt>
          <cx:pt idx="5143">0</cx:pt>
          <cx:pt idx="5144">0</cx:pt>
          <cx:pt idx="5145">0</cx:pt>
          <cx:pt idx="5146">0</cx:pt>
          <cx:pt idx="5147">0</cx:pt>
          <cx:pt idx="5148">0</cx:pt>
          <cx:pt idx="5149">0</cx:pt>
          <cx:pt idx="5150">0</cx:pt>
          <cx:pt idx="5151">0</cx:pt>
          <cx:pt idx="5152">0</cx:pt>
          <cx:pt idx="5153">0</cx:pt>
          <cx:pt idx="5154">0</cx:pt>
          <cx:pt idx="5155">0</cx:pt>
          <cx:pt idx="5156">0</cx:pt>
          <cx:pt idx="5157">0</cx:pt>
          <cx:pt idx="5158">0</cx:pt>
          <cx:pt idx="5159">0</cx:pt>
          <cx:pt idx="5160">0</cx:pt>
          <cx:pt idx="5161">0</cx:pt>
          <cx:pt idx="5162">0</cx:pt>
          <cx:pt idx="5163">0</cx:pt>
          <cx:pt idx="5164">0</cx:pt>
          <cx:pt idx="5165">0</cx:pt>
          <cx:pt idx="5166">0</cx:pt>
          <cx:pt idx="5167">0</cx:pt>
          <cx:pt idx="5168">0</cx:pt>
          <cx:pt idx="5169">0</cx:pt>
          <cx:pt idx="5170">0</cx:pt>
          <cx:pt idx="5171">0</cx:pt>
          <cx:pt idx="5172">0</cx:pt>
          <cx:pt idx="5173">0</cx:pt>
          <cx:pt idx="5174">0</cx:pt>
          <cx:pt idx="5175">0</cx:pt>
          <cx:pt idx="5176">0</cx:pt>
          <cx:pt idx="5177">0</cx:pt>
          <cx:pt idx="5178">0</cx:pt>
          <cx:pt idx="5179">0</cx:pt>
          <cx:pt idx="5180">0</cx:pt>
          <cx:pt idx="5181">0</cx:pt>
          <cx:pt idx="5182">0</cx:pt>
          <cx:pt idx="5183">0</cx:pt>
          <cx:pt idx="5184">0</cx:pt>
          <cx:pt idx="5185">0</cx:pt>
          <cx:pt idx="5186">0</cx:pt>
          <cx:pt idx="5187">0</cx:pt>
          <cx:pt idx="5188">0</cx:pt>
          <cx:pt idx="5189">0</cx:pt>
          <cx:pt idx="5190">0</cx:pt>
          <cx:pt idx="5191">0</cx:pt>
          <cx:pt idx="5192">0</cx:pt>
          <cx:pt idx="5193">0</cx:pt>
          <cx:pt idx="5194">0</cx:pt>
          <cx:pt idx="5195">0</cx:pt>
          <cx:pt idx="5196">0</cx:pt>
          <cx:pt idx="5197">0</cx:pt>
          <cx:pt idx="5198">0</cx:pt>
          <cx:pt idx="5199">0</cx:pt>
          <cx:pt idx="5200">0</cx:pt>
          <cx:pt idx="5201">0</cx:pt>
          <cx:pt idx="5202">0</cx:pt>
          <cx:pt idx="5203">0</cx:pt>
          <cx:pt idx="5204">0</cx:pt>
          <cx:pt idx="5205">0</cx:pt>
          <cx:pt idx="5206">0</cx:pt>
          <cx:pt idx="5207">0</cx:pt>
          <cx:pt idx="5208">0</cx:pt>
          <cx:pt idx="5209">0</cx:pt>
          <cx:pt idx="5210">0</cx:pt>
          <cx:pt idx="5211">0</cx:pt>
          <cx:pt idx="5212">0</cx:pt>
          <cx:pt idx="5213">0</cx:pt>
          <cx:pt idx="5214">0</cx:pt>
          <cx:pt idx="5215">0</cx:pt>
          <cx:pt idx="5216">0</cx:pt>
          <cx:pt idx="5217">0</cx:pt>
          <cx:pt idx="5218">0</cx:pt>
          <cx:pt idx="5219">0</cx:pt>
          <cx:pt idx="5220">0</cx:pt>
          <cx:pt idx="5221">0</cx:pt>
          <cx:pt idx="5222">0</cx:pt>
          <cx:pt idx="5223">0</cx:pt>
          <cx:pt idx="5224">0</cx:pt>
          <cx:pt idx="5225">0</cx:pt>
          <cx:pt idx="5226">0</cx:pt>
          <cx:pt idx="5227">0</cx:pt>
          <cx:pt idx="5228">0</cx:pt>
          <cx:pt idx="5229">0</cx:pt>
          <cx:pt idx="5230">0</cx:pt>
          <cx:pt idx="5231">0</cx:pt>
          <cx:pt idx="5232">0</cx:pt>
          <cx:pt idx="5233">0</cx:pt>
          <cx:pt idx="5234">0</cx:pt>
          <cx:pt idx="5235">0</cx:pt>
          <cx:pt idx="5236">0</cx:pt>
          <cx:pt idx="5237">0</cx:pt>
          <cx:pt idx="5238">0</cx:pt>
          <cx:pt idx="5239">0</cx:pt>
          <cx:pt idx="5240">0</cx:pt>
          <cx:pt idx="5241">0</cx:pt>
          <cx:pt idx="5242">0</cx:pt>
          <cx:pt idx="5243">0</cx:pt>
          <cx:pt idx="5244">0</cx:pt>
          <cx:pt idx="5245">0</cx:pt>
          <cx:pt idx="5246">0</cx:pt>
          <cx:pt idx="5247">0</cx:pt>
          <cx:pt idx="5248">0</cx:pt>
          <cx:pt idx="5249">0</cx:pt>
          <cx:pt idx="5250">0</cx:pt>
          <cx:pt idx="5251">0</cx:pt>
          <cx:pt idx="5252">0</cx:pt>
          <cx:pt idx="5253">0</cx:pt>
          <cx:pt idx="5254">0</cx:pt>
          <cx:pt idx="5255">0</cx:pt>
          <cx:pt idx="5256">0</cx:pt>
          <cx:pt idx="5257">0</cx:pt>
          <cx:pt idx="5258">0</cx:pt>
          <cx:pt idx="5259">0</cx:pt>
          <cx:pt idx="5260">0</cx:pt>
          <cx:pt idx="5261">0</cx:pt>
          <cx:pt idx="5262">0</cx:pt>
          <cx:pt idx="5263">0</cx:pt>
          <cx:pt idx="5264">0</cx:pt>
          <cx:pt idx="5265">0</cx:pt>
          <cx:pt idx="5266">0</cx:pt>
          <cx:pt idx="5267">0</cx:pt>
          <cx:pt idx="5268">0</cx:pt>
          <cx:pt idx="5269">0</cx:pt>
          <cx:pt idx="5270">0</cx:pt>
          <cx:pt idx="5271">0</cx:pt>
          <cx:pt idx="5272">0</cx:pt>
          <cx:pt idx="5273">0</cx:pt>
          <cx:pt idx="5274">0</cx:pt>
          <cx:pt idx="5275">0</cx:pt>
          <cx:pt idx="5276">0</cx:pt>
          <cx:pt idx="5277">0</cx:pt>
          <cx:pt idx="5278">0</cx:pt>
          <cx:pt idx="5279">0</cx:pt>
          <cx:pt idx="5280">0</cx:pt>
          <cx:pt idx="5281">0</cx:pt>
          <cx:pt idx="5282">0</cx:pt>
          <cx:pt idx="5283">0</cx:pt>
          <cx:pt idx="5284">0</cx:pt>
          <cx:pt idx="5285">0</cx:pt>
          <cx:pt idx="5286">0</cx:pt>
          <cx:pt idx="5287">0</cx:pt>
          <cx:pt idx="5288">0</cx:pt>
          <cx:pt idx="5289">0</cx:pt>
          <cx:pt idx="5290">0</cx:pt>
          <cx:pt idx="5291">0</cx:pt>
          <cx:pt idx="5292">0</cx:pt>
          <cx:pt idx="5293">0</cx:pt>
          <cx:pt idx="5294">0</cx:pt>
          <cx:pt idx="5295">0</cx:pt>
          <cx:pt idx="5296">0</cx:pt>
          <cx:pt idx="5297">0</cx:pt>
          <cx:pt idx="5298">0</cx:pt>
          <cx:pt idx="5299">0</cx:pt>
          <cx:pt idx="5300">0</cx:pt>
          <cx:pt idx="5301">0</cx:pt>
          <cx:pt idx="5302">0</cx:pt>
          <cx:pt idx="5303">0</cx:pt>
          <cx:pt idx="5304">0</cx:pt>
          <cx:pt idx="5305">0</cx:pt>
          <cx:pt idx="5306">0</cx:pt>
          <cx:pt idx="5307">0</cx:pt>
          <cx:pt idx="5308">0</cx:pt>
          <cx:pt idx="5309">0</cx:pt>
          <cx:pt idx="5310">0</cx:pt>
          <cx:pt idx="5311">0</cx:pt>
          <cx:pt idx="5312">0</cx:pt>
          <cx:pt idx="5313">0</cx:pt>
          <cx:pt idx="5314">0</cx:pt>
          <cx:pt idx="5315">0</cx:pt>
          <cx:pt idx="5316">0</cx:pt>
          <cx:pt idx="5317">0</cx:pt>
          <cx:pt idx="5318">0</cx:pt>
          <cx:pt idx="5319">0</cx:pt>
          <cx:pt idx="5320">0</cx:pt>
          <cx:pt idx="5321">0</cx:pt>
          <cx:pt idx="5322">0</cx:pt>
          <cx:pt idx="5323">0</cx:pt>
          <cx:pt idx="5324">0</cx:pt>
          <cx:pt idx="5325">0</cx:pt>
          <cx:pt idx="5326">0</cx:pt>
          <cx:pt idx="5327">0</cx:pt>
          <cx:pt idx="5328">0</cx:pt>
          <cx:pt idx="5329">0</cx:pt>
          <cx:pt idx="5330">0</cx:pt>
          <cx:pt idx="5331">0</cx:pt>
          <cx:pt idx="5332">0</cx:pt>
          <cx:pt idx="5333">0</cx:pt>
          <cx:pt idx="5334">0</cx:pt>
          <cx:pt idx="5335">0</cx:pt>
          <cx:pt idx="5336">0</cx:pt>
          <cx:pt idx="5337">0</cx:pt>
          <cx:pt idx="5338">0</cx:pt>
          <cx:pt idx="5339">0</cx:pt>
          <cx:pt idx="5340">0</cx:pt>
          <cx:pt idx="5341">0</cx:pt>
          <cx:pt idx="5342">0</cx:pt>
          <cx:pt idx="5343">0</cx:pt>
          <cx:pt idx="5344">0</cx:pt>
          <cx:pt idx="5345">0</cx:pt>
          <cx:pt idx="5346">0</cx:pt>
          <cx:pt idx="5347">0</cx:pt>
          <cx:pt idx="5348">0</cx:pt>
          <cx:pt idx="5349">0</cx:pt>
          <cx:pt idx="5350">0</cx:pt>
          <cx:pt idx="5351">0</cx:pt>
          <cx:pt idx="5352">0</cx:pt>
          <cx:pt idx="5353">0</cx:pt>
          <cx:pt idx="5354">0</cx:pt>
          <cx:pt idx="5355">0</cx:pt>
          <cx:pt idx="5356">0</cx:pt>
          <cx:pt idx="5357">0</cx:pt>
          <cx:pt idx="5358">0</cx:pt>
          <cx:pt idx="5359">0</cx:pt>
          <cx:pt idx="5360">0</cx:pt>
          <cx:pt idx="5361">0</cx:pt>
          <cx:pt idx="5362">0</cx:pt>
          <cx:pt idx="5363">0</cx:pt>
          <cx:pt idx="5364">0</cx:pt>
          <cx:pt idx="5365">0</cx:pt>
          <cx:pt idx="5366">0</cx:pt>
          <cx:pt idx="5367">0</cx:pt>
          <cx:pt idx="5368">0</cx:pt>
          <cx:pt idx="5369">0</cx:pt>
          <cx:pt idx="5370">0</cx:pt>
          <cx:pt idx="5371">0</cx:pt>
          <cx:pt idx="5372">0</cx:pt>
          <cx:pt idx="5373">0</cx:pt>
          <cx:pt idx="5374">0</cx:pt>
          <cx:pt idx="5375">0</cx:pt>
          <cx:pt idx="5376">0</cx:pt>
          <cx:pt idx="5377">0</cx:pt>
          <cx:pt idx="5378">0</cx:pt>
          <cx:pt idx="5379">0</cx:pt>
          <cx:pt idx="5380">0</cx:pt>
          <cx:pt idx="5381">0</cx:pt>
          <cx:pt idx="5382">0</cx:pt>
          <cx:pt idx="5383">0</cx:pt>
          <cx:pt idx="5384">0</cx:pt>
          <cx:pt idx="5385">0</cx:pt>
          <cx:pt idx="5386">0</cx:pt>
          <cx:pt idx="5387">0</cx:pt>
          <cx:pt idx="5388">0</cx:pt>
          <cx:pt idx="5389">0</cx:pt>
          <cx:pt idx="5390">0</cx:pt>
          <cx:pt idx="5391">0</cx:pt>
          <cx:pt idx="5392">0</cx:pt>
          <cx:pt idx="5393">0</cx:pt>
          <cx:pt idx="5394">0</cx:pt>
          <cx:pt idx="5395">0</cx:pt>
          <cx:pt idx="5396">0</cx:pt>
          <cx:pt idx="5397">0</cx:pt>
          <cx:pt idx="5398">0</cx:pt>
          <cx:pt idx="5399">0</cx:pt>
          <cx:pt idx="5400">0</cx:pt>
          <cx:pt idx="5401">0</cx:pt>
          <cx:pt idx="5402">0</cx:pt>
          <cx:pt idx="5403">0</cx:pt>
          <cx:pt idx="5404">0</cx:pt>
          <cx:pt idx="5405">0</cx:pt>
          <cx:pt idx="5406">0</cx:pt>
          <cx:pt idx="5407">0</cx:pt>
          <cx:pt idx="5408">0</cx:pt>
          <cx:pt idx="5409">0</cx:pt>
          <cx:pt idx="5410">0</cx:pt>
          <cx:pt idx="5411">0</cx:pt>
          <cx:pt idx="5412">0</cx:pt>
          <cx:pt idx="5413">0</cx:pt>
          <cx:pt idx="5414">0</cx:pt>
          <cx:pt idx="5415">0</cx:pt>
          <cx:pt idx="5416">0</cx:pt>
          <cx:pt idx="5417">0</cx:pt>
          <cx:pt idx="5418">0</cx:pt>
          <cx:pt idx="5419">0</cx:pt>
          <cx:pt idx="5420">0</cx:pt>
          <cx:pt idx="5421">0</cx:pt>
          <cx:pt idx="5422">0</cx:pt>
          <cx:pt idx="5423">0</cx:pt>
          <cx:pt idx="5424">0</cx:pt>
          <cx:pt idx="5425">0</cx:pt>
          <cx:pt idx="5426">0</cx:pt>
          <cx:pt idx="5427">0</cx:pt>
          <cx:pt idx="5428">0</cx:pt>
          <cx:pt idx="5429">0</cx:pt>
          <cx:pt idx="5430">0</cx:pt>
          <cx:pt idx="5431">0</cx:pt>
          <cx:pt idx="5432">0</cx:pt>
          <cx:pt idx="5433">0</cx:pt>
          <cx:pt idx="5434">0</cx:pt>
          <cx:pt idx="5435">0</cx:pt>
          <cx:pt idx="5436">0</cx:pt>
          <cx:pt idx="5437">0</cx:pt>
          <cx:pt idx="5438">0</cx:pt>
          <cx:pt idx="5439">0</cx:pt>
          <cx:pt idx="5440">0</cx:pt>
          <cx:pt idx="5441">0</cx:pt>
          <cx:pt idx="5442">0</cx:pt>
          <cx:pt idx="5443">0</cx:pt>
          <cx:pt idx="5444">0</cx:pt>
          <cx:pt idx="5445">0</cx:pt>
          <cx:pt idx="5446">0</cx:pt>
          <cx:pt idx="5447">0</cx:pt>
          <cx:pt idx="5448">0</cx:pt>
          <cx:pt idx="5449">0</cx:pt>
          <cx:pt idx="5450">0</cx:pt>
          <cx:pt idx="5451">0</cx:pt>
          <cx:pt idx="5452">0</cx:pt>
          <cx:pt idx="5453">0</cx:pt>
          <cx:pt idx="5454">0</cx:pt>
          <cx:pt idx="5455">0</cx:pt>
          <cx:pt idx="5456">0</cx:pt>
          <cx:pt idx="5457">0</cx:pt>
          <cx:pt idx="5458">0</cx:pt>
          <cx:pt idx="5459">0</cx:pt>
          <cx:pt idx="5460">0</cx:pt>
          <cx:pt idx="5461">0</cx:pt>
          <cx:pt idx="5462">0</cx:pt>
          <cx:pt idx="5463">0</cx:pt>
          <cx:pt idx="5464">0</cx:pt>
          <cx:pt idx="5465">0</cx:pt>
          <cx:pt idx="5466">0</cx:pt>
          <cx:pt idx="5467">0</cx:pt>
          <cx:pt idx="5468">0</cx:pt>
          <cx:pt idx="5469">0</cx:pt>
          <cx:pt idx="5470">0</cx:pt>
          <cx:pt idx="5471">0</cx:pt>
          <cx:pt idx="5472">0</cx:pt>
          <cx:pt idx="5473">0</cx:pt>
          <cx:pt idx="5474">0</cx:pt>
          <cx:pt idx="5475">0</cx:pt>
          <cx:pt idx="5476">0</cx:pt>
          <cx:pt idx="5477">0</cx:pt>
          <cx:pt idx="5478">0</cx:pt>
          <cx:pt idx="5479">0</cx:pt>
          <cx:pt idx="5480">0</cx:pt>
          <cx:pt idx="5481">0</cx:pt>
          <cx:pt idx="5482">0</cx:pt>
          <cx:pt idx="5483">0</cx:pt>
          <cx:pt idx="5484">0</cx:pt>
          <cx:pt idx="5485">0</cx:pt>
          <cx:pt idx="5486">0</cx:pt>
          <cx:pt idx="5487">0</cx:pt>
          <cx:pt idx="5488">0</cx:pt>
          <cx:pt idx="5489">0</cx:pt>
          <cx:pt idx="5490">0</cx:pt>
          <cx:pt idx="5491">0</cx:pt>
          <cx:pt idx="5492">0</cx:pt>
          <cx:pt idx="5493">0</cx:pt>
          <cx:pt idx="5494">0</cx:pt>
          <cx:pt idx="5495">0</cx:pt>
          <cx:pt idx="5496">0</cx:pt>
          <cx:pt idx="5497">0</cx:pt>
          <cx:pt idx="5498">0</cx:pt>
          <cx:pt idx="5499">0</cx:pt>
          <cx:pt idx="5500">0</cx:pt>
          <cx:pt idx="5501">0</cx:pt>
          <cx:pt idx="5502">0</cx:pt>
          <cx:pt idx="5503">0</cx:pt>
          <cx:pt idx="5504">0</cx:pt>
          <cx:pt idx="5505">0</cx:pt>
          <cx:pt idx="5506">0</cx:pt>
          <cx:pt idx="5507">0</cx:pt>
          <cx:pt idx="5508">0</cx:pt>
          <cx:pt idx="5509">0</cx:pt>
          <cx:pt idx="5510">0</cx:pt>
          <cx:pt idx="5511">0</cx:pt>
          <cx:pt idx="5512">0</cx:pt>
          <cx:pt idx="5513">0</cx:pt>
          <cx:pt idx="5514">0</cx:pt>
          <cx:pt idx="5515">0</cx:pt>
          <cx:pt idx="5516">0</cx:pt>
          <cx:pt idx="5517">0</cx:pt>
          <cx:pt idx="5518">0</cx:pt>
          <cx:pt idx="5519">0</cx:pt>
          <cx:pt idx="5520">0</cx:pt>
          <cx:pt idx="5521">0</cx:pt>
          <cx:pt idx="5522">0</cx:pt>
          <cx:pt idx="5523">0</cx:pt>
          <cx:pt idx="5524">0</cx:pt>
          <cx:pt idx="5525">0</cx:pt>
          <cx:pt idx="5526">0</cx:pt>
          <cx:pt idx="5527">0</cx:pt>
          <cx:pt idx="5528">0</cx:pt>
          <cx:pt idx="5529">0</cx:pt>
          <cx:pt idx="5530">0</cx:pt>
          <cx:pt idx="5531">0</cx:pt>
          <cx:pt idx="5532">0</cx:pt>
          <cx:pt idx="5533">0</cx:pt>
          <cx:pt idx="5534">0</cx:pt>
          <cx:pt idx="5535">0</cx:pt>
          <cx:pt idx="5536">0</cx:pt>
          <cx:pt idx="5537">0</cx:pt>
          <cx:pt idx="5538">0</cx:pt>
          <cx:pt idx="5539">0</cx:pt>
          <cx:pt idx="5540">0</cx:pt>
          <cx:pt idx="5541">0</cx:pt>
          <cx:pt idx="5542">0</cx:pt>
          <cx:pt idx="5543">0</cx:pt>
          <cx:pt idx="5544">0</cx:pt>
          <cx:pt idx="5545">0</cx:pt>
          <cx:pt idx="5546">0</cx:pt>
          <cx:pt idx="5547">0</cx:pt>
          <cx:pt idx="5548">0</cx:pt>
          <cx:pt idx="5549">0</cx:pt>
          <cx:pt idx="5550">0</cx:pt>
          <cx:pt idx="5551">0</cx:pt>
          <cx:pt idx="5552">0</cx:pt>
          <cx:pt idx="5553">0</cx:pt>
          <cx:pt idx="5554">0</cx:pt>
          <cx:pt idx="5555">0</cx:pt>
          <cx:pt idx="5556">0</cx:pt>
          <cx:pt idx="5557">0</cx:pt>
          <cx:pt idx="5558">0</cx:pt>
          <cx:pt idx="5559">0</cx:pt>
          <cx:pt idx="5560">0</cx:pt>
          <cx:pt idx="5561">0</cx:pt>
          <cx:pt idx="5562">0</cx:pt>
          <cx:pt idx="5563">0</cx:pt>
          <cx:pt idx="5564">0</cx:pt>
          <cx:pt idx="5565">0</cx:pt>
          <cx:pt idx="5566">0</cx:pt>
          <cx:pt idx="5567">0</cx:pt>
          <cx:pt idx="5568">0</cx:pt>
          <cx:pt idx="5569">0</cx:pt>
          <cx:pt idx="5570">0</cx:pt>
          <cx:pt idx="5571">0</cx:pt>
          <cx:pt idx="5572">0</cx:pt>
          <cx:pt idx="5573">0</cx:pt>
          <cx:pt idx="5574">0</cx:pt>
          <cx:pt idx="5575">0</cx:pt>
          <cx:pt idx="5576">0</cx:pt>
          <cx:pt idx="5577">0</cx:pt>
          <cx:pt idx="5578">0</cx:pt>
          <cx:pt idx="5579">0</cx:pt>
          <cx:pt idx="5580">0</cx:pt>
          <cx:pt idx="5581">0</cx:pt>
          <cx:pt idx="5582">0</cx:pt>
          <cx:pt idx="5583">0</cx:pt>
          <cx:pt idx="5584">0</cx:pt>
          <cx:pt idx="5585">0</cx:pt>
          <cx:pt idx="5586">0</cx:pt>
          <cx:pt idx="5587">0</cx:pt>
          <cx:pt idx="5588">0</cx:pt>
          <cx:pt idx="5589">0</cx:pt>
          <cx:pt idx="5590">0</cx:pt>
          <cx:pt idx="5591">0</cx:pt>
          <cx:pt idx="5592">0</cx:pt>
          <cx:pt idx="5593">0</cx:pt>
          <cx:pt idx="5594">0</cx:pt>
          <cx:pt idx="5595">0</cx:pt>
          <cx:pt idx="5596">0</cx:pt>
          <cx:pt idx="5597">0</cx:pt>
          <cx:pt idx="5598">0</cx:pt>
          <cx:pt idx="5599">0</cx:pt>
          <cx:pt idx="5600">0</cx:pt>
          <cx:pt idx="5601">0</cx:pt>
          <cx:pt idx="5602">0</cx:pt>
          <cx:pt idx="5603">0</cx:pt>
          <cx:pt idx="5604">0</cx:pt>
          <cx:pt idx="5605">0</cx:pt>
          <cx:pt idx="5606">0</cx:pt>
          <cx:pt idx="5607">0</cx:pt>
          <cx:pt idx="5608">0</cx:pt>
          <cx:pt idx="5609">0</cx:pt>
          <cx:pt idx="5610">0</cx:pt>
          <cx:pt idx="5611">0</cx:pt>
          <cx:pt idx="5612">0</cx:pt>
          <cx:pt idx="5613">0</cx:pt>
          <cx:pt idx="5614">0</cx:pt>
          <cx:pt idx="5615">0</cx:pt>
          <cx:pt idx="5616">0</cx:pt>
          <cx:pt idx="5617">0</cx:pt>
          <cx:pt idx="5618">0</cx:pt>
          <cx:pt idx="5619">0</cx:pt>
          <cx:pt idx="5620">0</cx:pt>
          <cx:pt idx="5621">0</cx:pt>
          <cx:pt idx="5622">0</cx:pt>
          <cx:pt idx="5623">0</cx:pt>
          <cx:pt idx="5624">0</cx:pt>
          <cx:pt idx="5625">0</cx:pt>
          <cx:pt idx="5626">0</cx:pt>
          <cx:pt idx="5627">0</cx:pt>
          <cx:pt idx="5628">0</cx:pt>
          <cx:pt idx="5629">0</cx:pt>
          <cx:pt idx="5630">0</cx:pt>
          <cx:pt idx="5631">0</cx:pt>
          <cx:pt idx="5632">0</cx:pt>
          <cx:pt idx="5633">0</cx:pt>
          <cx:pt idx="5634">0</cx:pt>
          <cx:pt idx="5635">0</cx:pt>
          <cx:pt idx="5636">0</cx:pt>
          <cx:pt idx="5637">0</cx:pt>
          <cx:pt idx="5638">0</cx:pt>
          <cx:pt idx="5639">0</cx:pt>
          <cx:pt idx="5640">0</cx:pt>
          <cx:pt idx="5641">0</cx:pt>
          <cx:pt idx="5642">0</cx:pt>
          <cx:pt idx="5643">0</cx:pt>
          <cx:pt idx="5644">0</cx:pt>
          <cx:pt idx="5645">0</cx:pt>
          <cx:pt idx="5646">0</cx:pt>
          <cx:pt idx="5647">0</cx:pt>
          <cx:pt idx="5648">0</cx:pt>
          <cx:pt idx="5649">0</cx:pt>
          <cx:pt idx="5650">0</cx:pt>
          <cx:pt idx="5651">0</cx:pt>
          <cx:pt idx="5652">0</cx:pt>
          <cx:pt idx="5653">0</cx:pt>
          <cx:pt idx="5654">0</cx:pt>
          <cx:pt idx="5655">0</cx:pt>
          <cx:pt idx="5656">0</cx:pt>
          <cx:pt idx="5657">0</cx:pt>
          <cx:pt idx="5658">0</cx:pt>
          <cx:pt idx="5659">0</cx:pt>
          <cx:pt idx="5660">0</cx:pt>
          <cx:pt idx="5661">0</cx:pt>
          <cx:pt idx="5662">0</cx:pt>
          <cx:pt idx="5663">0</cx:pt>
          <cx:pt idx="5664">0</cx:pt>
          <cx:pt idx="5665">0</cx:pt>
          <cx:pt idx="5666">0</cx:pt>
          <cx:pt idx="5667">0</cx:pt>
          <cx:pt idx="5668">0</cx:pt>
          <cx:pt idx="5669">0</cx:pt>
          <cx:pt idx="5670">0</cx:pt>
          <cx:pt idx="5671">0</cx:pt>
          <cx:pt idx="5672">0</cx:pt>
          <cx:pt idx="5673">0</cx:pt>
          <cx:pt idx="5674">0</cx:pt>
          <cx:pt idx="5675">0</cx:pt>
          <cx:pt idx="5676">0</cx:pt>
          <cx:pt idx="5677">0</cx:pt>
          <cx:pt idx="5678">0</cx:pt>
          <cx:pt idx="5679">0</cx:pt>
          <cx:pt idx="5680">0</cx:pt>
          <cx:pt idx="5681">0</cx:pt>
          <cx:pt idx="5682">0</cx:pt>
          <cx:pt idx="5683">0</cx:pt>
          <cx:pt idx="5684">0</cx:pt>
          <cx:pt idx="5685">0</cx:pt>
          <cx:pt idx="5686">0</cx:pt>
          <cx:pt idx="5687">0</cx:pt>
          <cx:pt idx="5688">0</cx:pt>
          <cx:pt idx="5689">0</cx:pt>
          <cx:pt idx="5690">0</cx:pt>
          <cx:pt idx="5691">0</cx:pt>
          <cx:pt idx="5692">0</cx:pt>
          <cx:pt idx="5693">0</cx:pt>
          <cx:pt idx="5694">0</cx:pt>
          <cx:pt idx="5695">0</cx:pt>
          <cx:pt idx="5696">0</cx:pt>
          <cx:pt idx="5697">0</cx:pt>
          <cx:pt idx="5698">0</cx:pt>
          <cx:pt idx="5699">0</cx:pt>
          <cx:pt idx="5700">0</cx:pt>
          <cx:pt idx="5701">0</cx:pt>
          <cx:pt idx="5702">0</cx:pt>
          <cx:pt idx="5703">0</cx:pt>
          <cx:pt idx="5704">0</cx:pt>
          <cx:pt idx="5705">0</cx:pt>
          <cx:pt idx="5706">0</cx:pt>
          <cx:pt idx="5707">0</cx:pt>
          <cx:pt idx="5708">0</cx:pt>
          <cx:pt idx="5709">0</cx:pt>
          <cx:pt idx="5710">0</cx:pt>
          <cx:pt idx="5711">0</cx:pt>
          <cx:pt idx="5712">0</cx:pt>
          <cx:pt idx="5713">0</cx:pt>
          <cx:pt idx="5714">0</cx:pt>
          <cx:pt idx="5715">0</cx:pt>
          <cx:pt idx="5716">0</cx:pt>
          <cx:pt idx="5717">0</cx:pt>
          <cx:pt idx="5718">0</cx:pt>
          <cx:pt idx="5719">0</cx:pt>
          <cx:pt idx="5720">0</cx:pt>
          <cx:pt idx="5721">0</cx:pt>
          <cx:pt idx="5722">0</cx:pt>
          <cx:pt idx="5723">0</cx:pt>
          <cx:pt idx="5724">0</cx:pt>
          <cx:pt idx="5725">0</cx:pt>
          <cx:pt idx="5726">0</cx:pt>
          <cx:pt idx="5727">0</cx:pt>
          <cx:pt idx="5728">0</cx:pt>
          <cx:pt idx="5729">0</cx:pt>
          <cx:pt idx="5730">0</cx:pt>
          <cx:pt idx="5731">0</cx:pt>
          <cx:pt idx="5732">0</cx:pt>
          <cx:pt idx="5733">0</cx:pt>
          <cx:pt idx="5734">0</cx:pt>
          <cx:pt idx="5735">0</cx:pt>
          <cx:pt idx="5736">0</cx:pt>
          <cx:pt idx="5737">0</cx:pt>
          <cx:pt idx="5738">0</cx:pt>
          <cx:pt idx="5739">0</cx:pt>
          <cx:pt idx="5740">0</cx:pt>
          <cx:pt idx="5741">0</cx:pt>
          <cx:pt idx="5742">0</cx:pt>
          <cx:pt idx="5743">0</cx:pt>
          <cx:pt idx="5744">0</cx:pt>
          <cx:pt idx="5745">0</cx:pt>
          <cx:pt idx="5746">0</cx:pt>
          <cx:pt idx="5747">0</cx:pt>
          <cx:pt idx="5748">0</cx:pt>
          <cx:pt idx="5749">0</cx:pt>
          <cx:pt idx="5750">0</cx:pt>
          <cx:pt idx="5751">0</cx:pt>
          <cx:pt idx="5752">0</cx:pt>
          <cx:pt idx="5753">0</cx:pt>
          <cx:pt idx="5754">0</cx:pt>
          <cx:pt idx="5755">0</cx:pt>
          <cx:pt idx="5756">0</cx:pt>
          <cx:pt idx="5757">0</cx:pt>
          <cx:pt idx="5758">0</cx:pt>
          <cx:pt idx="5759">0</cx:pt>
          <cx:pt idx="5760">0</cx:pt>
          <cx:pt idx="5761">0</cx:pt>
          <cx:pt idx="5762">0</cx:pt>
          <cx:pt idx="5763">0</cx:pt>
          <cx:pt idx="5764">0</cx:pt>
          <cx:pt idx="5765">0</cx:pt>
          <cx:pt idx="5766">0</cx:pt>
          <cx:pt idx="5767">0</cx:pt>
          <cx:pt idx="5768">0</cx:pt>
          <cx:pt idx="5769">0</cx:pt>
          <cx:pt idx="5770">0</cx:pt>
          <cx:pt idx="5771">0</cx:pt>
          <cx:pt idx="5772">0</cx:pt>
          <cx:pt idx="5773">0</cx:pt>
          <cx:pt idx="5774">0</cx:pt>
          <cx:pt idx="5775">0</cx:pt>
          <cx:pt idx="5776">0</cx:pt>
          <cx:pt idx="5777">0</cx:pt>
          <cx:pt idx="5778">0</cx:pt>
          <cx:pt idx="5779">0</cx:pt>
          <cx:pt idx="5780">0</cx:pt>
          <cx:pt idx="5781">0</cx:pt>
          <cx:pt idx="5782">0</cx:pt>
          <cx:pt idx="5783">0</cx:pt>
          <cx:pt idx="5784">0</cx:pt>
          <cx:pt idx="5785">0</cx:pt>
          <cx:pt idx="5786">0</cx:pt>
          <cx:pt idx="5787">0</cx:pt>
          <cx:pt idx="5788">0</cx:pt>
          <cx:pt idx="5789">0</cx:pt>
          <cx:pt idx="5790">0</cx:pt>
          <cx:pt idx="5791">0</cx:pt>
          <cx:pt idx="5792">0</cx:pt>
          <cx:pt idx="5793">0</cx:pt>
          <cx:pt idx="5794">0</cx:pt>
          <cx:pt idx="5795">0</cx:pt>
          <cx:pt idx="5796">0</cx:pt>
          <cx:pt idx="5797">0</cx:pt>
          <cx:pt idx="5798">0</cx:pt>
          <cx:pt idx="5799">0</cx:pt>
          <cx:pt idx="5800">0</cx:pt>
          <cx:pt idx="5801">0</cx:pt>
          <cx:pt idx="5802">0</cx:pt>
          <cx:pt idx="5803">0</cx:pt>
          <cx:pt idx="5804">0</cx:pt>
          <cx:pt idx="5805">0</cx:pt>
          <cx:pt idx="5806">0</cx:pt>
          <cx:pt idx="5807">0</cx:pt>
          <cx:pt idx="5808">0</cx:pt>
          <cx:pt idx="5809">0</cx:pt>
          <cx:pt idx="5810">0</cx:pt>
          <cx:pt idx="5811">0</cx:pt>
          <cx:pt idx="5812">0</cx:pt>
          <cx:pt idx="5813">0</cx:pt>
          <cx:pt idx="5814">0</cx:pt>
          <cx:pt idx="5815">0</cx:pt>
          <cx:pt idx="5816">0</cx:pt>
          <cx:pt idx="5817">0</cx:pt>
          <cx:pt idx="5818">0</cx:pt>
          <cx:pt idx="5819">0</cx:pt>
          <cx:pt idx="5820">0</cx:pt>
          <cx:pt idx="5821">0</cx:pt>
          <cx:pt idx="5822">0</cx:pt>
          <cx:pt idx="5823">0</cx:pt>
          <cx:pt idx="5824">0</cx:pt>
          <cx:pt idx="5825">0</cx:pt>
          <cx:pt idx="5826">0</cx:pt>
          <cx:pt idx="5827">0</cx:pt>
          <cx:pt idx="5828">0</cx:pt>
          <cx:pt idx="5829">0</cx:pt>
          <cx:pt idx="5830">0</cx:pt>
          <cx:pt idx="5831">0</cx:pt>
          <cx:pt idx="5832">0</cx:pt>
          <cx:pt idx="5833">0</cx:pt>
          <cx:pt idx="5834">0</cx:pt>
          <cx:pt idx="5835">0</cx:pt>
          <cx:pt idx="5836">0</cx:pt>
          <cx:pt idx="5837">0</cx:pt>
          <cx:pt idx="5838">0</cx:pt>
          <cx:pt idx="5839">0</cx:pt>
          <cx:pt idx="5840">0</cx:pt>
          <cx:pt idx="5841">0</cx:pt>
          <cx:pt idx="5842">0</cx:pt>
          <cx:pt idx="5843">0</cx:pt>
          <cx:pt idx="5844">0</cx:pt>
          <cx:pt idx="5845">0</cx:pt>
          <cx:pt idx="5846">0</cx:pt>
          <cx:pt idx="5847">0</cx:pt>
          <cx:pt idx="5848">0</cx:pt>
          <cx:pt idx="5849">0</cx:pt>
          <cx:pt idx="5850">0</cx:pt>
          <cx:pt idx="5851">0</cx:pt>
          <cx:pt idx="5852">0</cx:pt>
          <cx:pt idx="5853">0</cx:pt>
          <cx:pt idx="5854">0</cx:pt>
          <cx:pt idx="5855">0</cx:pt>
          <cx:pt idx="5856">0</cx:pt>
          <cx:pt idx="5857">0</cx:pt>
          <cx:pt idx="5858">0</cx:pt>
          <cx:pt idx="5859">0</cx:pt>
          <cx:pt idx="5860">0</cx:pt>
          <cx:pt idx="5861">0</cx:pt>
          <cx:pt idx="5862">0</cx:pt>
          <cx:pt idx="5863">0</cx:pt>
          <cx:pt idx="5864">0</cx:pt>
          <cx:pt idx="5865">0</cx:pt>
          <cx:pt idx="5866">0</cx:pt>
          <cx:pt idx="5867">0</cx:pt>
          <cx:pt idx="5868">0</cx:pt>
          <cx:pt idx="5869">0</cx:pt>
          <cx:pt idx="5870">0</cx:pt>
          <cx:pt idx="5871">0</cx:pt>
          <cx:pt idx="5872">0</cx:pt>
          <cx:pt idx="5873">0</cx:pt>
          <cx:pt idx="5874">0</cx:pt>
          <cx:pt idx="5875">0</cx:pt>
          <cx:pt idx="5876">0</cx:pt>
          <cx:pt idx="5877">0</cx:pt>
          <cx:pt idx="5878">0</cx:pt>
          <cx:pt idx="5879">0</cx:pt>
          <cx:pt idx="5880">0</cx:pt>
          <cx:pt idx="5881">0</cx:pt>
          <cx:pt idx="5882">0</cx:pt>
          <cx:pt idx="5883">0</cx:pt>
          <cx:pt idx="5884">0</cx:pt>
          <cx:pt idx="5885">0</cx:pt>
          <cx:pt idx="5886">0</cx:pt>
          <cx:pt idx="5887">0</cx:pt>
          <cx:pt idx="5888">0</cx:pt>
          <cx:pt idx="5889">0</cx:pt>
          <cx:pt idx="5890">0</cx:pt>
          <cx:pt idx="5891">0</cx:pt>
          <cx:pt idx="5892">0</cx:pt>
          <cx:pt idx="5893">0</cx:pt>
          <cx:pt idx="5894">0</cx:pt>
          <cx:pt idx="5895">0</cx:pt>
          <cx:pt idx="5896">0</cx:pt>
          <cx:pt idx="5897">0</cx:pt>
          <cx:pt idx="5898">0</cx:pt>
          <cx:pt idx="5899">0</cx:pt>
          <cx:pt idx="5900">0</cx:pt>
          <cx:pt idx="5901">0</cx:pt>
          <cx:pt idx="5902">0</cx:pt>
          <cx:pt idx="5903">0</cx:pt>
          <cx:pt idx="5904">0</cx:pt>
          <cx:pt idx="5905">0</cx:pt>
          <cx:pt idx="5906">0</cx:pt>
          <cx:pt idx="5907">0</cx:pt>
          <cx:pt idx="5908">0</cx:pt>
          <cx:pt idx="5909">0</cx:pt>
          <cx:pt idx="5910">0</cx:pt>
          <cx:pt idx="5911">0</cx:pt>
          <cx:pt idx="5912">0</cx:pt>
          <cx:pt idx="5913">0</cx:pt>
          <cx:pt idx="5914">0</cx:pt>
          <cx:pt idx="5915">0</cx:pt>
          <cx:pt idx="5916">0</cx:pt>
          <cx:pt idx="5917">0</cx:pt>
          <cx:pt idx="5918">0</cx:pt>
          <cx:pt idx="5919">0</cx:pt>
          <cx:pt idx="5920">0</cx:pt>
          <cx:pt idx="5921">0</cx:pt>
          <cx:pt idx="5922">0</cx:pt>
          <cx:pt idx="5923">0</cx:pt>
          <cx:pt idx="5924">0</cx:pt>
          <cx:pt idx="5925">0</cx:pt>
          <cx:pt idx="5926">0</cx:pt>
          <cx:pt idx="5927">0</cx:pt>
          <cx:pt idx="5928">0</cx:pt>
          <cx:pt idx="5929">0</cx:pt>
          <cx:pt idx="5930">0</cx:pt>
          <cx:pt idx="5931">0</cx:pt>
          <cx:pt idx="5932">0</cx:pt>
          <cx:pt idx="5933">0</cx:pt>
          <cx:pt idx="5934">0</cx:pt>
          <cx:pt idx="5935">0</cx:pt>
          <cx:pt idx="5936">0</cx:pt>
          <cx:pt idx="5937">0</cx:pt>
          <cx:pt idx="5938">0</cx:pt>
          <cx:pt idx="5939">0</cx:pt>
          <cx:pt idx="5940">0</cx:pt>
          <cx:pt idx="5941">0</cx:pt>
          <cx:pt idx="5942">0</cx:pt>
          <cx:pt idx="5943">0</cx:pt>
          <cx:pt idx="5944">0</cx:pt>
          <cx:pt idx="5945">0</cx:pt>
          <cx:pt idx="5946">0</cx:pt>
          <cx:pt idx="5947">0</cx:pt>
          <cx:pt idx="5948">0</cx:pt>
          <cx:pt idx="5949">0</cx:pt>
          <cx:pt idx="5950">0</cx:pt>
          <cx:pt idx="5951">0</cx:pt>
          <cx:pt idx="5952">0</cx:pt>
          <cx:pt idx="5953">0</cx:pt>
          <cx:pt idx="5954">0</cx:pt>
          <cx:pt idx="5955">0</cx:pt>
          <cx:pt idx="5956">0</cx:pt>
          <cx:pt idx="5957">0</cx:pt>
          <cx:pt idx="5958">0</cx:pt>
          <cx:pt idx="5959">0</cx:pt>
          <cx:pt idx="5960">0</cx:pt>
          <cx:pt idx="5961">0</cx:pt>
          <cx:pt idx="5962">0</cx:pt>
          <cx:pt idx="5963">0</cx:pt>
          <cx:pt idx="5964">0</cx:pt>
          <cx:pt idx="5965">0</cx:pt>
          <cx:pt idx="5966">0</cx:pt>
          <cx:pt idx="5967">0</cx:pt>
          <cx:pt idx="5968">0</cx:pt>
          <cx:pt idx="5969">0</cx:pt>
          <cx:pt idx="5970">0</cx:pt>
          <cx:pt idx="5971">0</cx:pt>
          <cx:pt idx="5972">0</cx:pt>
          <cx:pt idx="5973">0</cx:pt>
          <cx:pt idx="5974">0</cx:pt>
          <cx:pt idx="5975">0</cx:pt>
          <cx:pt idx="5976">0</cx:pt>
          <cx:pt idx="5977">0</cx:pt>
          <cx:pt idx="5978">0</cx:pt>
          <cx:pt idx="5979">0</cx:pt>
          <cx:pt idx="5980">0</cx:pt>
          <cx:pt idx="5981">0</cx:pt>
          <cx:pt idx="5982">0</cx:pt>
          <cx:pt idx="5983">0</cx:pt>
          <cx:pt idx="5984">0</cx:pt>
          <cx:pt idx="5985">0</cx:pt>
          <cx:pt idx="5986">0</cx:pt>
          <cx:pt idx="5987">0</cx:pt>
          <cx:pt idx="5988">0</cx:pt>
          <cx:pt idx="5989">0</cx:pt>
          <cx:pt idx="5990">0</cx:pt>
          <cx:pt idx="5991">0</cx:pt>
          <cx:pt idx="5992">0</cx:pt>
          <cx:pt idx="5993">0</cx:pt>
          <cx:pt idx="5994">0</cx:pt>
          <cx:pt idx="5995">0</cx:pt>
          <cx:pt idx="5996">0</cx:pt>
          <cx:pt idx="5997">0</cx:pt>
          <cx:pt idx="5998">0</cx:pt>
          <cx:pt idx="5999">0</cx:pt>
          <cx:pt idx="6000">0</cx:pt>
          <cx:pt idx="6001">0</cx:pt>
          <cx:pt idx="6002">0</cx:pt>
          <cx:pt idx="6003">0</cx:pt>
          <cx:pt idx="6004">0</cx:pt>
          <cx:pt idx="6005">0</cx:pt>
          <cx:pt idx="6006">0</cx:pt>
          <cx:pt idx="6007">0</cx:pt>
          <cx:pt idx="6008">0</cx:pt>
          <cx:pt idx="6009">0</cx:pt>
          <cx:pt idx="6010">0</cx:pt>
          <cx:pt idx="6011">0</cx:pt>
          <cx:pt idx="6012">0</cx:pt>
          <cx:pt idx="6013">0</cx:pt>
          <cx:pt idx="6014">0</cx:pt>
          <cx:pt idx="6015">0</cx:pt>
          <cx:pt idx="6016">0</cx:pt>
          <cx:pt idx="6017">0</cx:pt>
          <cx:pt idx="6018">0</cx:pt>
          <cx:pt idx="6019">0</cx:pt>
          <cx:pt idx="6020">0</cx:pt>
          <cx:pt idx="6021">0</cx:pt>
          <cx:pt idx="6022">0</cx:pt>
          <cx:pt idx="6023">0</cx:pt>
          <cx:pt idx="6024">0</cx:pt>
          <cx:pt idx="6025">0</cx:pt>
          <cx:pt idx="6026">0</cx:pt>
          <cx:pt idx="6027">0</cx:pt>
          <cx:pt idx="6028">0</cx:pt>
          <cx:pt idx="6029">0</cx:pt>
          <cx:pt idx="6030">0</cx:pt>
          <cx:pt idx="6031">0</cx:pt>
          <cx:pt idx="6032">0</cx:pt>
          <cx:pt idx="6033">0</cx:pt>
          <cx:pt idx="6034">0</cx:pt>
          <cx:pt idx="6035">0</cx:pt>
          <cx:pt idx="6036">0</cx:pt>
          <cx:pt idx="6037">0</cx:pt>
          <cx:pt idx="6038">0</cx:pt>
          <cx:pt idx="6039">0</cx:pt>
          <cx:pt idx="6040">0</cx:pt>
          <cx:pt idx="6041">0</cx:pt>
          <cx:pt idx="6042">0</cx:pt>
          <cx:pt idx="6043">0</cx:pt>
          <cx:pt idx="6044">0</cx:pt>
          <cx:pt idx="6045">0</cx:pt>
          <cx:pt idx="6046">0</cx:pt>
          <cx:pt idx="6047">0</cx:pt>
          <cx:pt idx="6048">0</cx:pt>
          <cx:pt idx="6049">0</cx:pt>
          <cx:pt idx="6050">0</cx:pt>
          <cx:pt idx="6051">0</cx:pt>
          <cx:pt idx="6052">0</cx:pt>
          <cx:pt idx="6053">0</cx:pt>
          <cx:pt idx="6054">0</cx:pt>
          <cx:pt idx="6055">0</cx:pt>
          <cx:pt idx="6056">0</cx:pt>
          <cx:pt idx="6057">0</cx:pt>
          <cx:pt idx="6058">0</cx:pt>
          <cx:pt idx="6059">0</cx:pt>
          <cx:pt idx="6060">0</cx:pt>
          <cx:pt idx="6061">0</cx:pt>
          <cx:pt idx="6062">0</cx:pt>
          <cx:pt idx="6063">0</cx:pt>
          <cx:pt idx="6064">0</cx:pt>
          <cx:pt idx="6065">0</cx:pt>
          <cx:pt idx="6066">0</cx:pt>
          <cx:pt idx="6067">0</cx:pt>
          <cx:pt idx="6068">0</cx:pt>
          <cx:pt idx="6069">0</cx:pt>
          <cx:pt idx="6070">0</cx:pt>
          <cx:pt idx="6071">0</cx:pt>
          <cx:pt idx="6072">0</cx:pt>
          <cx:pt idx="6073">0</cx:pt>
          <cx:pt idx="6074">0</cx:pt>
          <cx:pt idx="6075">0</cx:pt>
          <cx:pt idx="6076">0</cx:pt>
          <cx:pt idx="6077">0</cx:pt>
          <cx:pt idx="6078">0</cx:pt>
          <cx:pt idx="6079">0</cx:pt>
          <cx:pt idx="6080">0</cx:pt>
          <cx:pt idx="6081">0</cx:pt>
          <cx:pt idx="6082">0</cx:pt>
          <cx:pt idx="6083">0</cx:pt>
          <cx:pt idx="6084">0</cx:pt>
          <cx:pt idx="6085">0</cx:pt>
          <cx:pt idx="6086">0</cx:pt>
          <cx:pt idx="6087">0</cx:pt>
          <cx:pt idx="6088">0</cx:pt>
          <cx:pt idx="6089">0</cx:pt>
          <cx:pt idx="6090">0</cx:pt>
          <cx:pt idx="6091">0</cx:pt>
          <cx:pt idx="6092">0</cx:pt>
          <cx:pt idx="6093">0</cx:pt>
          <cx:pt idx="6094">0</cx:pt>
          <cx:pt idx="6095">0</cx:pt>
          <cx:pt idx="6096">0</cx:pt>
          <cx:pt idx="6097">0</cx:pt>
          <cx:pt idx="6098">0</cx:pt>
          <cx:pt idx="6099">0</cx:pt>
          <cx:pt idx="6100">0</cx:pt>
          <cx:pt idx="6101">0</cx:pt>
          <cx:pt idx="6102">0</cx:pt>
          <cx:pt idx="6103">0</cx:pt>
          <cx:pt idx="6104">0</cx:pt>
          <cx:pt idx="6105">0</cx:pt>
          <cx:pt idx="6106">0</cx:pt>
          <cx:pt idx="6107">0</cx:pt>
          <cx:pt idx="6108">0</cx:pt>
          <cx:pt idx="6109">0</cx:pt>
          <cx:pt idx="6110">0</cx:pt>
          <cx:pt idx="6111">0</cx:pt>
          <cx:pt idx="6112">0</cx:pt>
          <cx:pt idx="6113">0</cx:pt>
          <cx:pt idx="6114">0</cx:pt>
          <cx:pt idx="6115">0</cx:pt>
          <cx:pt idx="6116">0</cx:pt>
          <cx:pt idx="6117">0</cx:pt>
          <cx:pt idx="6118">0</cx:pt>
          <cx:pt idx="6119">0</cx:pt>
          <cx:pt idx="6120">0</cx:pt>
          <cx:pt idx="6121">0</cx:pt>
          <cx:pt idx="6122">0</cx:pt>
          <cx:pt idx="6123">0</cx:pt>
          <cx:pt idx="6124">0</cx:pt>
          <cx:pt idx="6125">0</cx:pt>
          <cx:pt idx="6126">0</cx:pt>
          <cx:pt idx="6127">0</cx:pt>
          <cx:pt idx="6128">0</cx:pt>
          <cx:pt idx="6129">0</cx:pt>
          <cx:pt idx="6130">0</cx:pt>
          <cx:pt idx="6131">0</cx:pt>
          <cx:pt idx="6132">0</cx:pt>
          <cx:pt idx="6133">0</cx:pt>
          <cx:pt idx="6134">0</cx:pt>
          <cx:pt idx="6135">0</cx:pt>
          <cx:pt idx="6136">0</cx:pt>
          <cx:pt idx="6137">0</cx:pt>
          <cx:pt idx="6138">0</cx:pt>
          <cx:pt idx="6139">0</cx:pt>
          <cx:pt idx="6140">0</cx:pt>
          <cx:pt idx="6141">0</cx:pt>
          <cx:pt idx="6142">0</cx:pt>
          <cx:pt idx="6143">0</cx:pt>
          <cx:pt idx="6144">0</cx:pt>
          <cx:pt idx="6145">0</cx:pt>
          <cx:pt idx="6146">0</cx:pt>
          <cx:pt idx="6147">0</cx:pt>
          <cx:pt idx="6148">0</cx:pt>
          <cx:pt idx="6149">0</cx:pt>
          <cx:pt idx="6150">0</cx:pt>
          <cx:pt idx="6151">0</cx:pt>
          <cx:pt idx="6152">0</cx:pt>
          <cx:pt idx="6153">0</cx:pt>
          <cx:pt idx="6154">0</cx:pt>
          <cx:pt idx="6155">0</cx:pt>
          <cx:pt idx="6156">0</cx:pt>
          <cx:pt idx="6157">0</cx:pt>
          <cx:pt idx="6158">0</cx:pt>
          <cx:pt idx="6159">0</cx:pt>
          <cx:pt idx="6160">0</cx:pt>
          <cx:pt idx="6161">0</cx:pt>
          <cx:pt idx="6162">0</cx:pt>
          <cx:pt idx="6163">0</cx:pt>
          <cx:pt idx="6164">0</cx:pt>
          <cx:pt idx="6165">0</cx:pt>
          <cx:pt idx="6166">0</cx:pt>
          <cx:pt idx="6167">0</cx:pt>
          <cx:pt idx="6168">0</cx:pt>
          <cx:pt idx="6169">0</cx:pt>
          <cx:pt idx="6170">0</cx:pt>
          <cx:pt idx="6171">0</cx:pt>
          <cx:pt idx="6172">0</cx:pt>
          <cx:pt idx="6173">0</cx:pt>
          <cx:pt idx="6174">0</cx:pt>
          <cx:pt idx="6175">0</cx:pt>
          <cx:pt idx="6176">0</cx:pt>
          <cx:pt idx="6177">0</cx:pt>
          <cx:pt idx="6178">0</cx:pt>
          <cx:pt idx="6179">0</cx:pt>
          <cx:pt idx="6180">0</cx:pt>
          <cx:pt idx="6181">0</cx:pt>
          <cx:pt idx="6182">0</cx:pt>
          <cx:pt idx="6183">0</cx:pt>
          <cx:pt idx="6184">0</cx:pt>
          <cx:pt idx="6185">0</cx:pt>
          <cx:pt idx="6186">0</cx:pt>
          <cx:pt idx="6187">0</cx:pt>
          <cx:pt idx="6188">0</cx:pt>
          <cx:pt idx="6189">0</cx:pt>
          <cx:pt idx="6190">0</cx:pt>
          <cx:pt idx="6191">0</cx:pt>
          <cx:pt idx="6192">0</cx:pt>
          <cx:pt idx="6193">0</cx:pt>
          <cx:pt idx="6194">0</cx:pt>
          <cx:pt idx="6195">0</cx:pt>
          <cx:pt idx="6196">0</cx:pt>
          <cx:pt idx="6197">0</cx:pt>
          <cx:pt idx="6198">0</cx:pt>
          <cx:pt idx="6199">0</cx:pt>
          <cx:pt idx="6200">0</cx:pt>
          <cx:pt idx="6201">0</cx:pt>
          <cx:pt idx="6202">0</cx:pt>
          <cx:pt idx="6203">0</cx:pt>
          <cx:pt idx="6204">0</cx:pt>
          <cx:pt idx="6205">0</cx:pt>
          <cx:pt idx="6206">0</cx:pt>
          <cx:pt idx="6207">0</cx:pt>
          <cx:pt idx="6208">0</cx:pt>
          <cx:pt idx="6209">0</cx:pt>
          <cx:pt idx="6210">0</cx:pt>
          <cx:pt idx="6211">0</cx:pt>
          <cx:pt idx="6212">0</cx:pt>
          <cx:pt idx="6213">0</cx:pt>
          <cx:pt idx="6214">0</cx:pt>
          <cx:pt idx="6215">0</cx:pt>
          <cx:pt idx="6216">0</cx:pt>
          <cx:pt idx="6217">0</cx:pt>
          <cx:pt idx="6218">0</cx:pt>
          <cx:pt idx="6219">0</cx:pt>
          <cx:pt idx="6220">0</cx:pt>
          <cx:pt idx="6221">0</cx:pt>
          <cx:pt idx="6222">0</cx:pt>
          <cx:pt idx="6223">0</cx:pt>
          <cx:pt idx="6224">0</cx:pt>
          <cx:pt idx="6225">0</cx:pt>
          <cx:pt idx="6226">0</cx:pt>
          <cx:pt idx="6227">0</cx:pt>
          <cx:pt idx="6228">0</cx:pt>
          <cx:pt idx="6229">0</cx:pt>
          <cx:pt idx="6230">0</cx:pt>
          <cx:pt idx="6231">0</cx:pt>
          <cx:pt idx="6232">0</cx:pt>
          <cx:pt idx="6233">0</cx:pt>
          <cx:pt idx="6234">0</cx:pt>
          <cx:pt idx="6235">0</cx:pt>
          <cx:pt idx="6236">0</cx:pt>
          <cx:pt idx="6237">0</cx:pt>
          <cx:pt idx="6238">0</cx:pt>
          <cx:pt idx="6239">0</cx:pt>
          <cx:pt idx="6240">0</cx:pt>
          <cx:pt idx="6241">0</cx:pt>
          <cx:pt idx="6242">0</cx:pt>
          <cx:pt idx="6243">0</cx:pt>
          <cx:pt idx="6244">0</cx:pt>
          <cx:pt idx="6245">0</cx:pt>
          <cx:pt idx="6246">0</cx:pt>
          <cx:pt idx="6247">0</cx:pt>
          <cx:pt idx="6248">0</cx:pt>
          <cx:pt idx="6249">0</cx:pt>
          <cx:pt idx="6250">0</cx:pt>
          <cx:pt idx="6251">0</cx:pt>
          <cx:pt idx="6252">0</cx:pt>
          <cx:pt idx="6253">0</cx:pt>
          <cx:pt idx="6254">0</cx:pt>
          <cx:pt idx="6255">0</cx:pt>
          <cx:pt idx="6256">0</cx:pt>
          <cx:pt idx="6257">0</cx:pt>
          <cx:pt idx="6258">0</cx:pt>
          <cx:pt idx="6259">0</cx:pt>
          <cx:pt idx="6260">0</cx:pt>
          <cx:pt idx="6261">0</cx:pt>
          <cx:pt idx="6262">0</cx:pt>
          <cx:pt idx="6263">0</cx:pt>
          <cx:pt idx="6264">0</cx:pt>
          <cx:pt idx="6265">0</cx:pt>
          <cx:pt idx="6266">0</cx:pt>
          <cx:pt idx="6267">0</cx:pt>
          <cx:pt idx="6268">0</cx:pt>
          <cx:pt idx="6269">0</cx:pt>
          <cx:pt idx="6270">0</cx:pt>
          <cx:pt idx="6271">0</cx:pt>
          <cx:pt idx="6272">0</cx:pt>
          <cx:pt idx="6273">0</cx:pt>
          <cx:pt idx="6274">0</cx:pt>
          <cx:pt idx="6275">0</cx:pt>
          <cx:pt idx="6276">0</cx:pt>
          <cx:pt idx="6277">0</cx:pt>
          <cx:pt idx="6278">0</cx:pt>
          <cx:pt idx="6279">0</cx:pt>
          <cx:pt idx="6280">0</cx:pt>
          <cx:pt idx="6281">0</cx:pt>
          <cx:pt idx="6282">0</cx:pt>
          <cx:pt idx="6283">0</cx:pt>
          <cx:pt idx="6284">0</cx:pt>
          <cx:pt idx="6285">0</cx:pt>
          <cx:pt idx="6286">0</cx:pt>
          <cx:pt idx="6287">0</cx:pt>
          <cx:pt idx="6288">0</cx:pt>
          <cx:pt idx="6289">0</cx:pt>
          <cx:pt idx="6290">0</cx:pt>
          <cx:pt idx="6291">0</cx:pt>
          <cx:pt idx="6292">0</cx:pt>
          <cx:pt idx="6293">0</cx:pt>
          <cx:pt idx="6294">0</cx:pt>
          <cx:pt idx="6295">0</cx:pt>
          <cx:pt idx="6296">0</cx:pt>
          <cx:pt idx="6297">0</cx:pt>
          <cx:pt idx="6298">0</cx:pt>
          <cx:pt idx="6299">0</cx:pt>
          <cx:pt idx="6300">0</cx:pt>
          <cx:pt idx="6301">0</cx:pt>
          <cx:pt idx="6302">0</cx:pt>
          <cx:pt idx="6303">0</cx:pt>
          <cx:pt idx="6304">0</cx:pt>
          <cx:pt idx="6305">0</cx:pt>
          <cx:pt idx="6306">0</cx:pt>
          <cx:pt idx="6307">0</cx:pt>
          <cx:pt idx="6308">0</cx:pt>
          <cx:pt idx="6309">0</cx:pt>
          <cx:pt idx="6310">0</cx:pt>
          <cx:pt idx="6311">0</cx:pt>
          <cx:pt idx="6312">0</cx:pt>
          <cx:pt idx="6313">0</cx:pt>
          <cx:pt idx="6314">0</cx:pt>
          <cx:pt idx="6315">0</cx:pt>
          <cx:pt idx="6316">0</cx:pt>
          <cx:pt idx="6317">0</cx:pt>
          <cx:pt idx="6318">0</cx:pt>
          <cx:pt idx="6319">0</cx:pt>
          <cx:pt idx="6320">0</cx:pt>
          <cx:pt idx="6321">0</cx:pt>
          <cx:pt idx="6322">0</cx:pt>
          <cx:pt idx="6323">0</cx:pt>
          <cx:pt idx="6324">0</cx:pt>
          <cx:pt idx="6325">0</cx:pt>
          <cx:pt idx="6326">0</cx:pt>
          <cx:pt idx="6327">0</cx:pt>
          <cx:pt idx="6328">0</cx:pt>
          <cx:pt idx="6329">0</cx:pt>
          <cx:pt idx="6330">0</cx:pt>
          <cx:pt idx="6331">0</cx:pt>
          <cx:pt idx="6332">0</cx:pt>
          <cx:pt idx="6333">0</cx:pt>
          <cx:pt idx="6334">0</cx:pt>
          <cx:pt idx="6335">0</cx:pt>
          <cx:pt idx="6336">0</cx:pt>
          <cx:pt idx="6337">0</cx:pt>
          <cx:pt idx="6338">0</cx:pt>
          <cx:pt idx="6339">0</cx:pt>
          <cx:pt idx="6340">0</cx:pt>
          <cx:pt idx="6341">0</cx:pt>
          <cx:pt idx="6342">0</cx:pt>
          <cx:pt idx="6343">0</cx:pt>
          <cx:pt idx="6344">0</cx:pt>
          <cx:pt idx="6345">0</cx:pt>
          <cx:pt idx="6346">0</cx:pt>
          <cx:pt idx="6347">0</cx:pt>
          <cx:pt idx="6348">0</cx:pt>
          <cx:pt idx="6349">0</cx:pt>
          <cx:pt idx="6350">0</cx:pt>
          <cx:pt idx="6351">0</cx:pt>
          <cx:pt idx="6352">0</cx:pt>
          <cx:pt idx="6353">0</cx:pt>
          <cx:pt idx="6354">0</cx:pt>
          <cx:pt idx="6355">0</cx:pt>
          <cx:pt idx="6356">0</cx:pt>
          <cx:pt idx="6357">0</cx:pt>
          <cx:pt idx="6358">0</cx:pt>
          <cx:pt idx="6359">0</cx:pt>
          <cx:pt idx="6360">0</cx:pt>
          <cx:pt idx="6361">0</cx:pt>
          <cx:pt idx="6362">0</cx:pt>
          <cx:pt idx="6363">0</cx:pt>
          <cx:pt idx="6364">0</cx:pt>
          <cx:pt idx="6365">0</cx:pt>
          <cx:pt idx="6366">0</cx:pt>
          <cx:pt idx="6367">0</cx:pt>
          <cx:pt idx="6368">0</cx:pt>
          <cx:pt idx="6369">0</cx:pt>
          <cx:pt idx="6370">0</cx:pt>
          <cx:pt idx="6371">0</cx:pt>
          <cx:pt idx="6372">0</cx:pt>
          <cx:pt idx="6373">0</cx:pt>
          <cx:pt idx="6374">0</cx:pt>
          <cx:pt idx="6375">0</cx:pt>
          <cx:pt idx="6376">0</cx:pt>
          <cx:pt idx="6377">0</cx:pt>
          <cx:pt idx="6378">0</cx:pt>
          <cx:pt idx="6379">0</cx:pt>
          <cx:pt idx="6380">0</cx:pt>
          <cx:pt idx="6381">0</cx:pt>
          <cx:pt idx="6382">0</cx:pt>
          <cx:pt idx="6383">0</cx:pt>
          <cx:pt idx="6384">0</cx:pt>
          <cx:pt idx="6385">0</cx:pt>
          <cx:pt idx="6386">0</cx:pt>
          <cx:pt idx="6387">0</cx:pt>
          <cx:pt idx="6388">0</cx:pt>
          <cx:pt idx="6389">0</cx:pt>
          <cx:pt idx="6390">0</cx:pt>
          <cx:pt idx="6391">0</cx:pt>
          <cx:pt idx="6392">0</cx:pt>
          <cx:pt idx="6393">0</cx:pt>
          <cx:pt idx="6394">0</cx:pt>
          <cx:pt idx="6395">0</cx:pt>
          <cx:pt idx="6396">0</cx:pt>
          <cx:pt idx="6397">0</cx:pt>
          <cx:pt idx="6398">0</cx:pt>
          <cx:pt idx="6399">0</cx:pt>
          <cx:pt idx="6400">0</cx:pt>
          <cx:pt idx="6401">0</cx:pt>
          <cx:pt idx="6402">0</cx:pt>
          <cx:pt idx="6403">0</cx:pt>
          <cx:pt idx="6404">0</cx:pt>
          <cx:pt idx="6405">0</cx:pt>
          <cx:pt idx="6406">0</cx:pt>
          <cx:pt idx="6407">0</cx:pt>
          <cx:pt idx="6408">0</cx:pt>
          <cx:pt idx="6409">0</cx:pt>
          <cx:pt idx="6410">0</cx:pt>
          <cx:pt idx="6411">0</cx:pt>
          <cx:pt idx="6412">0</cx:pt>
          <cx:pt idx="6413">0</cx:pt>
          <cx:pt idx="6414">0</cx:pt>
          <cx:pt idx="6415">0</cx:pt>
          <cx:pt idx="6416">0</cx:pt>
          <cx:pt idx="6417">0</cx:pt>
          <cx:pt idx="6418">0</cx:pt>
          <cx:pt idx="6419">0</cx:pt>
          <cx:pt idx="6420">0</cx:pt>
          <cx:pt idx="6421">0</cx:pt>
          <cx:pt idx="6422">0</cx:pt>
          <cx:pt idx="6423">0</cx:pt>
          <cx:pt idx="6424">0</cx:pt>
          <cx:pt idx="6425">0</cx:pt>
          <cx:pt idx="6426">0</cx:pt>
          <cx:pt idx="6427">0</cx:pt>
          <cx:pt idx="6428">0</cx:pt>
          <cx:pt idx="6429">0</cx:pt>
          <cx:pt idx="6430">0</cx:pt>
          <cx:pt idx="6431">0</cx:pt>
          <cx:pt idx="6432">0</cx:pt>
          <cx:pt idx="6433">0</cx:pt>
          <cx:pt idx="6434">0</cx:pt>
          <cx:pt idx="6435">0</cx:pt>
          <cx:pt idx="6436">0</cx:pt>
          <cx:pt idx="6437">0</cx:pt>
          <cx:pt idx="6438">0</cx:pt>
          <cx:pt idx="6439">0</cx:pt>
          <cx:pt idx="6440">0</cx:pt>
          <cx:pt idx="6441">0</cx:pt>
          <cx:pt idx="6442">0</cx:pt>
          <cx:pt idx="6443">0</cx:pt>
          <cx:pt idx="6444">0</cx:pt>
          <cx:pt idx="6445">0</cx:pt>
          <cx:pt idx="6446">0</cx:pt>
          <cx:pt idx="6447">0</cx:pt>
          <cx:pt idx="6448">0</cx:pt>
          <cx:pt idx="6449">0</cx:pt>
          <cx:pt idx="6450">0</cx:pt>
          <cx:pt idx="6451">0</cx:pt>
          <cx:pt idx="6452">0</cx:pt>
          <cx:pt idx="6453">0</cx:pt>
          <cx:pt idx="6454">0</cx:pt>
          <cx:pt idx="6455">0</cx:pt>
          <cx:pt idx="6456">0</cx:pt>
          <cx:pt idx="6457">0</cx:pt>
          <cx:pt idx="6458">0</cx:pt>
          <cx:pt idx="6459">0</cx:pt>
          <cx:pt idx="6460">0</cx:pt>
          <cx:pt idx="6461">0</cx:pt>
          <cx:pt idx="6462">0</cx:pt>
          <cx:pt idx="6463">0</cx:pt>
          <cx:pt idx="6464">0</cx:pt>
          <cx:pt idx="6465">0</cx:pt>
          <cx:pt idx="6466">0</cx:pt>
          <cx:pt idx="6467">0</cx:pt>
          <cx:pt idx="6468">0</cx:pt>
          <cx:pt idx="6469">0</cx:pt>
          <cx:pt idx="6470">0</cx:pt>
          <cx:pt idx="6471">0</cx:pt>
          <cx:pt idx="6472">0</cx:pt>
          <cx:pt idx="6473">0</cx:pt>
          <cx:pt idx="6474">0</cx:pt>
          <cx:pt idx="6475">0</cx:pt>
          <cx:pt idx="6476">0</cx:pt>
          <cx:pt idx="6477">0</cx:pt>
          <cx:pt idx="6478">0</cx:pt>
          <cx:pt idx="6479">0</cx:pt>
          <cx:pt idx="6480">0</cx:pt>
          <cx:pt idx="6481">0</cx:pt>
          <cx:pt idx="6482">0</cx:pt>
          <cx:pt idx="6483">0</cx:pt>
          <cx:pt idx="6484">0</cx:pt>
          <cx:pt idx="6485">0</cx:pt>
          <cx:pt idx="6486">0</cx:pt>
          <cx:pt idx="6487">0</cx:pt>
          <cx:pt idx="6488">0</cx:pt>
          <cx:pt idx="6489">0</cx:pt>
          <cx:pt idx="6490">0</cx:pt>
          <cx:pt idx="6491">0</cx:pt>
          <cx:pt idx="6492">0</cx:pt>
          <cx:pt idx="6493">0</cx:pt>
          <cx:pt idx="6494">0</cx:pt>
          <cx:pt idx="6495">0</cx:pt>
          <cx:pt idx="6496">0</cx:pt>
          <cx:pt idx="6497">0</cx:pt>
          <cx:pt idx="6498">0</cx:pt>
          <cx:pt idx="6499">0</cx:pt>
          <cx:pt idx="6500">0</cx:pt>
          <cx:pt idx="6501">0</cx:pt>
          <cx:pt idx="6502">0</cx:pt>
          <cx:pt idx="6503">0</cx:pt>
          <cx:pt idx="6504">0</cx:pt>
          <cx:pt idx="6505">0</cx:pt>
          <cx:pt idx="6506">0</cx:pt>
          <cx:pt idx="6507">0</cx:pt>
          <cx:pt idx="6508">0</cx:pt>
          <cx:pt idx="6509">0</cx:pt>
          <cx:pt idx="6510">0</cx:pt>
          <cx:pt idx="6511">0</cx:pt>
          <cx:pt idx="6512">0</cx:pt>
          <cx:pt idx="6513">0</cx:pt>
          <cx:pt idx="6514">0</cx:pt>
          <cx:pt idx="6515">0</cx:pt>
          <cx:pt idx="6516">0</cx:pt>
          <cx:pt idx="6517">0</cx:pt>
          <cx:pt idx="6518">0</cx:pt>
          <cx:pt idx="6519">0</cx:pt>
          <cx:pt idx="6520">0</cx:pt>
          <cx:pt idx="6521">0</cx:pt>
          <cx:pt idx="6522">0</cx:pt>
          <cx:pt idx="6523">0</cx:pt>
          <cx:pt idx="6524">0</cx:pt>
          <cx:pt idx="6525">0</cx:pt>
          <cx:pt idx="6526">0</cx:pt>
          <cx:pt idx="6527">0</cx:pt>
          <cx:pt idx="6528">0</cx:pt>
          <cx:pt idx="6529">0</cx:pt>
          <cx:pt idx="6530">0</cx:pt>
          <cx:pt idx="6531">0</cx:pt>
          <cx:pt idx="6532">0</cx:pt>
          <cx:pt idx="6533">0</cx:pt>
          <cx:pt idx="6534">0</cx:pt>
          <cx:pt idx="6535">0</cx:pt>
          <cx:pt idx="6536">0</cx:pt>
          <cx:pt idx="6537">0</cx:pt>
          <cx:pt idx="6538">0</cx:pt>
          <cx:pt idx="6539">0</cx:pt>
          <cx:pt idx="6540">0</cx:pt>
          <cx:pt idx="6541">0</cx:pt>
          <cx:pt idx="6542">0</cx:pt>
          <cx:pt idx="6543">0</cx:pt>
          <cx:pt idx="6544">0</cx:pt>
          <cx:pt idx="6545">0</cx:pt>
          <cx:pt idx="6546">0</cx:pt>
          <cx:pt idx="6547">0</cx:pt>
          <cx:pt idx="6548">0</cx:pt>
          <cx:pt idx="6549">0</cx:pt>
          <cx:pt idx="6550">0</cx:pt>
          <cx:pt idx="6551">0</cx:pt>
          <cx:pt idx="6552">0</cx:pt>
          <cx:pt idx="6553">0</cx:pt>
          <cx:pt idx="6554">0</cx:pt>
          <cx:pt idx="6555">0</cx:pt>
          <cx:pt idx="6556">0</cx:pt>
          <cx:pt idx="6557">0</cx:pt>
          <cx:pt idx="6558">0</cx:pt>
          <cx:pt idx="6559">0</cx:pt>
          <cx:pt idx="6560">0</cx:pt>
          <cx:pt idx="6561">0</cx:pt>
          <cx:pt idx="6562">0</cx:pt>
          <cx:pt idx="6563">0</cx:pt>
          <cx:pt idx="6564">0</cx:pt>
          <cx:pt idx="6565">0</cx:pt>
          <cx:pt idx="6566">0</cx:pt>
          <cx:pt idx="6567">0</cx:pt>
          <cx:pt idx="6568">0</cx:pt>
          <cx:pt idx="6569">0</cx:pt>
          <cx:pt idx="6570">0</cx:pt>
          <cx:pt idx="6571">0</cx:pt>
          <cx:pt idx="6572">0</cx:pt>
          <cx:pt idx="6573">0</cx:pt>
          <cx:pt idx="6574">0</cx:pt>
          <cx:pt idx="6575">0</cx:pt>
          <cx:pt idx="6576">0</cx:pt>
          <cx:pt idx="6577">0</cx:pt>
          <cx:pt idx="6578">0</cx:pt>
          <cx:pt idx="6579">0</cx:pt>
          <cx:pt idx="6580">0</cx:pt>
          <cx:pt idx="6581">0</cx:pt>
          <cx:pt idx="6582">0</cx:pt>
          <cx:pt idx="6583">0</cx:pt>
          <cx:pt idx="6584">0</cx:pt>
          <cx:pt idx="6585">0</cx:pt>
          <cx:pt idx="6586">0</cx:pt>
          <cx:pt idx="6587">0</cx:pt>
          <cx:pt idx="6588">0</cx:pt>
          <cx:pt idx="6589">0</cx:pt>
          <cx:pt idx="6590">0</cx:pt>
          <cx:pt idx="6591">0</cx:pt>
          <cx:pt idx="6592">0</cx:pt>
          <cx:pt idx="6593">0</cx:pt>
          <cx:pt idx="6594">0</cx:pt>
          <cx:pt idx="6595">0</cx:pt>
          <cx:pt idx="6596">0</cx:pt>
          <cx:pt idx="6597">0</cx:pt>
          <cx:pt idx="6598">0</cx:pt>
          <cx:pt idx="6599">0</cx:pt>
          <cx:pt idx="6600">0</cx:pt>
          <cx:pt idx="6601">0</cx:pt>
          <cx:pt idx="6602">0</cx:pt>
          <cx:pt idx="6603">0</cx:pt>
          <cx:pt idx="6604">0</cx:pt>
          <cx:pt idx="6605">0</cx:pt>
          <cx:pt idx="6606">0</cx:pt>
          <cx:pt idx="6607">0</cx:pt>
          <cx:pt idx="6608">0</cx:pt>
          <cx:pt idx="6609">0</cx:pt>
          <cx:pt idx="6610">0</cx:pt>
          <cx:pt idx="6611">0</cx:pt>
          <cx:pt idx="6612">0</cx:pt>
          <cx:pt idx="6613">0</cx:pt>
          <cx:pt idx="6614">0</cx:pt>
          <cx:pt idx="6615">0</cx:pt>
          <cx:pt idx="6616">0</cx:pt>
          <cx:pt idx="6617">0</cx:pt>
          <cx:pt idx="6618">0</cx:pt>
          <cx:pt idx="6619">0</cx:pt>
          <cx:pt idx="6620">0</cx:pt>
          <cx:pt idx="6621">0</cx:pt>
          <cx:pt idx="6622">0</cx:pt>
          <cx:pt idx="6623">0</cx:pt>
          <cx:pt idx="6624">0</cx:pt>
          <cx:pt idx="6625">0</cx:pt>
          <cx:pt idx="6626">0</cx:pt>
          <cx:pt idx="6627">0</cx:pt>
          <cx:pt idx="6628">0</cx:pt>
          <cx:pt idx="6629">0</cx:pt>
          <cx:pt idx="6630">0</cx:pt>
          <cx:pt idx="6631">0</cx:pt>
          <cx:pt idx="6632">0</cx:pt>
          <cx:pt idx="6633">0</cx:pt>
          <cx:pt idx="6634">0</cx:pt>
          <cx:pt idx="6635">0</cx:pt>
          <cx:pt idx="6636">0</cx:pt>
          <cx:pt idx="6637">0</cx:pt>
          <cx:pt idx="6638">0</cx:pt>
          <cx:pt idx="6639">0</cx:pt>
          <cx:pt idx="6640">0</cx:pt>
          <cx:pt idx="6641">0</cx:pt>
          <cx:pt idx="6642">0</cx:pt>
          <cx:pt idx="6643">0</cx:pt>
          <cx:pt idx="6644">0</cx:pt>
          <cx:pt idx="6645">0</cx:pt>
          <cx:pt idx="6646">0</cx:pt>
          <cx:pt idx="6647">0</cx:pt>
          <cx:pt idx="6648">0</cx:pt>
          <cx:pt idx="6649">0</cx:pt>
          <cx:pt idx="6650">0</cx:pt>
          <cx:pt idx="6651">0</cx:pt>
          <cx:pt idx="6652">0</cx:pt>
          <cx:pt idx="6653">0</cx:pt>
          <cx:pt idx="6654">0</cx:pt>
          <cx:pt idx="6655">0</cx:pt>
          <cx:pt idx="6656">0</cx:pt>
          <cx:pt idx="6657">0</cx:pt>
          <cx:pt idx="6658">0</cx:pt>
          <cx:pt idx="6659">0</cx:pt>
          <cx:pt idx="6660">0</cx:pt>
          <cx:pt idx="6661">0</cx:pt>
          <cx:pt idx="6662">0</cx:pt>
          <cx:pt idx="6663">0</cx:pt>
          <cx:pt idx="6664">0</cx:pt>
          <cx:pt idx="6665">0</cx:pt>
          <cx:pt idx="6666">0</cx:pt>
          <cx:pt idx="6667">0</cx:pt>
          <cx:pt idx="6668">0</cx:pt>
          <cx:pt idx="6669">0</cx:pt>
          <cx:pt idx="6670">0</cx:pt>
          <cx:pt idx="6671">0</cx:pt>
          <cx:pt idx="6672">0</cx:pt>
          <cx:pt idx="6673">0</cx:pt>
          <cx:pt idx="6674">0</cx:pt>
          <cx:pt idx="6675">0</cx:pt>
          <cx:pt idx="6676">0</cx:pt>
          <cx:pt idx="6677">0</cx:pt>
          <cx:pt idx="6678">0</cx:pt>
          <cx:pt idx="6679">0</cx:pt>
          <cx:pt idx="6680">0</cx:pt>
          <cx:pt idx="6681">0</cx:pt>
          <cx:pt idx="6682">0</cx:pt>
          <cx:pt idx="6683">0</cx:pt>
          <cx:pt idx="6684">0</cx:pt>
          <cx:pt idx="6685">0</cx:pt>
          <cx:pt idx="6686">0</cx:pt>
          <cx:pt idx="6687">0</cx:pt>
          <cx:pt idx="6688">0</cx:pt>
          <cx:pt idx="6689">0</cx:pt>
          <cx:pt idx="6690">0</cx:pt>
          <cx:pt idx="6691">0</cx:pt>
          <cx:pt idx="6692">0</cx:pt>
          <cx:pt idx="6693">0</cx:pt>
          <cx:pt idx="6694">0</cx:pt>
          <cx:pt idx="6695">0</cx:pt>
          <cx:pt idx="6696">0</cx:pt>
          <cx:pt idx="6697">0</cx:pt>
          <cx:pt idx="6698">0</cx:pt>
          <cx:pt idx="6699">0</cx:pt>
          <cx:pt idx="6700">0</cx:pt>
          <cx:pt idx="6701">0</cx:pt>
          <cx:pt idx="6702">0</cx:pt>
          <cx:pt idx="6703">0</cx:pt>
          <cx:pt idx="6704">0</cx:pt>
          <cx:pt idx="6705">0</cx:pt>
          <cx:pt idx="6706">0</cx:pt>
          <cx:pt idx="6707">0</cx:pt>
          <cx:pt idx="6708">0</cx:pt>
          <cx:pt idx="6709">0</cx:pt>
          <cx:pt idx="6710">0</cx:pt>
          <cx:pt idx="6711">0</cx:pt>
          <cx:pt idx="6712">0</cx:pt>
          <cx:pt idx="6713">0</cx:pt>
          <cx:pt idx="6714">0</cx:pt>
          <cx:pt idx="6715">0</cx:pt>
          <cx:pt idx="6716">0</cx:pt>
          <cx:pt idx="6717">0</cx:pt>
          <cx:pt idx="6718">0</cx:pt>
          <cx:pt idx="6719">0</cx:pt>
          <cx:pt idx="6720">0</cx:pt>
          <cx:pt idx="6721">0</cx:pt>
          <cx:pt idx="6722">0</cx:pt>
          <cx:pt idx="6723">0</cx:pt>
          <cx:pt idx="6724">0</cx:pt>
          <cx:pt idx="6725">0</cx:pt>
          <cx:pt idx="6726">0</cx:pt>
          <cx:pt idx="6727">0</cx:pt>
          <cx:pt idx="6728">0</cx:pt>
          <cx:pt idx="6729">0</cx:pt>
          <cx:pt idx="6730">0</cx:pt>
          <cx:pt idx="6731">0</cx:pt>
          <cx:pt idx="6732">0</cx:pt>
          <cx:pt idx="6733">0</cx:pt>
          <cx:pt idx="6734">0</cx:pt>
          <cx:pt idx="6735">0</cx:pt>
          <cx:pt idx="6736">0</cx:pt>
          <cx:pt idx="6737">0</cx:pt>
          <cx:pt idx="6738">0</cx:pt>
          <cx:pt idx="6739">0</cx:pt>
          <cx:pt idx="6740">0</cx:pt>
          <cx:pt idx="6741">0</cx:pt>
          <cx:pt idx="6742">0</cx:pt>
          <cx:pt idx="6743">0</cx:pt>
          <cx:pt idx="6744">0</cx:pt>
          <cx:pt idx="6745">0</cx:pt>
          <cx:pt idx="6746">0</cx:pt>
          <cx:pt idx="6747">0</cx:pt>
          <cx:pt idx="6748">0</cx:pt>
          <cx:pt idx="6749">0</cx:pt>
          <cx:pt idx="6750">0</cx:pt>
          <cx:pt idx="6751">0</cx:pt>
          <cx:pt idx="6752">0</cx:pt>
          <cx:pt idx="6753">0</cx:pt>
          <cx:pt idx="6754">0</cx:pt>
          <cx:pt idx="6755">0</cx:pt>
          <cx:pt idx="6756">0</cx:pt>
          <cx:pt idx="6757">0</cx:pt>
          <cx:pt idx="6758">0</cx:pt>
          <cx:pt idx="6759">0</cx:pt>
          <cx:pt idx="6760">0</cx:pt>
          <cx:pt idx="6761">0</cx:pt>
          <cx:pt idx="6762">0</cx:pt>
          <cx:pt idx="6763">0</cx:pt>
          <cx:pt idx="6764">0</cx:pt>
          <cx:pt idx="6765">0</cx:pt>
          <cx:pt idx="6766">0</cx:pt>
          <cx:pt idx="6767">0</cx:pt>
          <cx:pt idx="6768">0</cx:pt>
          <cx:pt idx="6769">0</cx:pt>
          <cx:pt idx="6770">0</cx:pt>
          <cx:pt idx="6771">0</cx:pt>
          <cx:pt idx="6772">0</cx:pt>
          <cx:pt idx="6773">0</cx:pt>
          <cx:pt idx="6774">0</cx:pt>
          <cx:pt idx="6775">0</cx:pt>
          <cx:pt idx="6776">0</cx:pt>
          <cx:pt idx="6777">0</cx:pt>
          <cx:pt idx="6778">0</cx:pt>
          <cx:pt idx="6779">0</cx:pt>
          <cx:pt idx="6780">0</cx:pt>
          <cx:pt idx="6781">0</cx:pt>
          <cx:pt idx="6782">0</cx:pt>
          <cx:pt idx="6783">0</cx:pt>
          <cx:pt idx="6784">0</cx:pt>
          <cx:pt idx="6785">0</cx:pt>
          <cx:pt idx="6786">0</cx:pt>
          <cx:pt idx="6787">0</cx:pt>
          <cx:pt idx="6788">0</cx:pt>
          <cx:pt idx="6789">0</cx:pt>
          <cx:pt idx="6790">0</cx:pt>
          <cx:pt idx="6791">0</cx:pt>
          <cx:pt idx="6792">0</cx:pt>
          <cx:pt idx="6793">0</cx:pt>
          <cx:pt idx="6794">0</cx:pt>
          <cx:pt idx="6795">0</cx:pt>
          <cx:pt idx="6796">0</cx:pt>
          <cx:pt idx="6797">0</cx:pt>
          <cx:pt idx="6798">0</cx:pt>
          <cx:pt idx="6799">0</cx:pt>
          <cx:pt idx="6800">0</cx:pt>
          <cx:pt idx="6801">0</cx:pt>
          <cx:pt idx="6802">0</cx:pt>
          <cx:pt idx="6803">0</cx:pt>
          <cx:pt idx="6804">0</cx:pt>
          <cx:pt idx="6805">0</cx:pt>
          <cx:pt idx="6806">0</cx:pt>
          <cx:pt idx="6807">0</cx:pt>
          <cx:pt idx="6808">0</cx:pt>
          <cx:pt idx="6809">0</cx:pt>
          <cx:pt idx="6810">0</cx:pt>
          <cx:pt idx="6811">0</cx:pt>
          <cx:pt idx="6812">0</cx:pt>
          <cx:pt idx="6813">0</cx:pt>
          <cx:pt idx="6814">0</cx:pt>
          <cx:pt idx="6815">0</cx:pt>
          <cx:pt idx="6816">0</cx:pt>
          <cx:pt idx="6817">0</cx:pt>
          <cx:pt idx="6818">0</cx:pt>
          <cx:pt idx="6819">0</cx:pt>
          <cx:pt idx="6820">0</cx:pt>
          <cx:pt idx="6821">0</cx:pt>
          <cx:pt idx="6822">0</cx:pt>
          <cx:pt idx="6823">0</cx:pt>
          <cx:pt idx="6824">0</cx:pt>
          <cx:pt idx="6825">0</cx:pt>
          <cx:pt idx="6826">0</cx:pt>
          <cx:pt idx="6827">0</cx:pt>
          <cx:pt idx="6828">0</cx:pt>
          <cx:pt idx="6829">0</cx:pt>
          <cx:pt idx="6830">0</cx:pt>
          <cx:pt idx="6831">0</cx:pt>
          <cx:pt idx="6832">0</cx:pt>
          <cx:pt idx="6833">0</cx:pt>
          <cx:pt idx="6834">0</cx:pt>
          <cx:pt idx="6835">0</cx:pt>
          <cx:pt idx="6836">0</cx:pt>
          <cx:pt idx="6837">0</cx:pt>
          <cx:pt idx="6838">0</cx:pt>
          <cx:pt idx="6839">0</cx:pt>
          <cx:pt idx="6840">0</cx:pt>
          <cx:pt idx="6841">0</cx:pt>
          <cx:pt idx="6842">0</cx:pt>
          <cx:pt idx="6843">0</cx:pt>
          <cx:pt idx="6844">0</cx:pt>
          <cx:pt idx="6845">0</cx:pt>
          <cx:pt idx="6846">0</cx:pt>
          <cx:pt idx="6847">0</cx:pt>
          <cx:pt idx="6848">0</cx:pt>
          <cx:pt idx="6849">0</cx:pt>
          <cx:pt idx="6850">0</cx:pt>
          <cx:pt idx="6851">0</cx:pt>
          <cx:pt idx="6852">0</cx:pt>
          <cx:pt idx="6853">0</cx:pt>
          <cx:pt idx="6854">0</cx:pt>
          <cx:pt idx="6855">0</cx:pt>
          <cx:pt idx="6856">0</cx:pt>
          <cx:pt idx="6857">0</cx:pt>
          <cx:pt idx="6858">0</cx:pt>
          <cx:pt idx="6859">0</cx:pt>
          <cx:pt idx="6860">0</cx:pt>
          <cx:pt idx="6861">0</cx:pt>
          <cx:pt idx="6862">0</cx:pt>
          <cx:pt idx="6863">0</cx:pt>
          <cx:pt idx="6864">0</cx:pt>
          <cx:pt idx="6865">0</cx:pt>
          <cx:pt idx="6866">0</cx:pt>
          <cx:pt idx="6867">0</cx:pt>
          <cx:pt idx="6868">0</cx:pt>
          <cx:pt idx="6869">0</cx:pt>
          <cx:pt idx="6870">0</cx:pt>
          <cx:pt idx="6871">0</cx:pt>
          <cx:pt idx="6872">0</cx:pt>
          <cx:pt idx="6873">0</cx:pt>
          <cx:pt idx="6874">0</cx:pt>
          <cx:pt idx="6875">0</cx:pt>
          <cx:pt idx="6876">0</cx:pt>
          <cx:pt idx="6877">0</cx:pt>
          <cx:pt idx="6878">0</cx:pt>
          <cx:pt idx="6879">0</cx:pt>
          <cx:pt idx="6880">0</cx:pt>
          <cx:pt idx="6881">0</cx:pt>
          <cx:pt idx="6882">0</cx:pt>
          <cx:pt idx="6883">0</cx:pt>
          <cx:pt idx="6884">0</cx:pt>
          <cx:pt idx="6885">0</cx:pt>
          <cx:pt idx="6886">0</cx:pt>
          <cx:pt idx="6887">0</cx:pt>
          <cx:pt idx="6888">0</cx:pt>
          <cx:pt idx="6889">0</cx:pt>
          <cx:pt idx="6890">0</cx:pt>
          <cx:pt idx="6891">0</cx:pt>
          <cx:pt idx="6892">0</cx:pt>
          <cx:pt idx="6893">0</cx:pt>
          <cx:pt idx="6894">0</cx:pt>
          <cx:pt idx="6895">0</cx:pt>
          <cx:pt idx="6896">0</cx:pt>
          <cx:pt idx="6897">0</cx:pt>
          <cx:pt idx="6898">0</cx:pt>
          <cx:pt idx="6899">0</cx:pt>
          <cx:pt idx="6900">0</cx:pt>
          <cx:pt idx="6901">0</cx:pt>
          <cx:pt idx="6902">0</cx:pt>
          <cx:pt idx="6903">0</cx:pt>
          <cx:pt idx="6904">0</cx:pt>
          <cx:pt idx="6905">0</cx:pt>
          <cx:pt idx="6906">0</cx:pt>
          <cx:pt idx="6907">0</cx:pt>
          <cx:pt idx="6908">0</cx:pt>
          <cx:pt idx="6909">0</cx:pt>
          <cx:pt idx="6910">0</cx:pt>
          <cx:pt idx="6911">0</cx:pt>
          <cx:pt idx="6912">0</cx:pt>
          <cx:pt idx="6913">0</cx:pt>
          <cx:pt idx="6914">0</cx:pt>
          <cx:pt idx="6915">0</cx:pt>
          <cx:pt idx="6916">0</cx:pt>
          <cx:pt idx="6917">0</cx:pt>
          <cx:pt idx="6918">0</cx:pt>
          <cx:pt idx="6919">0</cx:pt>
          <cx:pt idx="6920">0</cx:pt>
          <cx:pt idx="6921">0</cx:pt>
          <cx:pt idx="6922">0</cx:pt>
          <cx:pt idx="6923">0</cx:pt>
          <cx:pt idx="6924">0</cx:pt>
          <cx:pt idx="6925">0</cx:pt>
          <cx:pt idx="6926">0</cx:pt>
          <cx:pt idx="6927">0</cx:pt>
          <cx:pt idx="6928">0</cx:pt>
          <cx:pt idx="6929">0</cx:pt>
          <cx:pt idx="6930">0</cx:pt>
          <cx:pt idx="6931">0</cx:pt>
          <cx:pt idx="6932">0</cx:pt>
        </cx:lvl>
      </cx:numDim>
    </cx:data>
  </cx:chartData>
  <cx:chart>
    <cx:title pos="t" align="ctr" overlay="0">
      <cx:tx>
        <cx:rich>
          <a:bodyPr spcFirstLastPara="1" vertOverflow="ellipsis" horzOverflow="overflow" wrap="square" lIns="0" tIns="0" rIns="0" bIns="0" anchor="ctr" anchorCtr="1"/>
          <a:lstStyle/>
          <a:p>
            <a:pPr rtl="0"/>
            <a:r>
              <a:rPr lang="en-US" sz="1400" b="0" i="0" baseline="0">
                <a:effectLst/>
                <a:latin typeface="+mn-lt"/>
              </a:rPr>
              <a:t>All Variables Plotted - Pump Failure "0"</a:t>
            </a:r>
            <a:endParaRPr lang="en-US" sz="1400">
              <a:effectLst/>
              <a:latin typeface="+mn-lt"/>
            </a:endParaRPr>
          </a:p>
        </cx:rich>
      </cx:tx>
    </cx:title>
    <cx:plotArea>
      <cx:plotAreaRegion>
        <cx:series layoutId="boxWhisker" uniqueId="{A68D0514-A968-4E33-B091-BCC82BBCF47D}">
          <cx:tx>
            <cx:txData>
              <cx:f>'Box Plots'!$A$149:$A$150</cx:f>
              <cx:v>m3/d SURJEK_FLOW_METER_1</cx:v>
            </cx:txData>
          </cx:tx>
          <cx:dataId val="0"/>
          <cx:layoutPr>
            <cx:statistics quartileMethod="exclusive"/>
          </cx:layoutPr>
        </cx:series>
        <cx:series layoutId="boxWhisker" uniqueId="{8655FD11-8916-4820-ABF9-2CE40D35D317}">
          <cx:tx>
            <cx:txData>
              <cx:f>'Box Plots'!$B$149:$B$150</cx:f>
              <cx:v>m3/d SURJEK_FLOW_METER_2</cx:v>
            </cx:txData>
          </cx:tx>
          <cx:dataId val="1"/>
          <cx:layoutPr>
            <cx:statistics quartileMethod="exclusive"/>
          </cx:layoutPr>
        </cx:series>
        <cx:series layoutId="boxWhisker" uniqueId="{A43A402C-5E7F-4EA2-AEED-6303F09F0125}">
          <cx:tx>
            <cx:txData>
              <cx:f>'Box Plots'!$C$149:$C$150</cx:f>
              <cx:v>rpm ROTATIONAL_PUMP_RPM</cx:v>
            </cx:txData>
          </cx:tx>
          <cx:dataId val="2"/>
          <cx:layoutPr>
            <cx:statistics quartileMethod="exclusive"/>
          </cx:layoutPr>
        </cx:series>
        <cx:series layoutId="boxWhisker" uniqueId="{1C682D1B-E51C-4CF2-8925-1FC086ABDDE6}">
          <cx:tx>
            <cx:txData>
              <cx:f>'Box Plots'!$D$149:$D$150</cx:f>
              <cx:v>Newton Meters SURJEK_PUMP_TORQUE</cx:v>
            </cx:txData>
          </cx:tx>
          <cx:dataId val="3"/>
          <cx:layoutPr>
            <cx:statistics quartileMethod="exclusive"/>
          </cx:layoutPr>
        </cx:series>
        <cx:series layoutId="boxWhisker" uniqueId="{240E237B-6C09-4008-8917-2C9D24D77343}">
          <cx:tx>
            <cx:txData>
              <cx:f>'Box Plots'!$E$149:$E$150</cx:f>
              <cx:v>Newton Meters MAXIMUM_DAILY_PUMP_TORQUE</cx:v>
            </cx:txData>
          </cx:tx>
          <cx:dataId val="4"/>
          <cx:layoutPr>
            <cx:statistics quartileMethod="exclusive"/>
          </cx:layoutPr>
        </cx:series>
        <cx:series layoutId="boxWhisker" uniqueId="{5E9922EB-B6E3-4E2D-ABDE-B55057BA32F0}">
          <cx:tx>
            <cx:txData>
              <cx:f>'Box Plots'!$F$149:$F$150</cx:f>
              <cx:v>m3/d SURJEK_AMMONIA_FLOW_RATE</cx:v>
            </cx:txData>
          </cx:tx>
          <cx:dataId val="5"/>
          <cx:layoutPr>
            <cx:statistics quartileMethod="exclusive"/>
          </cx:layoutPr>
        </cx:series>
        <cx:series layoutId="boxWhisker" uniqueId="{3DD59973-CBAB-483B-AB5E-071BF2DB1FD2}">
          <cx:tx>
            <cx:txData>
              <cx:f>'Box Plots'!$G$149:$G$150</cx:f>
              <cx:v>psi SURJEK_TUBE_PRESSURE</cx:v>
            </cx:txData>
          </cx:tx>
          <cx:dataId val="6"/>
          <cx:layoutPr>
            <cx:statistics quartileMethod="exclusive"/>
          </cx:layoutPr>
        </cx:series>
        <cx:series layoutId="boxWhisker" uniqueId="{597EC9CE-DC10-456F-A1E3-E974BD410438}">
          <cx:tx>
            <cx:txData>
              <cx:f>'Box Plots'!$H$149:$H$150</cx:f>
              <cx:v>% SURJEK_ESTIMATED_EFFICIENCY</cx:v>
            </cx:txData>
          </cx:tx>
          <cx:dataId val="7"/>
          <cx:layoutPr>
            <cx:statistics quartileMethod="exclusive"/>
          </cx:layoutPr>
        </cx:series>
        <cx:series layoutId="boxWhisker" uniqueId="{3A47641A-0499-4B33-94B8-0B2708583F45}">
          <cx:tx>
            <cx:txData>
              <cx:f/>
              <cx:v>Pump Failure - 0</cx:v>
            </cx:txData>
          </cx:tx>
          <cx:dataId val="8"/>
          <cx:layoutPr>
            <cx:statistics quartileMethod="exclusive"/>
          </cx:layoutPr>
        </cx:series>
      </cx:plotAreaRegion>
      <cx:axis id="0" hidden="1">
        <cx:catScaling gapWidth="1"/>
        <cx:tickLabels/>
      </cx:axis>
      <cx:axis id="1">
        <cx:valScaling/>
        <cx:majorGridlines/>
        <cx:tickLabels/>
      </cx:axis>
    </cx:plotArea>
  </cx:chart>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Box Plots'!$A$39:$A$103</cx:f>
        <cx:lvl ptCount="65" formatCode="General">
          <cx:pt idx="0">117.563383</cx:pt>
          <cx:pt idx="1">117.39601330000001</cx:pt>
          <cx:pt idx="2">117.366699</cx:pt>
          <cx:pt idx="3">117.23257390000001</cx:pt>
          <cx:pt idx="4">117.071591</cx:pt>
          <cx:pt idx="5">116.8939858</cx:pt>
          <cx:pt idx="6">116.7407</cx:pt>
          <cx:pt idx="7">116.43688880000001</cx:pt>
          <cx:pt idx="8">116.1306039</cx:pt>
          <cx:pt idx="9">115.8097856</cx:pt>
          <cx:pt idx="10">115.5058198</cx:pt>
          <cx:pt idx="11">115.5035007</cx:pt>
          <cx:pt idx="12">115.20200869999999</cx:pt>
          <cx:pt idx="13">114.8907762</cx:pt>
          <cx:pt idx="14">114.5844913</cx:pt>
          <cx:pt idx="15">114.2636729</cx:pt>
          <cx:pt idx="16">113.95738799999999</cx:pt>
          <cx:pt idx="17">113.65589610000001</cx:pt>
          <cx:pt idx="18">113.3398706</cx:pt>
          <cx:pt idx="19">113.2845198</cx:pt>
          <cx:pt idx="20">113.0312666</cx:pt>
          <cx:pt idx="21">112.72730079999999</cx:pt>
          <cx:pt idx="22">112.3921036</cx:pt>
          <cx:pt idx="23">112.1025167</cx:pt>
          <cx:pt idx="24">112.10019749999999</cx:pt>
          <cx:pt idx="25">111.79870560000001</cx:pt>
          <cx:pt idx="26">111.4924206</cx:pt>
          <cx:pt idx="27">111.1691285</cx:pt>
          <cx:pt idx="28">111.1570688</cx:pt>
          <cx:pt idx="29">110.8653174</cx:pt>
          <cx:pt idx="30">110.56135159999999</cx:pt>
          <cx:pt idx="31">110.252593</cx:pt>
          <cx:pt idx="32">109.946308</cx:pt>
          <cx:pt idx="33">109.62548959999999</cx:pt>
          <cx:pt idx="34">109.3216785</cx:pt>
          <cx:pt idx="35">109.3192047</cx:pt>
          <cx:pt idx="36">109.0177128</cx:pt>
          <cx:pt idx="37">108.7016873</cx:pt>
          <cx:pt idx="38">108.3930833</cx:pt>
          <cx:pt idx="39">108.0891175</cx:pt>
          <cx:pt idx="40">107.7682992</cx:pt>
          <cx:pt idx="41">107.7514465</cx:pt>
          <cx:pt idx="42">107.464488</cx:pt>
          <cx:pt idx="43">107.1605223</cx:pt>
          <cx:pt idx="44">106.8542374</cx:pt>
          <cx:pt idx="45">106.53341899999999</cx:pt>
          <cx:pt idx="46">106.22945319999999</cx:pt>
          <cx:pt idx="47">106.2271341</cx:pt>
          <cx:pt idx="48">105.9256421</cx:pt>
          <cx:pt idx="49">105.6144097</cx:pt>
          <cx:pt idx="50">105.3081248</cx:pt>
          <cx:pt idx="51">104.98730639999999</cx:pt>
          <cx:pt idx="52">104.6810215</cx:pt>
          <cx:pt idx="53">104.3795295</cx:pt>
          <cx:pt idx="54">104.0635041</cx:pt>
          <cx:pt idx="55">104.0081533</cx:pt>
          <cx:pt idx="56">103.75490000000001</cx:pt>
          <cx:pt idx="57">103.10654049999999</cx:pt>
          <cx:pt idx="58">102.42223420000001</cx:pt>
          <cx:pt idx="59">102.3915642</cx:pt>
          <cx:pt idx="60">101.7742045</cx:pt>
          <cx:pt idx="61">101.768928</cx:pt>
          <cx:pt idx="62">101.125845</cx:pt>
          <cx:pt idx="63">100.4725387</cx:pt>
          <cx:pt idx="64">99.788232500000007</cx:pt>
        </cx:lvl>
      </cx:numDim>
    </cx:data>
    <cx:data id="1">
      <cx:numDim type="val">
        <cx:f>'Box Plots'!$B$39:$B$103</cx:f>
        <cx:lvl ptCount="65" formatCode="General">
          <cx:pt idx="0">24.433589999999999</cx:pt>
          <cx:pt idx="1">6.3720699999999999</cx:pt>
          <cx:pt idx="2">50.818508219999998</cx:pt>
          <cx:pt idx="3">254.1797</cx:pt>
          <cx:pt idx="4">109.1602</cx:pt>
          <cx:pt idx="5">30.585940000000001</cx:pt>
          <cx:pt idx="6">5.0976559999999997</cx:pt>
          <cx:pt idx="7">108.6328</cx:pt>
          <cx:pt idx="8">251.78469999999999</cx:pt>
          <cx:pt idx="9">84.836429999999993</cx:pt>
          <cx:pt idx="10">25.763214399999999</cx:pt>
          <cx:pt idx="11">25.3125</cx:pt>
          <cx:pt idx="12">7.1411129999999998</cx:pt>
          <cx:pt idx="13">181.01070000000001</cx:pt>
          <cx:pt idx="14">229.81200000000001</cx:pt>
          <cx:pt idx="15">71.433109999999999</cx:pt>
          <cx:pt idx="16">25.708010000000002</cx:pt>
          <cx:pt idx="17">4.240723</cx:pt>
          <cx:pt idx="18">278.26170000000002</cx:pt>
          <cx:pt idx="19">255.3409274</cx:pt>
          <cx:pt idx="20">150.46879999999999</cx:pt>
          <cx:pt idx="21">55.964359999999999</cx:pt>
          <cx:pt idx="22">11.62354</cx:pt>
          <cx:pt idx="23">-7.2100096560000004</cx:pt>
          <cx:pt idx="24">-7.3608399999999996</cx:pt>
          <cx:pt idx="25">303.22269999999997</cx:pt>
          <cx:pt idx="26">127.59520000000001</cx:pt>
          <cx:pt idx="27">41.107104800000002</cx:pt>
          <cx:pt idx="28">37.880859999999998</cx:pt>
          <cx:pt idx="29">5.7788089999999999</cx:pt>
          <cx:pt idx="30">180.70310000000001</cx:pt>
          <cx:pt idx="31">196.98490000000001</cx:pt>
          <cx:pt idx="32">59.633789999999998</cx:pt>
          <cx:pt idx="33">22.52197</cx:pt>
          <cx:pt idx="34">-0.75528887499999997</cx:pt>
          <cx:pt idx="35">-0.9448242</cx:pt>
          <cx:pt idx="36">288.06150000000002</cx:pt>
          <cx:pt idx="37">127.8369</cx:pt>
          <cx:pt idx="38">49.108890000000002</cx:pt>
          <cx:pt idx="39">6.6357419999999996</cx:pt>
          <cx:pt idx="40">2.8780556530000001</cx:pt>
          <cx:pt idx="41">2.6806640000000002</cx:pt>
          <cx:pt idx="42">298.45460000000003</cx:pt>
          <cx:pt idx="43">118.3447</cx:pt>
          <cx:pt idx="44">35.090330000000002</cx:pt>
          <cx:pt idx="45">3.9550779999999999</cx:pt>
          <cx:pt idx="46">-8.3872773120000002</cx:pt>
          <cx:pt idx="47">-8.4814450000000008</cx:pt>
          <cx:pt idx="48">32.871090000000002</cx:pt>
          <cx:pt idx="49">313.98930000000001</cx:pt>
          <cx:pt idx="50">112.6099</cx:pt>
          <cx:pt idx="51">30.036619999999999</cx:pt>
          <cx:pt idx="52">12.031977169999999</cx:pt>
          <cx:pt idx="53">-5.6909179999999999</cx:pt>
          <cx:pt idx="54">-8.9648439999999994</cx:pt>
          <cx:pt idx="55">5.9753902630000004</cx:pt>
          <cx:pt idx="56">74.333260240000001</cx:pt>
          <cx:pt idx="57">156.3794</cx:pt>
          <cx:pt idx="58">292.88578680000001</cx:pt>
          <cx:pt idx="59">299.00389999999999</cx:pt>
          <cx:pt idx="60">114.34201</cx:pt>
          <cx:pt idx="61">112.7637</cx:pt>
          <cx:pt idx="62">30.520019999999999</cx:pt>
          <cx:pt idx="63">8.3056640000000002</cx:pt>
          <cx:pt idx="64">-8.1738280000000003</cx:pt>
        </cx:lvl>
      </cx:numDim>
    </cx:data>
    <cx:data id="2">
      <cx:numDim type="val">
        <cx:f>'Box Plots'!$C$39:$C$103</cx:f>
        <cx:lvl ptCount="65" formatCode="General">
          <cx:pt idx="0">99</cx:pt>
          <cx:pt idx="1">99</cx:pt>
          <cx:pt idx="2">99</cx:pt>
          <cx:pt idx="3">99</cx:pt>
          <cx:pt idx="4">99</cx:pt>
          <cx:pt idx="5">99</cx:pt>
          <cx:pt idx="6">99</cx:pt>
          <cx:pt idx="7">99</cx:pt>
          <cx:pt idx="8">99</cx:pt>
          <cx:pt idx="9">99</cx:pt>
          <cx:pt idx="10">99</cx:pt>
          <cx:pt idx="11">99</cx:pt>
          <cx:pt idx="12">99</cx:pt>
          <cx:pt idx="13">99</cx:pt>
          <cx:pt idx="14">99</cx:pt>
          <cx:pt idx="15">99</cx:pt>
          <cx:pt idx="16">99</cx:pt>
          <cx:pt idx="17">99</cx:pt>
          <cx:pt idx="18">99</cx:pt>
          <cx:pt idx="19">99</cx:pt>
          <cx:pt idx="20">99</cx:pt>
          <cx:pt idx="21">99</cx:pt>
          <cx:pt idx="22">99</cx:pt>
          <cx:pt idx="23">99</cx:pt>
          <cx:pt idx="24">99</cx:pt>
          <cx:pt idx="25">99</cx:pt>
          <cx:pt idx="26">99</cx:pt>
          <cx:pt idx="27">99</cx:pt>
          <cx:pt idx="28">99</cx:pt>
          <cx:pt idx="29">99</cx:pt>
          <cx:pt idx="30">99</cx:pt>
          <cx:pt idx="31">99</cx:pt>
          <cx:pt idx="32">99</cx:pt>
          <cx:pt idx="33">99</cx:pt>
          <cx:pt idx="34">99</cx:pt>
          <cx:pt idx="35">99</cx:pt>
          <cx:pt idx="36">98.566353469999996</cx:pt>
          <cx:pt idx="37">98.111802979999993</cx:pt>
          <cx:pt idx="38">97.667926829999999</cx:pt>
          <cx:pt idx="39">97.230722220000004</cx:pt>
          <cx:pt idx="40">96.769277829999993</cx:pt>
          <cx:pt idx="41">96.745038109999996</cx:pt>
          <cx:pt idx="42">96.332295529999996</cx:pt>
          <cx:pt idx="43">95.895090920000001</cx:pt>
          <cx:pt idx="44">95.45455054</cx:pt>
          <cx:pt idx="45">94.993106150000003</cx:pt>
          <cx:pt idx="46">94.555901489999997</cx:pt>
          <cx:pt idx="47">94.552565779999995</cx:pt>
          <cx:pt idx="48">94.118919239999997</cx:pt>
          <cx:pt idx="49">93.671262600000006</cx:pt>
          <cx:pt idx="50">93.230722220000004</cx:pt>
          <cx:pt idx="51">92.769277829999993</cx:pt>
          <cx:pt idx="52">92.328737450000006</cx:pt>
          <cx:pt idx="53">91.895090920000001</cx:pt>
          <cx:pt idx="54">91.440540380000002</cx:pt>
          <cx:pt idx="55">91.360927369999999</cx:pt>
          <cx:pt idx="56">90.996664289999998</cx:pt>
          <cx:pt idx="57">90.559459619999998</cx:pt>
          <cx:pt idx="58">90.098015230000001</cx:pt>
          <cx:pt idx="59">90.077333640000006</cx:pt>
          <cx:pt idx="60">89.661032989999995</cx:pt>
          <cx:pt idx="61">89.657474859999994</cx:pt>
          <cx:pt idx="62">89.223828319999996</cx:pt>
          <cx:pt idx="63">88.783287939999994</cx:pt>
          <cx:pt idx="64">88.321843560000005</cx:pt>
        </cx:lvl>
      </cx:numDim>
    </cx:data>
    <cx:data id="3">
      <cx:numDim type="val">
        <cx:f>'Box Plots'!$D$39:$D$103</cx:f>
        <cx:lvl ptCount="65" formatCode="General">
          <cx:pt idx="0">603.99189999999999</cx:pt>
          <cx:pt idx="1">751.33579999999995</cx:pt>
          <cx:pt idx="2">675.76049230000001</cx:pt>
          <cx:pt idx="3">329.97160000000002</cx:pt>
          <cx:pt idx="4">454.52629999999999</cx:pt>
          <cx:pt idx="5">629.37440000000004</cx:pt>
          <cx:pt idx="6">746.5421</cx:pt>
          <cx:pt idx="7">604.54190000000006</cx:pt>
          <cx:pt idx="8">353.3895</cx:pt>
          <cx:pt idx="9">481.7946</cx:pt>
          <cx:pt idx="10">647.05212489999997</cx:pt>
          <cx:pt idx="11">648.31299999999999</cx:pt>
          <cx:pt idx="12">790.47019999999998</cx:pt>
          <cx:pt idx="13">500.49759999999998</cx:pt>
          <cx:pt idx="14">356.21850000000001</cx:pt>
          <cx:pt idx="15">511.34210000000002</cx:pt>
          <cx:pt idx="16">652.79219999999998</cx:pt>
          <cx:pt idx="17">789.21310000000005</cx:pt>
          <cx:pt idx="18">368.16320000000002</cx:pt>
          <cx:pt idx="19">375.2527844</cx:pt>
          <cx:pt idx="20">407.69060000000002</cx:pt>
          <cx:pt idx="21">543.79700000000003</cx:pt>
          <cx:pt idx="22">724.06730000000005</cx:pt>
          <cx:pt idx="23">836.87407580000001</cx:pt>
          <cx:pt idx="24">837.77750000000003</cx:pt>
          <cx:pt idx="25">333.66500000000002</cx:pt>
          <cx:pt idx="26">420.49959999999999</cx:pt>
          <cx:pt idx="27">588.90848359999995</cx:pt>
          <cx:pt idx="28">595.19060000000002</cx:pt>
          <cx:pt idx="29">733.10429999999997</cx:pt>
          <cx:pt idx="30">461.0487</cx:pt>
          <cx:pt idx="31">357.55439999999999</cx:pt>
          <cx:pt idx="32">511.10640000000001</cx:pt>
          <cx:pt idx="33">667.25160000000005</cx:pt>
          <cx:pt idx="34">790.25464639999996</cx:pt>
          <cx:pt idx="35">791.25620000000004</cx:pt>
          <cx:pt idx="36">337.12270000000001</cx:pt>
          <cx:pt idx="37">420.57819999999998</cx:pt>
          <cx:pt idx="38">560.29960000000005</cx:pt>
          <cx:pt idx="39">717.78060000000005</cx:pt>
          <cx:pt idx="40">706.28278160000002</cx:pt>
          <cx:pt idx="41">705.67880000000002</cx:pt>
          <cx:pt idx="42">335.94400000000002</cx:pt>
          <cx:pt idx="43">444.9391</cx:pt>
          <cx:pt idx="44">600.69129999999996</cx:pt>
          <cx:pt idx="45">747.72090000000003</cx:pt>
          <cx:pt idx="46">909.46872289999999</cx:pt>
          <cx:pt idx="47">910.70280000000002</cx:pt>
          <cx:pt idx="48">676.68140000000005</cx:pt>
          <cx:pt idx="49">327.2998</cx:pt>
          <cx:pt idx="50">488.71010000000001</cx:pt>
          <cx:pt idx="51">646.66269999999997</cx:pt>
          <cx:pt idx="52">778.36839999999995</cx:pt>
          <cx:pt idx="53">923.59059999999999</cx:pt>
          <cx:pt idx="54">1063.9400000000001</cx:pt>
          <cx:pt idx="55">1090.2266219999999</cx:pt>
          <cx:pt idx="56">1210.499</cx:pt>
          <cx:pt idx="57">672.75229999999999</cx:pt>
          <cx:pt idx="58">387.09561680000002</cx:pt>
          <cx:pt idx="59">374.29270000000002</cx:pt>
          <cx:pt idx="60">495.76586570000001</cx:pt>
          <cx:pt idx="61">496.80410000000001</cx:pt>
          <cx:pt idx="62">649.02009999999996</cx:pt>
          <cx:pt idx="63">792.27760000000001</cx:pt>
          <cx:pt idx="64">937.81410000000005</cx:pt>
        </cx:lvl>
      </cx:numDim>
    </cx:data>
    <cx:data id="4">
      <cx:numDim type="val">
        <cx:f>'Box Plots'!$E$39:$E$103</cx:f>
        <cx:lvl ptCount="65" formatCode="General">
          <cx:pt idx="0">727.5327082</cx:pt>
          <cx:pt idx="1">747.7881304</cx:pt>
          <cx:pt idx="2">751.33579999999995</cx:pt>
          <cx:pt idx="3">757.32145360000004</cx:pt>
          <cx:pt idx="4">764.5056998</cx:pt>
          <cx:pt idx="5">772.43175719999999</cx:pt>
          <cx:pt idx="6">779.27250400000003</cx:pt>
          <cx:pt idx="7">786.4530962</cx:pt>
          <cx:pt idx="8">793.69215559999998</cx:pt>
          <cx:pt idx="9">801.27471449999996</cx:pt>
          <cx:pt idx="10">808.4589598</cx:pt>
          <cx:pt idx="11">808.51377390000005</cx:pt>
          <cx:pt idx="12">815.63955199999998</cx:pt>
          <cx:pt idx="13">822.99554750000004</cx:pt>
          <cx:pt idx="14">830.23460699999998</cx:pt>
          <cx:pt idx="15">837.8171658</cx:pt>
          <cx:pt idx="16">845.05622519999997</cx:pt>
          <cx:pt idx="17">852.18200339999999</cx:pt>
          <cx:pt idx="18">859.65128010000001</cx:pt>
          <cx:pt idx="19">860.95950000000005</cx:pt>
          <cx:pt idx="20">867.66816630000005</cx:pt>
          <cx:pt idx="21">875.72020450000002</cx:pt>
          <cx:pt idx="22">884.59956239999997</cx:pt>
          <cx:pt idx="23">892.27070490000006</cx:pt>
          <cx:pt idx="24">892.33213999999998</cx:pt>
          <cx:pt idx="25">900.31864670000004</cx:pt>
          <cx:pt idx="26">908.43211989999998</cx:pt>
          <cx:pt idx="27">916.99611270000003</cx:pt>
          <cx:pt idx="28">917.31557329999998</cx:pt>
          <cx:pt idx="29">925.04405540000005</cx:pt>
          <cx:pt idx="30">933.09609260000002</cx:pt>
          <cx:pt idx="31">941.27509529999998</cx:pt>
          <cx:pt idx="32">949.38856850000002</cx:pt>
          <cx:pt idx="33">957.88703180000005</cx:pt>
          <cx:pt idx="34">965.93497360000003</cx:pt>
          <cx:pt idx="35">966.00050409999994</cx:pt>
          <cx:pt idx="36">973.98701170000004</cx:pt>
          <cx:pt idx="37">982.35850949999997</cx:pt>
          <cx:pt idx="38">990.53341680000005</cx:pt>
          <cx:pt idx="39">998.58545400000003</cx:pt>
          <cx:pt idx="40">1007.083917</cx:pt>
          <cx:pt idx="41">1007.530342</cx:pt>
          <cx:pt idx="42">1015.13186</cx:pt>
          <cx:pt idx="43">1023.183897</cx:pt>
          <cx:pt idx="44">1031.2973689999999</cx:pt>
          <cx:pt idx="45">1039.7958329999999</cx:pt>
          <cx:pt idx="46">1047.8478709999999</cx:pt>
          <cx:pt idx="47">1047.9093049999999</cx:pt>
          <cx:pt idx="48">1055.8958130000001</cx:pt>
          <cx:pt idx="49">1064.1403459999999</cx:pt>
          <cx:pt idx="50">1072.2538179999999</cx:pt>
          <cx:pt idx="51">1080.752281</cx:pt>
          <cx:pt idx="52">1088.8657539999999</cx:pt>
          <cx:pt idx="53">1096.852261</cx:pt>
          <cx:pt idx="54">1105.2237600000001</cx:pt>
          <cx:pt idx="55">1106.6900000000001</cx:pt>
          <cx:pt idx="56">1116.483148</cx:pt>
          <cx:pt idx="57">1128.2373170000001</cx:pt>
          <cx:pt idx="58">1140.6431669999999</cx:pt>
          <cx:pt idx="59">1141.199188</cx:pt>
          <cx:pt idx="60">1152.3913560000001</cx:pt>
          <cx:pt idx="61">1152.487016</cx:pt>
          <cx:pt idx="62">1164.145526</cx:pt>
          <cx:pt idx="63">1175.9893750000001</cx:pt>
          <cx:pt idx="64">1188.395225</cx:pt>
        </cx:lvl>
      </cx:numDim>
    </cx:data>
    <cx:data id="5">
      <cx:numDim type="val">
        <cx:f>'Box Plots'!$F$39:$F$103</cx:f>
        <cx:lvl ptCount="65"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lvl>
      </cx:numDim>
    </cx:data>
    <cx:data id="6">
      <cx:numDim type="val">
        <cx:f>'Box Plots'!$G$39:$G$103</cx:f>
        <cx:lvl ptCount="65" formatCode="General">
          <cx:pt idx="0">382.23369109999999</cx:pt>
          <cx:pt idx="1">382.18841450000002</cx:pt>
          <cx:pt idx="2">382.18048440000001</cx:pt>
          <cx:pt idx="3">382.14420109999998</cx:pt>
          <cx:pt idx="4">382.10065229999998</cx:pt>
          <cx:pt idx="5">382.05260679999998</cx:pt>
          <cx:pt idx="6">382.0111402</cx:pt>
          <cx:pt idx="7">381.96761350000003</cx:pt>
          <cx:pt idx="8">381.92373240000001</cx:pt>
          <cx:pt idx="9">381.87776919999999</cx:pt>
          <cx:pt idx="10">381.83422030000003</cx:pt>
          <cx:pt idx="11">381.83388810000002</cx:pt>
          <cx:pt idx="12">381.7906936</cx:pt>
          <cx:pt idx="13">381.74610369999999</cx:pt>
          <cx:pt idx="14">381.70222260000003</cx:pt>
          <cx:pt idx="15">381.65625940000001</cx:pt>
          <cx:pt idx="16">381.61237829999999</cx:pt>
          <cx:pt idx="17">381.56918380000002</cx:pt>
          <cx:pt idx="18">381.5239072</cx:pt>
          <cx:pt idx="19">381.51597720000001</cx:pt>
          <cx:pt idx="20">381.47969389999997</cx:pt>
          <cx:pt idx="21">381.43614509999998</cx:pt>
          <cx:pt idx="22">381.3881217</cx:pt>
          <cx:pt idx="23">381.346633</cx:pt>
          <cx:pt idx="24">381.34630069999997</cx:pt>
          <cx:pt idx="25">381.30310630000002</cx:pt>
          <cx:pt idx="26">381.2592252</cx:pt>
          <cx:pt idx="27">381.21290749999997</cx:pt>
          <cx:pt idx="28">381.2111797</cx:pt>
          <cx:pt idx="29">381.1693808</cx:pt>
          <cx:pt idx="30">381.125832</cx:pt>
          <cx:pt idx="31">381.08159649999999</cx:pt>
          <cx:pt idx="32">381.03771540000002</cx:pt>
          <cx:pt idx="33">380.99175209999999</cx:pt>
          <cx:pt idx="34">380.94822540000001</cx:pt>
          <cx:pt idx="35">380.94787100000002</cx:pt>
          <cx:pt idx="36">380.90467660000002</cx:pt>
          <cx:pt idx="37">380.85939999999999</cx:pt>
          <cx:pt idx="38">380.88837640000003</cx:pt>
          <cx:pt idx="39">380.91691730000002</cx:pt>
          <cx:pt idx="40">380.94704050000001</cx:pt>
          <cx:pt idx="41">380.94862289999998</cx:pt>
          <cx:pt idx="42">380.97556689999999</cx:pt>
          <cx:pt idx="43">381.00410770000002</cx:pt>
          <cx:pt idx="44">381.03286639999999</cx:pt>
          <cx:pt idx="45">381.06298959999998</cx:pt>
          <cx:pt idx="46">381.09153049999998</cx:pt>
          <cx:pt idx="47">381.09174819999998</cx:pt>
          <cx:pt idx="48">381.12005679999999</cx:pt>
          <cx:pt idx="49">381.14927999999998</cx:pt>
          <cx:pt idx="50">381.1780387</cx:pt>
          <cx:pt idx="51">381.20816189999999</cx:pt>
          <cx:pt idx="52">381.2369205</cx:pt>
          <cx:pt idx="53">381.2652291</cx:pt>
          <cx:pt idx="54">381.29490229999999</cx:pt>
          <cx:pt idx="55">381.30009949999999</cx:pt>
          <cx:pt idx="56">381.32387870000002</cx:pt>
          <cx:pt idx="57">381.35241960000002</cx:pt>
          <cx:pt idx="58">381.38254289999998</cx:pt>
          <cx:pt idx="59">381.383893</cx:pt>
          <cx:pt idx="60">381.41106919999999</cx:pt>
          <cx:pt idx="61">381.41130149999998</cx:pt>
          <cx:pt idx="62">381.43961009999998</cx:pt>
          <cx:pt idx="63">381.46836869999998</cx:pt>
          <cx:pt idx="64">381.498492</cx:pt>
        </cx:lvl>
      </cx:numDim>
    </cx:data>
    <cx:data id="7">
      <cx:numDim type="val">
        <cx:f>'Box Plots'!$H$39:$H$103</cx:f>
        <cx:lvl ptCount="65" formatCode="General">
          <cx:pt idx="0">0.85096174719999995</cx:pt>
          <cx:pt idx="1">0.85084251960000001</cx:pt>
          <cx:pt idx="2">0.85082163719999993</cx:pt>
          <cx:pt idx="3">0.85072609170000002</cx:pt>
          <cx:pt idx="4">0.85061141379999994</cx:pt>
          <cx:pt idx="5">0.8504848948</cx:pt>
          <cx:pt idx="6">0.85037570000000007</cx:pt>
          <cx:pt idx="7">0.81999889999999998</cx:pt>
          <cx:pt idx="8">0.83763039210000001</cx:pt>
          <cx:pt idx="9">0.85609851329999997</cx:pt>
          <cx:pt idx="10">0.8735965</cx:pt>
          <cx:pt idx="11">0.8733932754</cx:pt>
          <cx:pt idx="12">0.8469742562</cx:pt>
          <cx:pt idx="13">0.81970169999999998</cx:pt>
          <cx:pt idx="14">0.85343027550000006</cx:pt>
          <cx:pt idx="15">0.88875929999999992</cx:pt>
          <cx:pt idx="16">0.86933426260000002</cx:pt>
          <cx:pt idx="17">0.8502132</cx:pt>
          <cx:pt idx="18">0.87063174739999993</cx:pt>
          <cx:pt idx="19">0.87420799059999998</cx:pt>
          <cx:pt idx="20">0.8905708</cx:pt>
          <cx:pt idx="21">0.87756296180000004</cx:pt>
          <cx:pt idx="22">0.86321861200000005</cx:pt>
          <cx:pt idx="23">0.85082610000000003</cx:pt>
          <cx:pt idx="24">0.85091169050000004</cx:pt>
          <cx:pt idx="25">0.86203838250000009</cx:pt>
          <cx:pt idx="26">0.87334196239999995</cx:pt>
          <cx:pt idx="27">0.88527319999999998</cx:pt>
          <cx:pt idx="28">0.88444732790000002</cx:pt>
          <cx:pt idx="29">0.86446759240000004</cx:pt>
          <cx:pt idx="30">0.84365139999999994</cx:pt>
          <cx:pt idx="31">0.88928700000000005</cx:pt>
          <cx:pt idx="32">0.87848345900000002</cx:pt>
          <cx:pt idx="33">0.86716728230000006</cx:pt>
          <cx:pt idx="34">0.85645099999999996</cx:pt>
          <cx:pt idx="35">0.85675241270000002</cx:pt>
          <cx:pt idx="36">0.89348700969999995</cx:pt>
          <cx:pt idx="37">0.93199240000000005</cx:pt>
          <cx:pt idx="38">0.90622981520000001</cx:pt>
          <cx:pt idx="39">0.88085444620000009</cx:pt>
          <cx:pt idx="40">0.85407219999999995</cx:pt>
          <cx:pt idx="41">0.85687493000000003</cx:pt>
          <cx:pt idx="42">0.90459849739999998</cx:pt>
          <cx:pt idx="43">0.95515050000000001</cx:pt>
          <cx:pt idx="44">0.91898728390000006</cx:pt>
          <cx:pt idx="45">0.88110809300000004</cx:pt>
          <cx:pt idx="46">0.8452187000000001</cx:pt>
          <cx:pt idx="47">0.84533201680000003</cx:pt>
          <cx:pt idx="48">0.8600633365</cx:pt>
          <cx:pt idx="49">0.87527059089999992</cx:pt>
          <cx:pt idx="50">0.89023610000000009</cx:pt>
          <cx:pt idx="51">0.87517623979999992</cx:pt>
          <cx:pt idx="52">0.86079861010000003</cx:pt>
          <cx:pt idx="53">0.84664597029999999</cx:pt>
          <cx:pt idx="54">0.83181110000000003</cx:pt>
          <cx:pt idx="55">0.82110967959999992</cx:pt>
          <cx:pt idx="56">0.77214617020000009</cx:pt>
          <cx:pt idx="57">0.71337800000000007</cx:pt>
          <cx:pt idx="58">0.83803749999999999</cx:pt>
          <cx:pt idx="59">0.83915244389999999</cx:pt>
          <cx:pt idx="60">0.86159520000000001</cx:pt>
          <cx:pt idx="61">0.861346528</cx:pt>
          <cx:pt idx="62">0.83103968730000011</cx:pt>
          <cx:pt idx="63">0.80025104709999995</cx:pt>
          <cx:pt idx="64">0.76800146029999994</cx:pt>
        </cx:lvl>
      </cx:numDim>
    </cx:data>
    <cx:data id="8">
      <cx:numDim type="val">
        <cx:f>'Box Plots'!$I$39:$I$103</cx:f>
        <cx:lvl ptCount="65" formatCode="General">
          <cx:pt idx="0">1</cx:pt>
          <cx:pt idx="1">1</cx:pt>
          <cx:pt idx="2">1</cx:pt>
          <cx:pt idx="3">1</cx:pt>
          <cx:pt idx="4">1</cx:pt>
          <cx:pt idx="5">1</cx:pt>
          <cx:pt idx="6">1</cx:pt>
          <cx:pt idx="7">1</cx:pt>
          <cx:pt idx="8">1</cx:pt>
          <cx:pt idx="9">1</cx:pt>
          <cx:pt idx="10">1</cx:pt>
          <cx:pt idx="11">1</cx:pt>
          <cx:pt idx="12">1</cx:pt>
          <cx:pt idx="13">1</cx:pt>
          <cx:pt idx="14">1</cx:pt>
          <cx:pt idx="15">1</cx:pt>
          <cx:pt idx="16">1</cx:pt>
          <cx:pt idx="17">1</cx:pt>
          <cx:pt idx="18">1</cx:pt>
          <cx:pt idx="19">1</cx:pt>
          <cx:pt idx="20">1</cx:pt>
          <cx:pt idx="21">1</cx:pt>
          <cx:pt idx="22">1</cx:pt>
          <cx:pt idx="23">1</cx:pt>
          <cx:pt idx="24">1</cx:pt>
          <cx:pt idx="25">1</cx:pt>
          <cx:pt idx="26">1</cx:pt>
          <cx:pt idx="27">1</cx:pt>
          <cx:pt idx="28">1</cx:pt>
          <cx:pt idx="29">1</cx:pt>
          <cx:pt idx="30">1</cx:pt>
          <cx:pt idx="31">1</cx:pt>
          <cx:pt idx="32">1</cx:pt>
          <cx:pt idx="33">1</cx:pt>
          <cx:pt idx="34">1</cx:pt>
          <cx:pt idx="35">1</cx:pt>
          <cx:pt idx="36">1</cx:pt>
          <cx:pt idx="37">1</cx:pt>
          <cx:pt idx="38">1</cx:pt>
          <cx:pt idx="39">1</cx:pt>
          <cx:pt idx="40">1</cx:pt>
          <cx:pt idx="41">1</cx:pt>
          <cx:pt idx="42">1</cx:pt>
          <cx:pt idx="43">1</cx:pt>
          <cx:pt idx="44">1</cx:pt>
          <cx:pt idx="45">1</cx:pt>
          <cx:pt idx="46">1</cx:pt>
          <cx:pt idx="47">1</cx:pt>
          <cx:pt idx="48">1</cx:pt>
          <cx:pt idx="49">1</cx:pt>
          <cx:pt idx="50">1</cx:pt>
          <cx:pt idx="51">1</cx:pt>
          <cx:pt idx="52">1</cx:pt>
          <cx:pt idx="53">1</cx:pt>
          <cx:pt idx="54">1</cx:pt>
          <cx:pt idx="55">1</cx:pt>
          <cx:pt idx="56">1</cx:pt>
          <cx:pt idx="57">1</cx:pt>
          <cx:pt idx="58">1</cx:pt>
          <cx:pt idx="59">1</cx:pt>
          <cx:pt idx="60">1</cx:pt>
          <cx:pt idx="61">1</cx:pt>
          <cx:pt idx="62">1</cx:pt>
          <cx:pt idx="63">1</cx:pt>
          <cx:pt idx="64">1</cx:pt>
        </cx:lvl>
      </cx:numDim>
    </cx:data>
  </cx:chartData>
  <cx:chart>
    <cx:title pos="t" align="ctr" overlay="0">
      <cx:tx>
        <cx:txData>
          <cx:v>All Variables Plotted - Pump Failure "1"</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All Variables Plotted - Pump Failure "1"</a:t>
          </a:r>
        </a:p>
      </cx:txPr>
    </cx:title>
    <cx:plotArea>
      <cx:plotAreaRegion>
        <cx:series layoutId="boxWhisker" uniqueId="{B508C557-4D5D-4F41-9886-4FC1B6DD872A}">
          <cx:tx>
            <cx:txData>
              <cx:f>'Box Plots'!$A$37:$A$38</cx:f>
              <cx:v>m3/d SURJEK_FLOW_METER_1</cx:v>
            </cx:txData>
          </cx:tx>
          <cx:dataId val="0"/>
          <cx:layoutPr>
            <cx:visibility meanLine="0" meanMarker="1" nonoutliers="0" outliers="1"/>
            <cx:statistics quartileMethod="exclusive"/>
          </cx:layoutPr>
        </cx:series>
        <cx:series layoutId="boxWhisker" uniqueId="{6D1AB4B1-3F88-4392-AA8F-62647D2C8E5F}">
          <cx:tx>
            <cx:txData>
              <cx:f>'Box Plots'!$B$37:$B$38</cx:f>
              <cx:v>m3/d SURJEK_FLOW_METER_2</cx:v>
            </cx:txData>
          </cx:tx>
          <cx:dataId val="1"/>
          <cx:layoutPr>
            <cx:visibility meanLine="0" meanMarker="1" nonoutliers="0" outliers="1"/>
            <cx:statistics quartileMethod="exclusive"/>
          </cx:layoutPr>
        </cx:series>
        <cx:series layoutId="boxWhisker" uniqueId="{804BA176-CD72-4225-9740-E8AE5B0A745B}">
          <cx:tx>
            <cx:txData>
              <cx:f>'Box Plots'!$C$37:$C$38</cx:f>
              <cx:v>rpm ROTATIONAL_PUMP_RPM</cx:v>
            </cx:txData>
          </cx:tx>
          <cx:dataId val="2"/>
          <cx:layoutPr>
            <cx:visibility meanLine="0" meanMarker="1" nonoutliers="0" outliers="1"/>
            <cx:statistics quartileMethod="exclusive"/>
          </cx:layoutPr>
        </cx:series>
        <cx:series layoutId="boxWhisker" uniqueId="{B4F14045-21AB-4839-AF76-C47F51550C90}">
          <cx:tx>
            <cx:txData>
              <cx:f>'Box Plots'!$D$37:$D$38</cx:f>
              <cx:v>Newton Meters SURJEK_PUMP_TORQUE</cx:v>
            </cx:txData>
          </cx:tx>
          <cx:dataId val="3"/>
          <cx:layoutPr>
            <cx:visibility meanLine="0" meanMarker="1" nonoutliers="0" outliers="1"/>
            <cx:statistics quartileMethod="exclusive"/>
          </cx:layoutPr>
        </cx:series>
        <cx:series layoutId="boxWhisker" uniqueId="{8665FEB3-1065-43EB-AC3C-2FA9E016CED4}">
          <cx:tx>
            <cx:txData>
              <cx:f>'Box Plots'!$E$37:$E$38</cx:f>
              <cx:v>Newton Meters MAXIMUM_DAILY_PUMP_TORQUE</cx:v>
            </cx:txData>
          </cx:tx>
          <cx:dataId val="4"/>
          <cx:layoutPr>
            <cx:visibility meanLine="0" meanMarker="1" nonoutliers="0" outliers="1"/>
            <cx:statistics quartileMethod="exclusive"/>
          </cx:layoutPr>
        </cx:series>
        <cx:series layoutId="boxWhisker" uniqueId="{3304AEF2-6A25-4009-A96B-14DE8BFDA315}">
          <cx:tx>
            <cx:txData>
              <cx:f>'Box Plots'!$F$37:$F$38</cx:f>
              <cx:v>m3/d SURJEK_AMMONIA_FLOW_RATE</cx:v>
            </cx:txData>
          </cx:tx>
          <cx:dataId val="5"/>
          <cx:layoutPr>
            <cx:visibility meanLine="0" meanMarker="1" nonoutliers="0" outliers="1"/>
            <cx:statistics quartileMethod="exclusive"/>
          </cx:layoutPr>
        </cx:series>
        <cx:series layoutId="boxWhisker" uniqueId="{5E7F8138-A67D-4480-B968-93A600B669E6}">
          <cx:tx>
            <cx:txData>
              <cx:f>'Box Plots'!$G$37:$G$38</cx:f>
              <cx:v>psi SURJEK_TUBE_PRESSURE</cx:v>
            </cx:txData>
          </cx:tx>
          <cx:dataId val="6"/>
          <cx:layoutPr>
            <cx:visibility meanLine="0" meanMarker="1" nonoutliers="0" outliers="1"/>
            <cx:statistics quartileMethod="exclusive"/>
          </cx:layoutPr>
        </cx:series>
        <cx:series layoutId="boxWhisker" uniqueId="{DEADAE53-4359-42D4-838B-3764BF53CAF0}">
          <cx:tx>
            <cx:txData>
              <cx:f>'Box Plots'!$H$37:$H$38</cx:f>
              <cx:v>% SURJEK_ESTIMATED_EFFICIENCY</cx:v>
            </cx:txData>
          </cx:tx>
          <cx:dataId val="7"/>
          <cx:layoutPr>
            <cx:visibility meanLine="0" meanMarker="1" nonoutliers="0" outliers="1"/>
            <cx:statistics quartileMethod="exclusive"/>
          </cx:layoutPr>
        </cx:series>
        <cx:series layoutId="boxWhisker" uniqueId="{CAC60422-64B9-4B99-84C2-1C578C183E2A}">
          <cx:tx>
            <cx:txData>
              <cx:f/>
              <cx:v>Pump Failure - 1</cx:v>
            </cx:txData>
          </cx:tx>
          <cx:dataId val="8"/>
          <cx:layoutPr>
            <cx:visibility meanLine="0" meanMarker="1" nonoutliers="0" outliers="1"/>
            <cx:statistics quartileMethod="exclusive"/>
          </cx:layoutPr>
        </cx:series>
      </cx:plotAreaRegion>
      <cx:axis id="0" hidden="1">
        <cx:catScaling gapWidth="1"/>
        <cx:tickLabels/>
      </cx:axis>
      <cx:axis id="1">
        <cx:valScaling/>
        <cx:majorGridlines/>
        <cx:tickLabels/>
      </cx:axis>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Reversed" id="25">
  <a:schemeClr val="accent5"/>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0-05-14T04:50:58.645" idx="1">
    <p:pos x="10" y="10"/>
    <p:text>R2 should above 50
This based on rolling standard deviation
The equation has multiple variables
Don't show the trend line</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0-05-14T04:55:14.493" idx="2">
    <p:pos x="10" y="10"/>
    <p:text>This slide you put summary and recommendations
</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png"/></Relationships>
</file>

<file path=ppt/drawings/drawing1.xml><?xml version="1.0" encoding="utf-8"?>
<c:userShapes xmlns:c="http://schemas.openxmlformats.org/drawingml/2006/chart">
  <cdr:relSizeAnchor xmlns:cdr="http://schemas.openxmlformats.org/drawingml/2006/chartDrawing">
    <cdr:from>
      <cdr:x>0.09426</cdr:x>
      <cdr:y>0.57604</cdr:y>
    </cdr:from>
    <cdr:to>
      <cdr:x>0.12661</cdr:x>
      <cdr:y>0.66581</cdr:y>
    </cdr:to>
    <cdr:cxnSp macro="">
      <cdr:nvCxnSpPr>
        <cdr:cNvPr id="3" name="Straight Connector 2">
          <a:extLst xmlns:a="http://schemas.openxmlformats.org/drawingml/2006/main">
            <a:ext uri="{FF2B5EF4-FFF2-40B4-BE49-F238E27FC236}">
              <a16:creationId xmlns:a16="http://schemas.microsoft.com/office/drawing/2014/main" id="{3D84E759-1F41-4AAA-AD63-4CA307B60E22}"/>
            </a:ext>
          </a:extLst>
        </cdr:cNvPr>
        <cdr:cNvCxnSpPr/>
      </cdr:nvCxnSpPr>
      <cdr:spPr>
        <a:xfrm xmlns:a="http://schemas.openxmlformats.org/drawingml/2006/main" flipH="1">
          <a:off x="844732" y="2312924"/>
          <a:ext cx="289895" cy="360433"/>
        </a:xfrm>
        <a:prstGeom xmlns:a="http://schemas.openxmlformats.org/drawingml/2006/main" prst="line">
          <a:avLst/>
        </a:prstGeom>
        <a:ln xmlns:a="http://schemas.openxmlformats.org/drawingml/2006/main">
          <a:solidFill>
            <a:srgbClr val="FFC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00908</cdr:x>
      <cdr:y>0.9085</cdr:y>
    </cdr:from>
    <cdr:to>
      <cdr:x>0.13338</cdr:x>
      <cdr:y>1</cdr:y>
    </cdr:to>
    <cdr:sp macro="" textlink="">
      <cdr:nvSpPr>
        <cdr:cNvPr id="2" name="TextBox 1">
          <a:extLst xmlns:a="http://schemas.openxmlformats.org/drawingml/2006/main">
            <a:ext uri="{FF2B5EF4-FFF2-40B4-BE49-F238E27FC236}">
              <a16:creationId xmlns:a16="http://schemas.microsoft.com/office/drawing/2014/main" id="{D4FF9F6C-B077-4430-8F0D-1DB31AB2137F}"/>
            </a:ext>
          </a:extLst>
        </cdr:cNvPr>
        <cdr:cNvSpPr txBox="1"/>
      </cdr:nvSpPr>
      <cdr:spPr>
        <a:xfrm xmlns:a="http://schemas.openxmlformats.org/drawingml/2006/main">
          <a:off x="49593" y="2444725"/>
          <a:ext cx="679269"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r>
            <a:rPr lang="en-US" sz="1000" b="1" u="sng" dirty="0">
              <a:solidFill>
                <a:schemeClr val="tx1"/>
              </a:solidFill>
            </a:rPr>
            <a:t>Chart B</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CC9E68-8324-410D-B42A-A1A35DF423CB}" type="datetimeFigureOut">
              <a:rPr lang="en-US" smtClean="0"/>
              <a:t>5/2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5E1231-BC84-49BE-8F17-CE3544E4209C}" type="slidenum">
              <a:rPr lang="en-US" smtClean="0"/>
              <a:t>‹#›</a:t>
            </a:fld>
            <a:endParaRPr lang="en-US"/>
          </a:p>
        </p:txBody>
      </p:sp>
    </p:spTree>
    <p:extLst>
      <p:ext uri="{BB962C8B-B14F-4D97-AF65-F5344CB8AC3E}">
        <p14:creationId xmlns:p14="http://schemas.microsoft.com/office/powerpoint/2010/main" val="214235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1</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
        <p:cNvGrpSpPr/>
        <p:nvPr/>
      </p:nvGrpSpPr>
      <p:grpSpPr>
        <a:xfrm>
          <a:off x="0" y="0"/>
          <a:ext cx="0" cy="0"/>
          <a:chOff x="0" y="0"/>
          <a:chExt cx="0" cy="0"/>
        </a:xfrm>
      </p:grpSpPr>
      <p:sp>
        <p:nvSpPr>
          <p:cNvPr id="148" name="Google Shape;148;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9" name="Google Shape;149;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89534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p8: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70" name="Google Shape;70;p8: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71" name="Google Shape;71;p8:notes"/>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01" name="Google Shape;101;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dirty="0"/>
              <a:t>Still need tips and assistance with Correlation comparison. Is it just plotting the values from the correlation matrix? Or is it another standard deviation breakdown of all values for </a:t>
            </a:r>
            <a:r>
              <a:rPr lang="en-US"/>
              <a:t>Pump Failure 0/1 (No, Yes)?</a:t>
            </a:r>
            <a:endParaRPr/>
          </a:p>
        </p:txBody>
      </p:sp>
      <p:sp>
        <p:nvSpPr>
          <p:cNvPr id="112" name="Google Shape;112;p6: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dirty="0"/>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7</a:t>
            </a:fld>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vmlDrawing" Target="../drawings/vmlDrawing5.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vmlDrawing" Target="../drawings/vmlDrawing6.vml"/><Relationship Id="rId4"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26A27-DAE3-43A3-B101-0BFA1E43A1F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D8929A6-F77A-4EC7-A33D-EB7A35926FE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05DC2B1-425E-4CE8-AA05-13DF6DC1B965}"/>
              </a:ext>
            </a:extLst>
          </p:cNvPr>
          <p:cNvSpPr>
            <a:spLocks noGrp="1"/>
          </p:cNvSpPr>
          <p:nvPr>
            <p:ph type="dt" sz="half" idx="10"/>
          </p:nvPr>
        </p:nvSpPr>
        <p:spPr/>
        <p:txBody>
          <a:bodyPr/>
          <a:lstStyle/>
          <a:p>
            <a:fld id="{AA5055D5-11AB-4771-8336-31D80E8713DC}" type="datetimeFigureOut">
              <a:rPr lang="en-US" smtClean="0"/>
              <a:t>5/21/2020</a:t>
            </a:fld>
            <a:endParaRPr lang="en-US"/>
          </a:p>
        </p:txBody>
      </p:sp>
      <p:sp>
        <p:nvSpPr>
          <p:cNvPr id="5" name="Footer Placeholder 4">
            <a:extLst>
              <a:ext uri="{FF2B5EF4-FFF2-40B4-BE49-F238E27FC236}">
                <a16:creationId xmlns:a16="http://schemas.microsoft.com/office/drawing/2014/main" id="{458778EE-8703-4842-919A-3A67564FB3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0584D4-E69D-4A53-8210-608D863822E1}"/>
              </a:ext>
            </a:extLst>
          </p:cNvPr>
          <p:cNvSpPr>
            <a:spLocks noGrp="1"/>
          </p:cNvSpPr>
          <p:nvPr>
            <p:ph type="sldNum" sz="quarter" idx="12"/>
          </p:nvPr>
        </p:nvSpPr>
        <p:spPr/>
        <p:txBody>
          <a:bodyPr/>
          <a:lstStyle/>
          <a:p>
            <a:fld id="{0615F982-B452-4D1A-A7E6-307FD5B0D361}" type="slidenum">
              <a:rPr lang="en-US" smtClean="0"/>
              <a:t>‹#›</a:t>
            </a:fld>
            <a:endParaRPr lang="en-US"/>
          </a:p>
        </p:txBody>
      </p:sp>
    </p:spTree>
    <p:extLst>
      <p:ext uri="{BB962C8B-B14F-4D97-AF65-F5344CB8AC3E}">
        <p14:creationId xmlns:p14="http://schemas.microsoft.com/office/powerpoint/2010/main" val="7005192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A561F-39F2-45DD-BF26-932A0A087B1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CAA854-79F3-4201-B78A-E29453542E8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77A52F-6B8E-4477-81D4-5BCF36B08F20}"/>
              </a:ext>
            </a:extLst>
          </p:cNvPr>
          <p:cNvSpPr>
            <a:spLocks noGrp="1"/>
          </p:cNvSpPr>
          <p:nvPr>
            <p:ph type="dt" sz="half" idx="10"/>
          </p:nvPr>
        </p:nvSpPr>
        <p:spPr/>
        <p:txBody>
          <a:bodyPr/>
          <a:lstStyle/>
          <a:p>
            <a:fld id="{AA5055D5-11AB-4771-8336-31D80E8713DC}" type="datetimeFigureOut">
              <a:rPr lang="en-US" smtClean="0"/>
              <a:t>5/21/2020</a:t>
            </a:fld>
            <a:endParaRPr lang="en-US"/>
          </a:p>
        </p:txBody>
      </p:sp>
      <p:sp>
        <p:nvSpPr>
          <p:cNvPr id="5" name="Footer Placeholder 4">
            <a:extLst>
              <a:ext uri="{FF2B5EF4-FFF2-40B4-BE49-F238E27FC236}">
                <a16:creationId xmlns:a16="http://schemas.microsoft.com/office/drawing/2014/main" id="{5E2DA2E7-590D-4B63-82B8-A86FE14DD0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A890D6-16BD-434B-9AFB-26DA6D17BB69}"/>
              </a:ext>
            </a:extLst>
          </p:cNvPr>
          <p:cNvSpPr>
            <a:spLocks noGrp="1"/>
          </p:cNvSpPr>
          <p:nvPr>
            <p:ph type="sldNum" sz="quarter" idx="12"/>
          </p:nvPr>
        </p:nvSpPr>
        <p:spPr/>
        <p:txBody>
          <a:bodyPr/>
          <a:lstStyle/>
          <a:p>
            <a:fld id="{0615F982-B452-4D1A-A7E6-307FD5B0D361}" type="slidenum">
              <a:rPr lang="en-US" smtClean="0"/>
              <a:t>‹#›</a:t>
            </a:fld>
            <a:endParaRPr lang="en-US"/>
          </a:p>
        </p:txBody>
      </p:sp>
    </p:spTree>
    <p:extLst>
      <p:ext uri="{BB962C8B-B14F-4D97-AF65-F5344CB8AC3E}">
        <p14:creationId xmlns:p14="http://schemas.microsoft.com/office/powerpoint/2010/main" val="12418948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FC9494-1C02-4C58-8792-AB7C4C87D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F79BAF8-FC52-4027-B37C-E0828249DD1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713990-8688-4242-BE00-C44F4A39781D}"/>
              </a:ext>
            </a:extLst>
          </p:cNvPr>
          <p:cNvSpPr>
            <a:spLocks noGrp="1"/>
          </p:cNvSpPr>
          <p:nvPr>
            <p:ph type="dt" sz="half" idx="10"/>
          </p:nvPr>
        </p:nvSpPr>
        <p:spPr/>
        <p:txBody>
          <a:bodyPr/>
          <a:lstStyle/>
          <a:p>
            <a:fld id="{AA5055D5-11AB-4771-8336-31D80E8713DC}" type="datetimeFigureOut">
              <a:rPr lang="en-US" smtClean="0"/>
              <a:t>5/21/2020</a:t>
            </a:fld>
            <a:endParaRPr lang="en-US"/>
          </a:p>
        </p:txBody>
      </p:sp>
      <p:sp>
        <p:nvSpPr>
          <p:cNvPr id="5" name="Footer Placeholder 4">
            <a:extLst>
              <a:ext uri="{FF2B5EF4-FFF2-40B4-BE49-F238E27FC236}">
                <a16:creationId xmlns:a16="http://schemas.microsoft.com/office/drawing/2014/main" id="{E3BFBC0A-B4F4-4027-90AB-D332CA46E6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41CE4F-067A-47E2-B3DC-B999CED64CE1}"/>
              </a:ext>
            </a:extLst>
          </p:cNvPr>
          <p:cNvSpPr>
            <a:spLocks noGrp="1"/>
          </p:cNvSpPr>
          <p:nvPr>
            <p:ph type="sldNum" sz="quarter" idx="12"/>
          </p:nvPr>
        </p:nvSpPr>
        <p:spPr/>
        <p:txBody>
          <a:bodyPr/>
          <a:lstStyle/>
          <a:p>
            <a:fld id="{0615F982-B452-4D1A-A7E6-307FD5B0D361}" type="slidenum">
              <a:rPr lang="en-US" smtClean="0"/>
              <a:t>‹#›</a:t>
            </a:fld>
            <a:endParaRPr lang="en-US"/>
          </a:p>
        </p:txBody>
      </p:sp>
    </p:spTree>
    <p:extLst>
      <p:ext uri="{BB962C8B-B14F-4D97-AF65-F5344CB8AC3E}">
        <p14:creationId xmlns:p14="http://schemas.microsoft.com/office/powerpoint/2010/main" val="20502766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Slide">
  <p:cSld name="1_Title Slide">
    <p:spTree>
      <p:nvGrpSpPr>
        <p:cNvPr id="1" name="Shape 13"/>
        <p:cNvGrpSpPr/>
        <p:nvPr/>
      </p:nvGrpSpPr>
      <p:grpSpPr>
        <a:xfrm>
          <a:off x="0" y="0"/>
          <a:ext cx="0" cy="0"/>
          <a:chOff x="0" y="0"/>
          <a:chExt cx="0" cy="0"/>
        </a:xfrm>
      </p:grpSpPr>
      <p:sp>
        <p:nvSpPr>
          <p:cNvPr id="14" name="Google Shape;14;p8"/>
          <p:cNvSpPr/>
          <p:nvPr/>
        </p:nvSpPr>
        <p:spPr>
          <a:xfrm>
            <a:off x="0" y="4725057"/>
            <a:ext cx="12192000" cy="2132942"/>
          </a:xfrm>
          <a:prstGeom prst="rect">
            <a:avLst/>
          </a:prstGeom>
          <a:solidFill>
            <a:srgbClr val="F2F2F2"/>
          </a:solidFill>
          <a:ln>
            <a:noFill/>
          </a:ln>
        </p:spPr>
        <p:txBody>
          <a:bodyPr spcFirstLastPara="1" wrap="square" lIns="93282" tIns="46628" rIns="93282" bIns="46628" anchor="ctr" anchorCtr="0">
            <a:noAutofit/>
          </a:bodyPr>
          <a:lstStyle/>
          <a:p>
            <a:pPr marL="0" marR="0" lvl="0" indent="0" algn="ctr" rtl="0">
              <a:spcBef>
                <a:spcPts val="0"/>
              </a:spcBef>
              <a:spcAft>
                <a:spcPts val="0"/>
              </a:spcAft>
              <a:buNone/>
            </a:pPr>
            <a:endParaRPr sz="1632"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032"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317489" y="3545800"/>
            <a:ext cx="10025345" cy="45217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65"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317489" y="4858154"/>
            <a:ext cx="10025345" cy="197746"/>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28">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11064592" y="37255"/>
            <a:ext cx="894152" cy="12472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16"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8812838" y="1"/>
            <a:ext cx="3379162" cy="810253"/>
          </a:xfrm>
          <a:prstGeom prst="rect">
            <a:avLst/>
          </a:prstGeom>
          <a:noFill/>
          <a:ln>
            <a:noFill/>
          </a:ln>
        </p:spPr>
      </p:pic>
    </p:spTree>
    <p:extLst>
      <p:ext uri="{BB962C8B-B14F-4D97-AF65-F5344CB8AC3E}">
        <p14:creationId xmlns:p14="http://schemas.microsoft.com/office/powerpoint/2010/main" val="1732764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2056"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233259" y="234863"/>
            <a:ext cx="11725485" cy="60939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121030" y="905708"/>
            <a:ext cx="11951924" cy="0"/>
          </a:xfrm>
          <a:prstGeom prst="straightConnector1">
            <a:avLst/>
          </a:prstGeom>
          <a:noFill/>
          <a:ln w="25400" cap="flat" cmpd="sng">
            <a:solidFill>
              <a:srgbClr val="000000"/>
            </a:solidFill>
            <a:prstDash val="solid"/>
            <a:round/>
            <a:headEnd type="none" w="sm" len="sm"/>
            <a:tailEnd type="none" w="sm" len="sm"/>
          </a:ln>
        </p:spPr>
      </p:cxnSp>
    </p:spTree>
    <p:extLst>
      <p:ext uri="{BB962C8B-B14F-4D97-AF65-F5344CB8AC3E}">
        <p14:creationId xmlns:p14="http://schemas.microsoft.com/office/powerpoint/2010/main" val="2776909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_Title Only" type="titleOnly">
  <p:cSld name="1_Title Only">
    <p:spTree>
      <p:nvGrpSpPr>
        <p:cNvPr id="1" name="Shape 29"/>
        <p:cNvGrpSpPr/>
        <p:nvPr/>
      </p:nvGrpSpPr>
      <p:grpSpPr>
        <a:xfrm>
          <a:off x="0" y="0"/>
          <a:ext cx="0" cy="0"/>
          <a:chOff x="0" y="0"/>
          <a:chExt cx="0" cy="0"/>
        </a:xfrm>
      </p:grpSpPr>
      <p:sp>
        <p:nvSpPr>
          <p:cNvPr id="30" name="Google Shape;30;p13"/>
          <p:cNvSpPr txBox="1">
            <a:spLocks noGrp="1"/>
          </p:cNvSpPr>
          <p:nvPr>
            <p:ph type="title"/>
          </p:nvPr>
        </p:nvSpPr>
        <p:spPr>
          <a:xfrm>
            <a:off x="233261" y="234866"/>
            <a:ext cx="11725486" cy="2289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843033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ext" type="tx">
  <p:cSld name="Title and Text">
    <p:spTree>
      <p:nvGrpSpPr>
        <p:cNvPr id="1" name="Shape 33"/>
        <p:cNvGrpSpPr/>
        <p:nvPr/>
      </p:nvGrpSpPr>
      <p:grpSpPr>
        <a:xfrm>
          <a:off x="0" y="0"/>
          <a:ext cx="0" cy="0"/>
          <a:chOff x="0" y="0"/>
          <a:chExt cx="0" cy="0"/>
        </a:xfrm>
      </p:grpSpPr>
      <p:sp>
        <p:nvSpPr>
          <p:cNvPr id="34" name="Google Shape;34;p15"/>
          <p:cNvSpPr txBox="1">
            <a:spLocks noGrp="1"/>
          </p:cNvSpPr>
          <p:nvPr>
            <p:ph type="title"/>
          </p:nvPr>
        </p:nvSpPr>
        <p:spPr>
          <a:xfrm>
            <a:off x="233261" y="234866"/>
            <a:ext cx="11725486" cy="2289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5"/>
          <p:cNvSpPr txBox="1">
            <a:spLocks noGrp="1"/>
          </p:cNvSpPr>
          <p:nvPr>
            <p:ph type="body" idx="1"/>
          </p:nvPr>
        </p:nvSpPr>
        <p:spPr>
          <a:xfrm>
            <a:off x="3124133" y="2570859"/>
            <a:ext cx="5853024" cy="188193"/>
          </a:xfrm>
          <a:prstGeom prst="rect">
            <a:avLst/>
          </a:prstGeom>
          <a:noFill/>
          <a:ln>
            <a:noFill/>
          </a:ln>
        </p:spPr>
        <p:txBody>
          <a:bodyPr spcFirstLastPara="1" wrap="square" lIns="0" tIns="0" rIns="0" bIns="0" anchor="t" anchorCtr="0">
            <a:spAutoFit/>
          </a:bodyPr>
          <a:lstStyle>
            <a:lvl1pPr marL="466481" lvl="0" indent="-233241" algn="l">
              <a:lnSpc>
                <a:spcPct val="100000"/>
              </a:lnSpc>
              <a:spcBef>
                <a:spcPts val="0"/>
              </a:spcBef>
              <a:spcAft>
                <a:spcPts val="0"/>
              </a:spcAft>
              <a:buSzPts val="1400"/>
              <a:buNone/>
              <a:defRPr/>
            </a:lvl1pPr>
            <a:lvl2pPr marL="932962" lvl="1" indent="-379016" algn="l">
              <a:lnSpc>
                <a:spcPct val="100000"/>
              </a:lnSpc>
              <a:spcBef>
                <a:spcPts val="0"/>
              </a:spcBef>
              <a:spcAft>
                <a:spcPts val="0"/>
              </a:spcAft>
              <a:buSzPts val="2250"/>
              <a:buChar char="▪"/>
              <a:defRPr/>
            </a:lvl2pPr>
            <a:lvl3pPr marL="1399443" lvl="2" indent="-373185" algn="l">
              <a:lnSpc>
                <a:spcPct val="100000"/>
              </a:lnSpc>
              <a:spcBef>
                <a:spcPts val="0"/>
              </a:spcBef>
              <a:spcAft>
                <a:spcPts val="0"/>
              </a:spcAft>
              <a:buSzPts val="2160"/>
              <a:buChar char="–"/>
              <a:defRPr/>
            </a:lvl3pPr>
            <a:lvl4pPr marL="1865925" lvl="3" indent="-373185" algn="l">
              <a:lnSpc>
                <a:spcPct val="100000"/>
              </a:lnSpc>
              <a:spcBef>
                <a:spcPts val="0"/>
              </a:spcBef>
              <a:spcAft>
                <a:spcPts val="0"/>
              </a:spcAft>
              <a:buSzPts val="2160"/>
              <a:buChar char="▫"/>
              <a:defRPr/>
            </a:lvl4pPr>
            <a:lvl5pPr marL="2332406" lvl="4" indent="-337032" algn="l">
              <a:lnSpc>
                <a:spcPct val="100000"/>
              </a:lnSpc>
              <a:spcBef>
                <a:spcPts val="0"/>
              </a:spcBef>
              <a:spcAft>
                <a:spcPts val="0"/>
              </a:spcAft>
              <a:buSzPts val="1602"/>
              <a:buChar char="-"/>
              <a:defRPr/>
            </a:lvl5pPr>
            <a:lvl6pPr marL="2798887" lvl="5" indent="-337032" algn="l">
              <a:lnSpc>
                <a:spcPct val="100000"/>
              </a:lnSpc>
              <a:spcBef>
                <a:spcPts val="0"/>
              </a:spcBef>
              <a:spcAft>
                <a:spcPts val="0"/>
              </a:spcAft>
              <a:buSzPts val="1602"/>
              <a:buChar char="-"/>
              <a:defRPr/>
            </a:lvl6pPr>
            <a:lvl7pPr marL="3265368" lvl="6" indent="-337032" algn="l">
              <a:lnSpc>
                <a:spcPct val="100000"/>
              </a:lnSpc>
              <a:spcBef>
                <a:spcPts val="0"/>
              </a:spcBef>
              <a:spcAft>
                <a:spcPts val="0"/>
              </a:spcAft>
              <a:buSzPts val="1602"/>
              <a:buChar char="-"/>
              <a:defRPr/>
            </a:lvl7pPr>
            <a:lvl8pPr marL="3731849" lvl="7" indent="-337033" algn="l">
              <a:lnSpc>
                <a:spcPct val="100000"/>
              </a:lnSpc>
              <a:spcBef>
                <a:spcPts val="0"/>
              </a:spcBef>
              <a:spcAft>
                <a:spcPts val="0"/>
              </a:spcAft>
              <a:buSzPts val="1602"/>
              <a:buChar char="-"/>
              <a:defRPr/>
            </a:lvl8pPr>
            <a:lvl9pPr marL="4198330" lvl="8" indent="-337033" algn="l">
              <a:lnSpc>
                <a:spcPct val="100000"/>
              </a:lnSpc>
              <a:spcBef>
                <a:spcPts val="0"/>
              </a:spcBef>
              <a:spcAft>
                <a:spcPts val="0"/>
              </a:spcAft>
              <a:buSzPts val="1602"/>
              <a:buChar char="-"/>
              <a:defRPr/>
            </a:lvl9pPr>
          </a:lstStyle>
          <a:p>
            <a:endParaRPr/>
          </a:p>
        </p:txBody>
      </p:sp>
    </p:spTree>
    <p:extLst>
      <p:ext uri="{BB962C8B-B14F-4D97-AF65-F5344CB8AC3E}">
        <p14:creationId xmlns:p14="http://schemas.microsoft.com/office/powerpoint/2010/main" val="31987700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11"/>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7175" r:id="rId3" imgW="1587" imgH="1587" progId="TCLayout.ActiveDocument.1">
                  <p:embed/>
                </p:oleObj>
              </mc:Choice>
              <mc:Fallback>
                <p:oleObj r:id="rId3" imgW="1587" imgH="1587" progId="TCLayout.ActiveDocument.1">
                  <p:embed/>
                  <p:pic>
                    <p:nvPicPr>
                      <p:cNvPr id="21" name="Google Shape;21;p11"/>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22" name="Google Shape;22;p11"/>
          <p:cNvSpPr txBox="1">
            <a:spLocks noGrp="1"/>
          </p:cNvSpPr>
          <p:nvPr>
            <p:ph type="title"/>
          </p:nvPr>
        </p:nvSpPr>
        <p:spPr>
          <a:xfrm>
            <a:off x="233259" y="234863"/>
            <a:ext cx="11725485" cy="22345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3" name="Google Shape;23;p11"/>
          <p:cNvCxnSpPr/>
          <p:nvPr/>
        </p:nvCxnSpPr>
        <p:spPr>
          <a:xfrm>
            <a:off x="121030" y="905708"/>
            <a:ext cx="11951924" cy="0"/>
          </a:xfrm>
          <a:prstGeom prst="straightConnector1">
            <a:avLst/>
          </a:prstGeom>
          <a:noFill/>
          <a:ln w="25400" cap="flat" cmpd="sng">
            <a:solidFill>
              <a:srgbClr val="000000"/>
            </a:solidFill>
            <a:prstDash val="solid"/>
            <a:round/>
            <a:headEnd type="none" w="sm" len="sm"/>
            <a:tailEnd type="none" w="sm" len="sm"/>
          </a:ln>
        </p:spPr>
      </p:cxnSp>
    </p:spTree>
    <p:extLst>
      <p:ext uri="{BB962C8B-B14F-4D97-AF65-F5344CB8AC3E}">
        <p14:creationId xmlns:p14="http://schemas.microsoft.com/office/powerpoint/2010/main" val="17725368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725057"/>
            <a:ext cx="12192000" cy="2132942"/>
          </a:xfrm>
          <a:prstGeom prst="rect">
            <a:avLst/>
          </a:prstGeom>
          <a:solidFill>
            <a:srgbClr val="F2F2F2"/>
          </a:solidFill>
          <a:ln>
            <a:noFill/>
          </a:ln>
        </p:spPr>
        <p:txBody>
          <a:bodyPr spcFirstLastPara="1" wrap="square" lIns="93282" tIns="46628" rIns="93282" bIns="46628" anchor="ctr" anchorCtr="0">
            <a:noAutofit/>
          </a:bodyPr>
          <a:lstStyle/>
          <a:p>
            <a:pPr marL="0" marR="0" lvl="0" indent="0" algn="ctr" rtl="0">
              <a:spcBef>
                <a:spcPts val="0"/>
              </a:spcBef>
              <a:spcAft>
                <a:spcPts val="0"/>
              </a:spcAft>
              <a:buNone/>
            </a:pPr>
            <a:endParaRPr sz="1632"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9221"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317489" y="3545800"/>
            <a:ext cx="10025345" cy="50244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65"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317489" y="4858154"/>
            <a:ext cx="10025345" cy="21982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28">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11064592" y="37255"/>
            <a:ext cx="894152" cy="12472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16"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8812838" y="1"/>
            <a:ext cx="3379162" cy="810253"/>
          </a:xfrm>
          <a:prstGeom prst="rect">
            <a:avLst/>
          </a:prstGeom>
          <a:noFill/>
          <a:ln>
            <a:noFill/>
          </a:ln>
        </p:spPr>
      </p:pic>
    </p:spTree>
    <p:extLst>
      <p:ext uri="{BB962C8B-B14F-4D97-AF65-F5344CB8AC3E}">
        <p14:creationId xmlns:p14="http://schemas.microsoft.com/office/powerpoint/2010/main" val="22424015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0245"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233259" y="234863"/>
            <a:ext cx="11725485" cy="298327"/>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121030" y="905708"/>
            <a:ext cx="11951924" cy="0"/>
          </a:xfrm>
          <a:prstGeom prst="straightConnector1">
            <a:avLst/>
          </a:prstGeom>
          <a:noFill/>
          <a:ln w="25400" cap="flat" cmpd="sng">
            <a:solidFill>
              <a:srgbClr val="000000"/>
            </a:solidFill>
            <a:prstDash val="solid"/>
            <a:round/>
            <a:headEnd type="none" w="sm" len="sm"/>
            <a:tailEnd type="none" w="sm" len="sm"/>
          </a:ln>
        </p:spPr>
      </p:cxnSp>
    </p:spTree>
    <p:extLst>
      <p:ext uri="{BB962C8B-B14F-4D97-AF65-F5344CB8AC3E}">
        <p14:creationId xmlns:p14="http://schemas.microsoft.com/office/powerpoint/2010/main" val="21382819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Text" type="tx">
  <p:cSld name="Title and Text">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233261" y="234866"/>
            <a:ext cx="11725486"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3124133" y="2570859"/>
            <a:ext cx="5853024" cy="246221"/>
          </a:xfrm>
          <a:prstGeom prst="rect">
            <a:avLst/>
          </a:prstGeom>
          <a:noFill/>
          <a:ln>
            <a:noFill/>
          </a:ln>
        </p:spPr>
        <p:txBody>
          <a:bodyPr spcFirstLastPara="1" wrap="square" lIns="0" tIns="0" rIns="0" bIns="0" anchor="t" anchorCtr="0">
            <a:spAutoFit/>
          </a:bodyPr>
          <a:lstStyle>
            <a:lvl1pPr marL="466481" lvl="0" indent="-233241" algn="l">
              <a:spcBef>
                <a:spcPts val="0"/>
              </a:spcBef>
              <a:spcAft>
                <a:spcPts val="0"/>
              </a:spcAft>
              <a:buSzPts val="1400"/>
              <a:buNone/>
              <a:defRPr/>
            </a:lvl1pPr>
            <a:lvl2pPr marL="932962" lvl="1" indent="-379016" algn="l">
              <a:spcBef>
                <a:spcPts val="0"/>
              </a:spcBef>
              <a:spcAft>
                <a:spcPts val="0"/>
              </a:spcAft>
              <a:buSzPts val="2250"/>
              <a:buChar char="▪"/>
              <a:defRPr/>
            </a:lvl2pPr>
            <a:lvl3pPr marL="1399443" lvl="2" indent="-373185" algn="l">
              <a:spcBef>
                <a:spcPts val="0"/>
              </a:spcBef>
              <a:spcAft>
                <a:spcPts val="0"/>
              </a:spcAft>
              <a:buSzPts val="2160"/>
              <a:buChar char="–"/>
              <a:defRPr/>
            </a:lvl3pPr>
            <a:lvl4pPr marL="1865925" lvl="3" indent="-373185" algn="l">
              <a:spcBef>
                <a:spcPts val="0"/>
              </a:spcBef>
              <a:spcAft>
                <a:spcPts val="0"/>
              </a:spcAft>
              <a:buSzPts val="2160"/>
              <a:buChar char="▫"/>
              <a:defRPr/>
            </a:lvl4pPr>
            <a:lvl5pPr marL="2332406" lvl="4" indent="-337032" algn="l">
              <a:spcBef>
                <a:spcPts val="0"/>
              </a:spcBef>
              <a:spcAft>
                <a:spcPts val="0"/>
              </a:spcAft>
              <a:buSzPts val="1602"/>
              <a:buChar char="-"/>
              <a:defRPr/>
            </a:lvl5pPr>
            <a:lvl6pPr marL="2798887" lvl="5" indent="-337032" algn="l">
              <a:spcBef>
                <a:spcPts val="0"/>
              </a:spcBef>
              <a:spcAft>
                <a:spcPts val="0"/>
              </a:spcAft>
              <a:buSzPts val="1602"/>
              <a:buChar char="-"/>
              <a:defRPr/>
            </a:lvl6pPr>
            <a:lvl7pPr marL="3265368" lvl="6" indent="-337032" algn="l">
              <a:spcBef>
                <a:spcPts val="0"/>
              </a:spcBef>
              <a:spcAft>
                <a:spcPts val="0"/>
              </a:spcAft>
              <a:buSzPts val="1602"/>
              <a:buChar char="-"/>
              <a:defRPr/>
            </a:lvl7pPr>
            <a:lvl8pPr marL="3731849" lvl="7" indent="-337033" algn="l">
              <a:spcBef>
                <a:spcPts val="0"/>
              </a:spcBef>
              <a:spcAft>
                <a:spcPts val="0"/>
              </a:spcAft>
              <a:buSzPts val="1602"/>
              <a:buChar char="-"/>
              <a:defRPr/>
            </a:lvl8pPr>
            <a:lvl9pPr marL="4198330" lvl="8" indent="-337033" algn="l">
              <a:spcBef>
                <a:spcPts val="0"/>
              </a:spcBef>
              <a:spcAft>
                <a:spcPts val="0"/>
              </a:spcAft>
              <a:buSzPts val="1602"/>
              <a:buChar char="-"/>
              <a:defRPr/>
            </a:lvl9pPr>
          </a:lstStyle>
          <a:p>
            <a:endParaRPr/>
          </a:p>
        </p:txBody>
      </p:sp>
    </p:spTree>
    <p:extLst>
      <p:ext uri="{BB962C8B-B14F-4D97-AF65-F5344CB8AC3E}">
        <p14:creationId xmlns:p14="http://schemas.microsoft.com/office/powerpoint/2010/main" val="2778326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23A3B-274D-4247-8E24-B856085953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249D95-4A7F-462E-AA90-5090D3EBD8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8E4570-B5DE-4651-8482-1516E4C8C318}"/>
              </a:ext>
            </a:extLst>
          </p:cNvPr>
          <p:cNvSpPr>
            <a:spLocks noGrp="1"/>
          </p:cNvSpPr>
          <p:nvPr>
            <p:ph type="dt" sz="half" idx="10"/>
          </p:nvPr>
        </p:nvSpPr>
        <p:spPr/>
        <p:txBody>
          <a:bodyPr/>
          <a:lstStyle/>
          <a:p>
            <a:fld id="{AA5055D5-11AB-4771-8336-31D80E8713DC}" type="datetimeFigureOut">
              <a:rPr lang="en-US" smtClean="0"/>
              <a:t>5/21/2020</a:t>
            </a:fld>
            <a:endParaRPr lang="en-US"/>
          </a:p>
        </p:txBody>
      </p:sp>
      <p:sp>
        <p:nvSpPr>
          <p:cNvPr id="5" name="Footer Placeholder 4">
            <a:extLst>
              <a:ext uri="{FF2B5EF4-FFF2-40B4-BE49-F238E27FC236}">
                <a16:creationId xmlns:a16="http://schemas.microsoft.com/office/drawing/2014/main" id="{2ED5F50D-253D-4BFF-A41B-08790B5B5D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6F60D4-42FE-4B8F-9C56-0A626B9624F4}"/>
              </a:ext>
            </a:extLst>
          </p:cNvPr>
          <p:cNvSpPr>
            <a:spLocks noGrp="1"/>
          </p:cNvSpPr>
          <p:nvPr>
            <p:ph type="sldNum" sz="quarter" idx="12"/>
          </p:nvPr>
        </p:nvSpPr>
        <p:spPr/>
        <p:txBody>
          <a:bodyPr/>
          <a:lstStyle/>
          <a:p>
            <a:fld id="{0615F982-B452-4D1A-A7E6-307FD5B0D361}" type="slidenum">
              <a:rPr lang="en-US" smtClean="0"/>
              <a:t>‹#›</a:t>
            </a:fld>
            <a:endParaRPr lang="en-US"/>
          </a:p>
        </p:txBody>
      </p:sp>
    </p:spTree>
    <p:extLst>
      <p:ext uri="{BB962C8B-B14F-4D97-AF65-F5344CB8AC3E}">
        <p14:creationId xmlns:p14="http://schemas.microsoft.com/office/powerpoint/2010/main" val="24496139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BDFC1-A56D-47A4-97B4-EE487D832BF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98F6354-8980-4A4D-819B-F60C16CE1CD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91FA1FC-6513-4640-830E-35CEDC6AF0DF}"/>
              </a:ext>
            </a:extLst>
          </p:cNvPr>
          <p:cNvSpPr>
            <a:spLocks noGrp="1"/>
          </p:cNvSpPr>
          <p:nvPr>
            <p:ph type="dt" sz="half" idx="10"/>
          </p:nvPr>
        </p:nvSpPr>
        <p:spPr/>
        <p:txBody>
          <a:bodyPr/>
          <a:lstStyle/>
          <a:p>
            <a:fld id="{AA5055D5-11AB-4771-8336-31D80E8713DC}" type="datetimeFigureOut">
              <a:rPr lang="en-US" smtClean="0"/>
              <a:t>5/21/2020</a:t>
            </a:fld>
            <a:endParaRPr lang="en-US"/>
          </a:p>
        </p:txBody>
      </p:sp>
      <p:sp>
        <p:nvSpPr>
          <p:cNvPr id="5" name="Footer Placeholder 4">
            <a:extLst>
              <a:ext uri="{FF2B5EF4-FFF2-40B4-BE49-F238E27FC236}">
                <a16:creationId xmlns:a16="http://schemas.microsoft.com/office/drawing/2014/main" id="{2BCD4059-155E-4BC0-9609-457DC2E8B4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F526D3-9762-4C0F-B29B-C899A0447492}"/>
              </a:ext>
            </a:extLst>
          </p:cNvPr>
          <p:cNvSpPr>
            <a:spLocks noGrp="1"/>
          </p:cNvSpPr>
          <p:nvPr>
            <p:ph type="sldNum" sz="quarter" idx="12"/>
          </p:nvPr>
        </p:nvSpPr>
        <p:spPr/>
        <p:txBody>
          <a:bodyPr/>
          <a:lstStyle/>
          <a:p>
            <a:fld id="{0615F982-B452-4D1A-A7E6-307FD5B0D361}" type="slidenum">
              <a:rPr lang="en-US" smtClean="0"/>
              <a:t>‹#›</a:t>
            </a:fld>
            <a:endParaRPr lang="en-US"/>
          </a:p>
        </p:txBody>
      </p:sp>
    </p:spTree>
    <p:extLst>
      <p:ext uri="{BB962C8B-B14F-4D97-AF65-F5344CB8AC3E}">
        <p14:creationId xmlns:p14="http://schemas.microsoft.com/office/powerpoint/2010/main" val="8251311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72D74-E148-4940-851D-C5960AA575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7FCA44-C887-4015-8F73-39F7003E0D6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696CE61-D85C-4A13-B3B6-EC650522D4D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E90E797-B679-43B9-A1D7-88060883572F}"/>
              </a:ext>
            </a:extLst>
          </p:cNvPr>
          <p:cNvSpPr>
            <a:spLocks noGrp="1"/>
          </p:cNvSpPr>
          <p:nvPr>
            <p:ph type="dt" sz="half" idx="10"/>
          </p:nvPr>
        </p:nvSpPr>
        <p:spPr/>
        <p:txBody>
          <a:bodyPr/>
          <a:lstStyle/>
          <a:p>
            <a:fld id="{AA5055D5-11AB-4771-8336-31D80E8713DC}" type="datetimeFigureOut">
              <a:rPr lang="en-US" smtClean="0"/>
              <a:t>5/21/2020</a:t>
            </a:fld>
            <a:endParaRPr lang="en-US"/>
          </a:p>
        </p:txBody>
      </p:sp>
      <p:sp>
        <p:nvSpPr>
          <p:cNvPr id="6" name="Footer Placeholder 5">
            <a:extLst>
              <a:ext uri="{FF2B5EF4-FFF2-40B4-BE49-F238E27FC236}">
                <a16:creationId xmlns:a16="http://schemas.microsoft.com/office/drawing/2014/main" id="{56EAD65D-7E2E-4C5C-96B0-DC89CFD926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6DFE27-AC29-44B1-8799-6576763FF64F}"/>
              </a:ext>
            </a:extLst>
          </p:cNvPr>
          <p:cNvSpPr>
            <a:spLocks noGrp="1"/>
          </p:cNvSpPr>
          <p:nvPr>
            <p:ph type="sldNum" sz="quarter" idx="12"/>
          </p:nvPr>
        </p:nvSpPr>
        <p:spPr/>
        <p:txBody>
          <a:bodyPr/>
          <a:lstStyle/>
          <a:p>
            <a:fld id="{0615F982-B452-4D1A-A7E6-307FD5B0D361}" type="slidenum">
              <a:rPr lang="en-US" smtClean="0"/>
              <a:t>‹#›</a:t>
            </a:fld>
            <a:endParaRPr lang="en-US"/>
          </a:p>
        </p:txBody>
      </p:sp>
    </p:spTree>
    <p:extLst>
      <p:ext uri="{BB962C8B-B14F-4D97-AF65-F5344CB8AC3E}">
        <p14:creationId xmlns:p14="http://schemas.microsoft.com/office/powerpoint/2010/main" val="30502324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C4B8F-3956-4B43-85C6-817E60F13BF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A85B6C0-222A-4592-956C-828703E1E0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67EBD09-B08A-4BF5-8130-DD45FCC6935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FE6B506-38C4-4D92-A25B-560853C640B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CAD3266-068B-4985-8EEF-3D99F7ABAC2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5EE5593-A391-482C-8E46-ED52BDD13A7C}"/>
              </a:ext>
            </a:extLst>
          </p:cNvPr>
          <p:cNvSpPr>
            <a:spLocks noGrp="1"/>
          </p:cNvSpPr>
          <p:nvPr>
            <p:ph type="dt" sz="half" idx="10"/>
          </p:nvPr>
        </p:nvSpPr>
        <p:spPr/>
        <p:txBody>
          <a:bodyPr/>
          <a:lstStyle/>
          <a:p>
            <a:fld id="{AA5055D5-11AB-4771-8336-31D80E8713DC}" type="datetimeFigureOut">
              <a:rPr lang="en-US" smtClean="0"/>
              <a:t>5/21/2020</a:t>
            </a:fld>
            <a:endParaRPr lang="en-US"/>
          </a:p>
        </p:txBody>
      </p:sp>
      <p:sp>
        <p:nvSpPr>
          <p:cNvPr id="8" name="Footer Placeholder 7">
            <a:extLst>
              <a:ext uri="{FF2B5EF4-FFF2-40B4-BE49-F238E27FC236}">
                <a16:creationId xmlns:a16="http://schemas.microsoft.com/office/drawing/2014/main" id="{FA9B36E8-AE5A-4BB0-819D-D57E16C07B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D7CCB96-B770-46D2-9FB7-6F1319C87865}"/>
              </a:ext>
            </a:extLst>
          </p:cNvPr>
          <p:cNvSpPr>
            <a:spLocks noGrp="1"/>
          </p:cNvSpPr>
          <p:nvPr>
            <p:ph type="sldNum" sz="quarter" idx="12"/>
          </p:nvPr>
        </p:nvSpPr>
        <p:spPr/>
        <p:txBody>
          <a:bodyPr/>
          <a:lstStyle/>
          <a:p>
            <a:fld id="{0615F982-B452-4D1A-A7E6-307FD5B0D361}" type="slidenum">
              <a:rPr lang="en-US" smtClean="0"/>
              <a:t>‹#›</a:t>
            </a:fld>
            <a:endParaRPr lang="en-US"/>
          </a:p>
        </p:txBody>
      </p:sp>
    </p:spTree>
    <p:extLst>
      <p:ext uri="{BB962C8B-B14F-4D97-AF65-F5344CB8AC3E}">
        <p14:creationId xmlns:p14="http://schemas.microsoft.com/office/powerpoint/2010/main" val="1689337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A1638-D742-4EA8-A01C-2D95233E2C1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C2384AF-ECED-4057-A9AF-CA54A9C59573}"/>
              </a:ext>
            </a:extLst>
          </p:cNvPr>
          <p:cNvSpPr>
            <a:spLocks noGrp="1"/>
          </p:cNvSpPr>
          <p:nvPr>
            <p:ph type="dt" sz="half" idx="10"/>
          </p:nvPr>
        </p:nvSpPr>
        <p:spPr/>
        <p:txBody>
          <a:bodyPr/>
          <a:lstStyle/>
          <a:p>
            <a:fld id="{AA5055D5-11AB-4771-8336-31D80E8713DC}" type="datetimeFigureOut">
              <a:rPr lang="en-US" smtClean="0"/>
              <a:t>5/21/2020</a:t>
            </a:fld>
            <a:endParaRPr lang="en-US"/>
          </a:p>
        </p:txBody>
      </p:sp>
      <p:sp>
        <p:nvSpPr>
          <p:cNvPr id="4" name="Footer Placeholder 3">
            <a:extLst>
              <a:ext uri="{FF2B5EF4-FFF2-40B4-BE49-F238E27FC236}">
                <a16:creationId xmlns:a16="http://schemas.microsoft.com/office/drawing/2014/main" id="{7FFC1CD2-FA6F-467E-8EAF-3EEAA397E3D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C8491B2-9427-408F-A527-5A48BE1CD7AA}"/>
              </a:ext>
            </a:extLst>
          </p:cNvPr>
          <p:cNvSpPr>
            <a:spLocks noGrp="1"/>
          </p:cNvSpPr>
          <p:nvPr>
            <p:ph type="sldNum" sz="quarter" idx="12"/>
          </p:nvPr>
        </p:nvSpPr>
        <p:spPr/>
        <p:txBody>
          <a:bodyPr/>
          <a:lstStyle/>
          <a:p>
            <a:fld id="{0615F982-B452-4D1A-A7E6-307FD5B0D361}" type="slidenum">
              <a:rPr lang="en-US" smtClean="0"/>
              <a:t>‹#›</a:t>
            </a:fld>
            <a:endParaRPr lang="en-US"/>
          </a:p>
        </p:txBody>
      </p:sp>
    </p:spTree>
    <p:extLst>
      <p:ext uri="{BB962C8B-B14F-4D97-AF65-F5344CB8AC3E}">
        <p14:creationId xmlns:p14="http://schemas.microsoft.com/office/powerpoint/2010/main" val="15883349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9D70128-C185-4692-A1E9-837E1A50B4BC}"/>
              </a:ext>
            </a:extLst>
          </p:cNvPr>
          <p:cNvSpPr>
            <a:spLocks noGrp="1"/>
          </p:cNvSpPr>
          <p:nvPr>
            <p:ph type="dt" sz="half" idx="10"/>
          </p:nvPr>
        </p:nvSpPr>
        <p:spPr/>
        <p:txBody>
          <a:bodyPr/>
          <a:lstStyle/>
          <a:p>
            <a:fld id="{AA5055D5-11AB-4771-8336-31D80E8713DC}" type="datetimeFigureOut">
              <a:rPr lang="en-US" smtClean="0"/>
              <a:t>5/21/2020</a:t>
            </a:fld>
            <a:endParaRPr lang="en-US"/>
          </a:p>
        </p:txBody>
      </p:sp>
      <p:sp>
        <p:nvSpPr>
          <p:cNvPr id="3" name="Footer Placeholder 2">
            <a:extLst>
              <a:ext uri="{FF2B5EF4-FFF2-40B4-BE49-F238E27FC236}">
                <a16:creationId xmlns:a16="http://schemas.microsoft.com/office/drawing/2014/main" id="{DAD1DCB8-1A3B-46C5-B862-63AF150088E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64B537F-6761-441B-AB3B-11EF1086725D}"/>
              </a:ext>
            </a:extLst>
          </p:cNvPr>
          <p:cNvSpPr>
            <a:spLocks noGrp="1"/>
          </p:cNvSpPr>
          <p:nvPr>
            <p:ph type="sldNum" sz="quarter" idx="12"/>
          </p:nvPr>
        </p:nvSpPr>
        <p:spPr/>
        <p:txBody>
          <a:bodyPr/>
          <a:lstStyle/>
          <a:p>
            <a:fld id="{0615F982-B452-4D1A-A7E6-307FD5B0D361}" type="slidenum">
              <a:rPr lang="en-US" smtClean="0"/>
              <a:t>‹#›</a:t>
            </a:fld>
            <a:endParaRPr lang="en-US"/>
          </a:p>
        </p:txBody>
      </p:sp>
    </p:spTree>
    <p:extLst>
      <p:ext uri="{BB962C8B-B14F-4D97-AF65-F5344CB8AC3E}">
        <p14:creationId xmlns:p14="http://schemas.microsoft.com/office/powerpoint/2010/main" val="37354441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36D16-74C9-41FF-8003-B71C98249F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A316CB1-AC3A-4E5D-BBC8-B1768C30A3B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4C2D3F9-FB5F-4F88-A74D-37A9ED9EB0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C736817-DFE4-4056-A5C6-476E29E2E69E}"/>
              </a:ext>
            </a:extLst>
          </p:cNvPr>
          <p:cNvSpPr>
            <a:spLocks noGrp="1"/>
          </p:cNvSpPr>
          <p:nvPr>
            <p:ph type="dt" sz="half" idx="10"/>
          </p:nvPr>
        </p:nvSpPr>
        <p:spPr/>
        <p:txBody>
          <a:bodyPr/>
          <a:lstStyle/>
          <a:p>
            <a:fld id="{AA5055D5-11AB-4771-8336-31D80E8713DC}" type="datetimeFigureOut">
              <a:rPr lang="en-US" smtClean="0"/>
              <a:t>5/21/2020</a:t>
            </a:fld>
            <a:endParaRPr lang="en-US"/>
          </a:p>
        </p:txBody>
      </p:sp>
      <p:sp>
        <p:nvSpPr>
          <p:cNvPr id="6" name="Footer Placeholder 5">
            <a:extLst>
              <a:ext uri="{FF2B5EF4-FFF2-40B4-BE49-F238E27FC236}">
                <a16:creationId xmlns:a16="http://schemas.microsoft.com/office/drawing/2014/main" id="{7C7C325A-9C4F-45FA-92D0-CB9F35264F4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6A4BA0-1DD7-49AB-B3FE-007D1B6589CF}"/>
              </a:ext>
            </a:extLst>
          </p:cNvPr>
          <p:cNvSpPr>
            <a:spLocks noGrp="1"/>
          </p:cNvSpPr>
          <p:nvPr>
            <p:ph type="sldNum" sz="quarter" idx="12"/>
          </p:nvPr>
        </p:nvSpPr>
        <p:spPr/>
        <p:txBody>
          <a:bodyPr/>
          <a:lstStyle/>
          <a:p>
            <a:fld id="{0615F982-B452-4D1A-A7E6-307FD5B0D361}" type="slidenum">
              <a:rPr lang="en-US" smtClean="0"/>
              <a:t>‹#›</a:t>
            </a:fld>
            <a:endParaRPr lang="en-US"/>
          </a:p>
        </p:txBody>
      </p:sp>
    </p:spTree>
    <p:extLst>
      <p:ext uri="{BB962C8B-B14F-4D97-AF65-F5344CB8AC3E}">
        <p14:creationId xmlns:p14="http://schemas.microsoft.com/office/powerpoint/2010/main" val="29906237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4B616-9CB1-4E2D-8139-8DB2692A3EF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DBC7AFD-BFCC-4F1F-B9DD-6ABB2912C7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7A59714-C489-45A9-9B58-BCEC43E42F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7CE3A-6783-45DF-B53A-6101D64795F9}"/>
              </a:ext>
            </a:extLst>
          </p:cNvPr>
          <p:cNvSpPr>
            <a:spLocks noGrp="1"/>
          </p:cNvSpPr>
          <p:nvPr>
            <p:ph type="dt" sz="half" idx="10"/>
          </p:nvPr>
        </p:nvSpPr>
        <p:spPr/>
        <p:txBody>
          <a:bodyPr/>
          <a:lstStyle/>
          <a:p>
            <a:fld id="{AA5055D5-11AB-4771-8336-31D80E8713DC}" type="datetimeFigureOut">
              <a:rPr lang="en-US" smtClean="0"/>
              <a:t>5/21/2020</a:t>
            </a:fld>
            <a:endParaRPr lang="en-US"/>
          </a:p>
        </p:txBody>
      </p:sp>
      <p:sp>
        <p:nvSpPr>
          <p:cNvPr id="6" name="Footer Placeholder 5">
            <a:extLst>
              <a:ext uri="{FF2B5EF4-FFF2-40B4-BE49-F238E27FC236}">
                <a16:creationId xmlns:a16="http://schemas.microsoft.com/office/drawing/2014/main" id="{66B1D37D-D965-45D0-8580-1A37E71B4C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DD71D5-B70D-4C2E-A04C-35692B6B72B4}"/>
              </a:ext>
            </a:extLst>
          </p:cNvPr>
          <p:cNvSpPr>
            <a:spLocks noGrp="1"/>
          </p:cNvSpPr>
          <p:nvPr>
            <p:ph type="sldNum" sz="quarter" idx="12"/>
          </p:nvPr>
        </p:nvSpPr>
        <p:spPr/>
        <p:txBody>
          <a:bodyPr/>
          <a:lstStyle/>
          <a:p>
            <a:fld id="{0615F982-B452-4D1A-A7E6-307FD5B0D361}" type="slidenum">
              <a:rPr lang="en-US" smtClean="0"/>
              <a:t>‹#›</a:t>
            </a:fld>
            <a:endParaRPr lang="en-US"/>
          </a:p>
        </p:txBody>
      </p:sp>
    </p:spTree>
    <p:extLst>
      <p:ext uri="{BB962C8B-B14F-4D97-AF65-F5344CB8AC3E}">
        <p14:creationId xmlns:p14="http://schemas.microsoft.com/office/powerpoint/2010/main" val="41923708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4.bin"/><Relationship Id="rId5" Type="http://schemas.openxmlformats.org/officeDocument/2006/relationships/vmlDrawing" Target="../drawings/vmlDrawing4.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6E464C-67CD-41EB-93FE-3D82CB5F64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C8AF027-1595-4B07-9284-67946C580C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6C4B3F-CFFC-4841-B03D-1DE536BE7D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5055D5-11AB-4771-8336-31D80E8713DC}" type="datetimeFigureOut">
              <a:rPr lang="en-US" smtClean="0"/>
              <a:t>5/21/2020</a:t>
            </a:fld>
            <a:endParaRPr lang="en-US"/>
          </a:p>
        </p:txBody>
      </p:sp>
      <p:sp>
        <p:nvSpPr>
          <p:cNvPr id="5" name="Footer Placeholder 4">
            <a:extLst>
              <a:ext uri="{FF2B5EF4-FFF2-40B4-BE49-F238E27FC236}">
                <a16:creationId xmlns:a16="http://schemas.microsoft.com/office/drawing/2014/main" id="{8CFCC8D7-2BF8-4D14-81D2-BD2377D7A7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10E4A2E-BCE1-426A-B7ED-1BDE402945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15F982-B452-4D1A-A7E6-307FD5B0D361}" type="slidenum">
              <a:rPr lang="en-US" smtClean="0"/>
              <a:t>‹#›</a:t>
            </a:fld>
            <a:endParaRPr lang="en-US"/>
          </a:p>
        </p:txBody>
      </p:sp>
    </p:spTree>
    <p:extLst>
      <p:ext uri="{BB962C8B-B14F-4D97-AF65-F5344CB8AC3E}">
        <p14:creationId xmlns:p14="http://schemas.microsoft.com/office/powerpoint/2010/main" val="30234566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2"/>
          <p:cNvSpPr txBox="1">
            <a:spLocks noGrp="1"/>
          </p:cNvSpPr>
          <p:nvPr>
            <p:ph type="body" idx="1"/>
          </p:nvPr>
        </p:nvSpPr>
        <p:spPr>
          <a:xfrm>
            <a:off x="3124133" y="2570859"/>
            <a:ext cx="5853024" cy="188193"/>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223" b="0" i="0" u="none" strike="noStrike" cap="none">
                <a:solidFill>
                  <a:schemeClr val="accent6"/>
                </a:solidFill>
                <a:latin typeface="Arial"/>
                <a:ea typeface="Arial"/>
                <a:cs typeface="Arial"/>
                <a:sym typeface="Arial"/>
              </a:defRPr>
            </a:lvl1pPr>
            <a:lvl2pPr marL="914400" marR="0" lvl="1" indent="-325691" algn="l" rtl="0">
              <a:lnSpc>
                <a:spcPct val="100000"/>
              </a:lnSpc>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688" algn="l" rtl="0">
              <a:lnSpc>
                <a:spcPct val="100000"/>
              </a:lnSpc>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2"/>
          <p:cNvSpPr txBox="1">
            <a:spLocks noGrp="1"/>
          </p:cNvSpPr>
          <p:nvPr>
            <p:ph type="title"/>
          </p:nvPr>
        </p:nvSpPr>
        <p:spPr>
          <a:xfrm>
            <a:off x="233261" y="234866"/>
            <a:ext cx="11725486" cy="228973"/>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endParaRPr/>
          </a:p>
        </p:txBody>
      </p:sp>
      <p:sp>
        <p:nvSpPr>
          <p:cNvPr id="27" name="Google Shape;27;p12"/>
          <p:cNvSpPr txBox="1"/>
          <p:nvPr/>
        </p:nvSpPr>
        <p:spPr>
          <a:xfrm>
            <a:off x="11797359" y="6635263"/>
            <a:ext cx="161386" cy="120033"/>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764"/>
              <a:buFont typeface="Arial"/>
              <a:buNone/>
            </a:pPr>
            <a:fld id="{00000000-1234-1234-1234-123412341234}" type="slidenum">
              <a:rPr lang="en-US" sz="780" b="0" i="0" u="none" strike="noStrike" cap="none">
                <a:solidFill>
                  <a:schemeClr val="dk1"/>
                </a:solidFill>
                <a:latin typeface="Arial"/>
                <a:ea typeface="Arial"/>
                <a:cs typeface="Arial"/>
                <a:sym typeface="Arial"/>
              </a:rPr>
              <a:pPr marL="0" marR="0" lvl="0" indent="0" algn="r" rtl="0">
                <a:lnSpc>
                  <a:spcPct val="100000"/>
                </a:lnSpc>
                <a:spcBef>
                  <a:spcPts val="0"/>
                </a:spcBef>
                <a:spcAft>
                  <a:spcPts val="0"/>
                </a:spcAft>
                <a:buClr>
                  <a:srgbClr val="000000"/>
                </a:buClr>
                <a:buSzPts val="764"/>
                <a:buFont typeface="Arial"/>
                <a:buNone/>
              </a:pPr>
              <a:t>‹#›</a:t>
            </a:fld>
            <a:endParaRPr sz="780" b="0" i="0" u="none" strike="noStrike" cap="none">
              <a:solidFill>
                <a:schemeClr val="dk1"/>
              </a:solidFill>
              <a:latin typeface="Arial"/>
              <a:ea typeface="Arial"/>
              <a:cs typeface="Arial"/>
              <a:sym typeface="Arial"/>
            </a:endParaRPr>
          </a:p>
        </p:txBody>
      </p:sp>
      <p:cxnSp>
        <p:nvCxnSpPr>
          <p:cNvPr id="28" name="Google Shape;28;p12"/>
          <p:cNvCxnSpPr/>
          <p:nvPr/>
        </p:nvCxnSpPr>
        <p:spPr>
          <a:xfrm>
            <a:off x="121030" y="905708"/>
            <a:ext cx="11951924" cy="0"/>
          </a:xfrm>
          <a:prstGeom prst="straightConnector1">
            <a:avLst/>
          </a:prstGeom>
          <a:noFill/>
          <a:ln w="25400" cap="flat" cmpd="sng">
            <a:solidFill>
              <a:srgbClr val="000000"/>
            </a:solidFill>
            <a:prstDash val="solid"/>
            <a:round/>
            <a:headEnd type="none" w="sm" len="sm"/>
            <a:tailEnd type="none" w="sm" len="sm"/>
          </a:ln>
        </p:spPr>
      </p:cxnSp>
    </p:spTree>
    <p:extLst>
      <p:ext uri="{BB962C8B-B14F-4D97-AF65-F5344CB8AC3E}">
        <p14:creationId xmlns:p14="http://schemas.microsoft.com/office/powerpoint/2010/main" val="1107994121"/>
      </p:ext>
    </p:extLst>
  </p:cSld>
  <p:clrMap bg1="lt1" tx1="dk1" bg2="dk2" tx2="lt2" accent1="accent1" accent2="accent2" accent3="accent3" accent4="accent4" accent5="accent5" accent6="accent6" hlink="hlink" folHlink="folHlink"/>
  <p:sldLayoutIdLst>
    <p:sldLayoutId id="2147483663" r:id="rId1"/>
    <p:sldLayoutId id="2147483664" r:id="rId2"/>
    <p:sldLayoutId id="2147483665"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8197" r:id="rId6" imgW="158750" imgH="158750" progId="TCLayout.ActiveDocument.1">
                  <p:embed/>
                </p:oleObj>
              </mc:Choice>
              <mc:Fallback>
                <p:oleObj r:id="rId6" imgW="158750" imgH="158750" progId="TCLayout.ActiveDocument.1">
                  <p:embed/>
                  <p:pic>
                    <p:nvPicPr>
                      <p:cNvPr id="8" name="Google Shape;8;p7"/>
                      <p:cNvPicPr preferRelativeResize="0"/>
                      <p:nvPr/>
                    </p:nvPicPr>
                    <p:blipFill rotWithShape="1">
                      <a:blip r:embed="rId7">
                        <a:alphaModFix/>
                      </a:blip>
                      <a:srcRect/>
                      <a:stretch/>
                    </p:blipFill>
                    <p:spPr>
                      <a:xfrm>
                        <a:off x="0" y="0"/>
                        <a:ext cx="215979" cy="161974"/>
                      </a:xfrm>
                      <a:prstGeom prst="rect">
                        <a:avLst/>
                      </a:prstGeom>
                      <a:noFill/>
                      <a:ln>
                        <a:noFill/>
                      </a:ln>
                    </p:spPr>
                  </p:pic>
                </p:oleObj>
              </mc:Fallback>
            </mc:AlternateContent>
          </a:graphicData>
        </a:graphic>
      </p:graphicFrame>
      <p:sp>
        <p:nvSpPr>
          <p:cNvPr id="9" name="Google Shape;9;p7"/>
          <p:cNvSpPr/>
          <p:nvPr/>
        </p:nvSpPr>
        <p:spPr>
          <a:xfrm>
            <a:off x="11064592" y="37255"/>
            <a:ext cx="894152" cy="12472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16"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3124132" y="2570857"/>
            <a:ext cx="5853024" cy="246221"/>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233259" y="234863"/>
            <a:ext cx="11725485" cy="298327"/>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11745017" y="6616794"/>
            <a:ext cx="213726" cy="15696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20" b="0" i="0" u="none" strike="noStrike" cap="none">
                <a:solidFill>
                  <a:schemeClr val="dk1"/>
                </a:solidFill>
                <a:latin typeface="Arial"/>
                <a:ea typeface="Arial"/>
                <a:cs typeface="Arial"/>
                <a:sym typeface="Arial"/>
              </a:rPr>
              <a:pPr marL="0" marR="0" lvl="0" indent="0" algn="r" rtl="0">
                <a:spcBef>
                  <a:spcPts val="0"/>
                </a:spcBef>
                <a:spcAft>
                  <a:spcPts val="0"/>
                </a:spcAft>
                <a:buNone/>
              </a:pPr>
              <a:t>‹#›</a:t>
            </a:fld>
            <a:endParaRPr sz="102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12733991"/>
      </p:ext>
    </p:extLst>
  </p:cSld>
  <p:clrMap bg1="lt1" tx1="dk1" bg2="dk2" tx2="lt2" accent1="accent1" accent2="accent2" accent3="accent3" accent4="accent4" accent5="accent5" accent6="accent6" hlink="hlink" folHlink="folHlink"/>
  <p:sldLayoutIdLst>
    <p:sldLayoutId id="2147483667" r:id="rId1"/>
    <p:sldLayoutId id="2147483668" r:id="rId2"/>
    <p:sldLayoutId id="2147483673"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microsoft.com/office/2014/relationships/chartEx" Target="../charts/chartEx1.xml"/><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4.png"/><Relationship Id="rId5" Type="http://schemas.microsoft.com/office/2014/relationships/chartEx" Target="../charts/chartEx2.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18.xml"/><Relationship Id="rId4" Type="http://schemas.openxmlformats.org/officeDocument/2006/relationships/chart" Target="../charts/chart7.xml"/></Relationships>
</file>

<file path=ppt/slides/_rels/slide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comments" Target="../comments/comment1.xml"/></Relationships>
</file>

<file path=ppt/slides/_rels/slide8.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1762374" y="3545794"/>
            <a:ext cx="7518565" cy="922719"/>
          </a:xfrm>
          <a:prstGeom prst="rect">
            <a:avLst/>
          </a:prstGeom>
          <a:noFill/>
          <a:ln>
            <a:noFill/>
          </a:ln>
        </p:spPr>
        <p:txBody>
          <a:bodyPr spcFirstLastPara="1" vert="horz" wrap="square" lIns="0" tIns="0" rIns="0" bIns="0" rtlCol="0" anchor="t" anchorCtr="0">
            <a:spAutoFit/>
          </a:bodyPr>
          <a:lstStyle/>
          <a:p>
            <a:r>
              <a:rPr lang="en-AU" dirty="0"/>
              <a:t>Southern Water Corp – Non-Technical Presentation</a:t>
            </a:r>
            <a:endParaRPr dirty="0"/>
          </a:p>
        </p:txBody>
      </p:sp>
      <p:sp>
        <p:nvSpPr>
          <p:cNvPr id="42" name="Google Shape;42;p1"/>
          <p:cNvSpPr txBox="1"/>
          <p:nvPr/>
        </p:nvSpPr>
        <p:spPr>
          <a:xfrm>
            <a:off x="1762374" y="5185924"/>
            <a:ext cx="5035786" cy="224203"/>
          </a:xfrm>
          <a:prstGeom prst="rect">
            <a:avLst/>
          </a:prstGeom>
          <a:noFill/>
          <a:ln>
            <a:noFill/>
          </a:ln>
        </p:spPr>
        <p:txBody>
          <a:bodyPr spcFirstLastPara="1" wrap="square" lIns="0" tIns="0" rIns="0" bIns="0" anchor="t" anchorCtr="0">
            <a:spAutoFit/>
          </a:bodyPr>
          <a:lstStyle/>
          <a:p>
            <a:r>
              <a:rPr lang="en-AU" sz="1428" dirty="0">
                <a:solidFill>
                  <a:schemeClr val="dk1"/>
                </a:solidFill>
                <a:latin typeface="Arial"/>
                <a:ea typeface="Arial"/>
                <a:cs typeface="Arial"/>
                <a:sym typeface="Arial"/>
              </a:rPr>
              <a:t>Date: 5/21/2020</a:t>
            </a:r>
            <a:endParaRPr sz="1837" dirty="0"/>
          </a:p>
        </p:txBody>
      </p:sp>
      <p:sp>
        <p:nvSpPr>
          <p:cNvPr id="43" name="Google Shape;43;p1"/>
          <p:cNvSpPr txBox="1"/>
          <p:nvPr/>
        </p:nvSpPr>
        <p:spPr>
          <a:xfrm>
            <a:off x="1762373" y="5500025"/>
            <a:ext cx="5035786" cy="224203"/>
          </a:xfrm>
          <a:prstGeom prst="rect">
            <a:avLst/>
          </a:prstGeom>
          <a:noFill/>
          <a:ln>
            <a:noFill/>
          </a:ln>
        </p:spPr>
        <p:txBody>
          <a:bodyPr spcFirstLastPara="1" wrap="square" lIns="0" tIns="0" rIns="0" bIns="0" anchor="t" anchorCtr="0">
            <a:spAutoFit/>
          </a:bodyPr>
          <a:lstStyle/>
          <a:p>
            <a:r>
              <a:rPr lang="en-AU" sz="1428" dirty="0">
                <a:solidFill>
                  <a:schemeClr val="dk1"/>
                </a:solidFill>
                <a:latin typeface="Arial"/>
                <a:ea typeface="Arial"/>
                <a:cs typeface="Arial"/>
                <a:sym typeface="Arial"/>
              </a:rPr>
              <a:t>Presenter: Derick Lai</a:t>
            </a:r>
            <a:endParaRPr sz="1837"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699204" y="234864"/>
            <a:ext cx="8793595" cy="678071"/>
          </a:xfrm>
          <a:prstGeom prst="rect">
            <a:avLst/>
          </a:prstGeom>
          <a:noFill/>
          <a:ln>
            <a:noFill/>
          </a:ln>
        </p:spPr>
        <p:txBody>
          <a:bodyPr spcFirstLastPara="1" vert="horz" wrap="square" lIns="0" tIns="0" rIns="0" bIns="0" rtlCol="0" anchor="t" anchorCtr="0">
            <a:spAutoFit/>
          </a:bodyPr>
          <a:lstStyle/>
          <a:p>
            <a:r>
              <a:rPr lang="en-AU" sz="1632" b="1" dirty="0">
                <a:solidFill>
                  <a:srgbClr val="002060"/>
                </a:solidFill>
              </a:rPr>
              <a:t>Southern Water Corp has been experiencing issues with their </a:t>
            </a:r>
            <a:r>
              <a:rPr lang="en-AU" sz="1632" b="1" dirty="0" err="1">
                <a:solidFill>
                  <a:srgbClr val="002060"/>
                </a:solidFill>
              </a:rPr>
              <a:t>Surjek</a:t>
            </a:r>
            <a:r>
              <a:rPr lang="en-AU" sz="1632" b="1" dirty="0">
                <a:solidFill>
                  <a:srgbClr val="002060"/>
                </a:solidFill>
              </a:rPr>
              <a:t> Desalination Plants due to increased demand from agricultural and residential usage. This in turn has led to production issues in regards to Plant Maintenance</a:t>
            </a:r>
            <a:endParaRPr sz="1632" b="1" dirty="0">
              <a:solidFill>
                <a:srgbClr val="002060"/>
              </a:solidFill>
            </a:endParaRPr>
          </a:p>
        </p:txBody>
      </p:sp>
      <p:grpSp>
        <p:nvGrpSpPr>
          <p:cNvPr id="49" name="Google Shape;49;p3"/>
          <p:cNvGrpSpPr/>
          <p:nvPr/>
        </p:nvGrpSpPr>
        <p:grpSpPr>
          <a:xfrm>
            <a:off x="2233878" y="1412896"/>
            <a:ext cx="7490997" cy="1492048"/>
            <a:chOff x="709649" y="1412776"/>
            <a:chExt cx="7491440" cy="1492136"/>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algn="ctr"/>
              <a:endParaRPr sz="3200">
                <a:solidFill>
                  <a:srgbClr val="888C92"/>
                </a:solidFill>
                <a:latin typeface="Arial"/>
                <a:ea typeface="Arial"/>
                <a:cs typeface="Arial"/>
                <a:sym typeface="Arial"/>
              </a:endParaRPr>
            </a:p>
          </p:txBody>
        </p:sp>
        <p:sp>
          <p:nvSpPr>
            <p:cNvPr id="51" name="Google Shape;51;p3"/>
            <p:cNvSpPr/>
            <p:nvPr/>
          </p:nvSpPr>
          <p:spPr>
            <a:xfrm>
              <a:off x="952547" y="2069732"/>
              <a:ext cx="3528392" cy="463526"/>
            </a:xfrm>
            <a:prstGeom prst="rect">
              <a:avLst/>
            </a:prstGeom>
            <a:noFill/>
            <a:ln>
              <a:noFill/>
            </a:ln>
          </p:spPr>
          <p:txBody>
            <a:bodyPr spcFirstLastPara="1" wrap="square" lIns="93282" tIns="46628" rIns="93282" bIns="46628" anchor="t" anchorCtr="0">
              <a:spAutoFit/>
            </a:bodyPr>
            <a:lstStyle/>
            <a:p>
              <a:pPr algn="ctr"/>
              <a:r>
                <a:rPr lang="en-US" sz="1200" b="1" dirty="0">
                  <a:solidFill>
                    <a:srgbClr val="002060"/>
                  </a:solidFill>
                  <a:latin typeface="Quattrocento Sans"/>
                  <a:sym typeface="Quattrocento Sans"/>
                </a:rPr>
                <a:t>Southern Water Corp has had to increase production to meet it’s clients increased demand.</a:t>
              </a:r>
              <a:endParaRPr sz="1837" dirty="0"/>
            </a:p>
          </p:txBody>
        </p:sp>
        <p:sp>
          <p:nvSpPr>
            <p:cNvPr id="52" name="Google Shape;52;p3"/>
            <p:cNvSpPr/>
            <p:nvPr/>
          </p:nvSpPr>
          <p:spPr>
            <a:xfrm>
              <a:off x="709649" y="1412776"/>
              <a:ext cx="381642" cy="392605"/>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3282" tIns="46628" rIns="93282" bIns="46628" anchor="ctr" anchorCtr="0">
              <a:noAutofit/>
            </a:bodyPr>
            <a:lstStyle/>
            <a:p>
              <a:pPr algn="ctr"/>
              <a:r>
                <a:rPr lang="en-AU" sz="1400" b="1">
                  <a:solidFill>
                    <a:srgbClr val="002060"/>
                  </a:solidFill>
                  <a:latin typeface="Quattrocento Sans"/>
                  <a:ea typeface="Quattrocento Sans"/>
                  <a:cs typeface="Quattrocento Sans"/>
                  <a:sym typeface="Quattrocento Sans"/>
                </a:rPr>
                <a:t>!</a:t>
              </a:r>
              <a:endParaRPr sz="1837"/>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3282" tIns="46628" rIns="93282" bIns="46628" anchor="ctr" anchorCtr="0">
              <a:noAutofit/>
            </a:bodyPr>
            <a:lstStyle/>
            <a:p>
              <a:pPr algn="ctr"/>
              <a:endParaRPr sz="1600">
                <a:solidFill>
                  <a:schemeClr val="lt1"/>
                </a:solidFill>
                <a:latin typeface="Arial"/>
                <a:ea typeface="Arial"/>
                <a:cs typeface="Arial"/>
                <a:sym typeface="Arial"/>
              </a:endParaRPr>
            </a:p>
          </p:txBody>
        </p:sp>
        <p:sp>
          <p:nvSpPr>
            <p:cNvPr id="54" name="Google Shape;54;p3"/>
            <p:cNvSpPr/>
            <p:nvPr/>
          </p:nvSpPr>
          <p:spPr>
            <a:xfrm>
              <a:off x="4609803" y="2069731"/>
              <a:ext cx="3528392" cy="463526"/>
            </a:xfrm>
            <a:prstGeom prst="rect">
              <a:avLst/>
            </a:prstGeom>
            <a:noFill/>
            <a:ln>
              <a:noFill/>
            </a:ln>
          </p:spPr>
          <p:txBody>
            <a:bodyPr spcFirstLastPara="1" wrap="square" lIns="93282" tIns="46628" rIns="93282" bIns="46628" anchor="t" anchorCtr="0">
              <a:spAutoFit/>
            </a:bodyPr>
            <a:lstStyle/>
            <a:p>
              <a:pPr algn="ctr"/>
              <a:r>
                <a:rPr lang="en-AU" sz="1200" b="1" dirty="0">
                  <a:solidFill>
                    <a:srgbClr val="002060"/>
                  </a:solidFill>
                  <a:latin typeface="Quattrocento Sans"/>
                  <a:ea typeface="Quattrocento Sans"/>
                  <a:cs typeface="Quattrocento Sans"/>
                  <a:sym typeface="Quattrocento Sans"/>
                </a:rPr>
                <a:t>Revenues have increased for the Calendar year but production costs have increased.</a:t>
              </a:r>
              <a:endParaRPr sz="1837" dirty="0"/>
            </a:p>
          </p:txBody>
        </p:sp>
      </p:grpSp>
      <p:sp>
        <p:nvSpPr>
          <p:cNvPr id="55" name="Google Shape;55;p3"/>
          <p:cNvSpPr/>
          <p:nvPr/>
        </p:nvSpPr>
        <p:spPr>
          <a:xfrm>
            <a:off x="2416000" y="3239756"/>
            <a:ext cx="3663551" cy="1393278"/>
          </a:xfrm>
          <a:prstGeom prst="rect">
            <a:avLst/>
          </a:prstGeom>
          <a:solidFill>
            <a:srgbClr val="F2F2F2">
              <a:alpha val="84705"/>
            </a:srgbClr>
          </a:solidFill>
          <a:ln>
            <a:noFill/>
          </a:ln>
        </p:spPr>
        <p:txBody>
          <a:bodyPr spcFirstLastPara="1" wrap="square" lIns="0" tIns="0" rIns="0" bIns="0" anchor="t" anchorCtr="0">
            <a:noAutofit/>
          </a:bodyPr>
          <a:lstStyle/>
          <a:p>
            <a:pPr algn="ctr"/>
            <a:endParaRPr sz="3200">
              <a:solidFill>
                <a:srgbClr val="888C92"/>
              </a:solidFill>
              <a:latin typeface="Arial"/>
              <a:ea typeface="Arial"/>
              <a:cs typeface="Arial"/>
              <a:sym typeface="Arial"/>
            </a:endParaRPr>
          </a:p>
        </p:txBody>
      </p:sp>
      <p:sp>
        <p:nvSpPr>
          <p:cNvPr id="56" name="Google Shape;56;p3"/>
          <p:cNvSpPr/>
          <p:nvPr/>
        </p:nvSpPr>
        <p:spPr>
          <a:xfrm>
            <a:off x="2501011" y="3613248"/>
            <a:ext cx="3528184" cy="648165"/>
          </a:xfrm>
          <a:prstGeom prst="rect">
            <a:avLst/>
          </a:prstGeom>
          <a:noFill/>
          <a:ln>
            <a:noFill/>
          </a:ln>
        </p:spPr>
        <p:txBody>
          <a:bodyPr spcFirstLastPara="1" wrap="square" lIns="93282" tIns="46628" rIns="93282" bIns="46628" anchor="t" anchorCtr="0">
            <a:spAutoFit/>
          </a:bodyPr>
          <a:lstStyle/>
          <a:p>
            <a:pPr lvl="0" algn="ctr"/>
            <a:r>
              <a:rPr lang="en-US" sz="1200" b="1" dirty="0">
                <a:solidFill>
                  <a:srgbClr val="002060"/>
                </a:solidFill>
                <a:latin typeface="Quattrocento Sans"/>
                <a:ea typeface="Quattrocento Sans"/>
                <a:cs typeface="Quattrocento Sans"/>
                <a:sym typeface="Quattrocento Sans"/>
              </a:rPr>
              <a:t>Increased production has also put more stress on equipment necessary to produce water supply.</a:t>
            </a:r>
            <a:endParaRPr lang="en-US" sz="1224" dirty="0"/>
          </a:p>
          <a:p>
            <a:pPr algn="ctr"/>
            <a:endParaRPr sz="1200" b="1" dirty="0">
              <a:solidFill>
                <a:srgbClr val="002060"/>
              </a:solidFill>
              <a:latin typeface="Quattrocento Sans"/>
              <a:ea typeface="Quattrocento Sans"/>
              <a:cs typeface="Quattrocento Sans"/>
              <a:sym typeface="Quattrocento Sans"/>
            </a:endParaRPr>
          </a:p>
        </p:txBody>
      </p:sp>
      <p:sp>
        <p:nvSpPr>
          <p:cNvPr id="57" name="Google Shape;57;p3"/>
          <p:cNvSpPr/>
          <p:nvPr/>
        </p:nvSpPr>
        <p:spPr>
          <a:xfrm>
            <a:off x="2242518" y="3140986"/>
            <a:ext cx="381619" cy="392582"/>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3282" tIns="46628" rIns="93282" bIns="46628" anchor="ctr" anchorCtr="0">
            <a:noAutofit/>
          </a:bodyPr>
          <a:lstStyle/>
          <a:p>
            <a:pPr algn="ctr"/>
            <a:r>
              <a:rPr lang="en-AU" sz="1400" b="1">
                <a:solidFill>
                  <a:srgbClr val="002060"/>
                </a:solidFill>
                <a:latin typeface="Quattrocento Sans"/>
                <a:ea typeface="Quattrocento Sans"/>
                <a:cs typeface="Quattrocento Sans"/>
                <a:sym typeface="Quattrocento Sans"/>
              </a:rPr>
              <a:t>!</a:t>
            </a:r>
            <a:endParaRPr sz="1837"/>
          </a:p>
        </p:txBody>
      </p:sp>
      <p:sp>
        <p:nvSpPr>
          <p:cNvPr id="58" name="Google Shape;58;p3"/>
          <p:cNvSpPr/>
          <p:nvPr/>
        </p:nvSpPr>
        <p:spPr>
          <a:xfrm>
            <a:off x="6070910" y="3239756"/>
            <a:ext cx="3663551" cy="1393278"/>
          </a:xfrm>
          <a:prstGeom prst="rect">
            <a:avLst/>
          </a:prstGeom>
          <a:solidFill>
            <a:srgbClr val="F6A401">
              <a:alpha val="89803"/>
            </a:srgbClr>
          </a:solidFill>
          <a:ln>
            <a:noFill/>
          </a:ln>
        </p:spPr>
        <p:txBody>
          <a:bodyPr spcFirstLastPara="1" wrap="square" lIns="93282" tIns="46628" rIns="93282" bIns="46628" anchor="ctr" anchorCtr="0">
            <a:noAutofit/>
          </a:bodyPr>
          <a:lstStyle/>
          <a:p>
            <a:pPr algn="ctr"/>
            <a:endParaRPr sz="1600">
              <a:solidFill>
                <a:schemeClr val="lt1"/>
              </a:solidFill>
              <a:latin typeface="Arial"/>
              <a:ea typeface="Arial"/>
              <a:cs typeface="Arial"/>
              <a:sym typeface="Arial"/>
            </a:endParaRPr>
          </a:p>
        </p:txBody>
      </p:sp>
      <p:sp>
        <p:nvSpPr>
          <p:cNvPr id="60" name="Google Shape;60;p3"/>
          <p:cNvSpPr/>
          <p:nvPr/>
        </p:nvSpPr>
        <p:spPr>
          <a:xfrm>
            <a:off x="2433328" y="4948077"/>
            <a:ext cx="3663551" cy="1393278"/>
          </a:xfrm>
          <a:prstGeom prst="rect">
            <a:avLst/>
          </a:prstGeom>
          <a:solidFill>
            <a:srgbClr val="F2F2F2">
              <a:alpha val="84705"/>
            </a:srgbClr>
          </a:solidFill>
          <a:ln>
            <a:noFill/>
          </a:ln>
        </p:spPr>
        <p:txBody>
          <a:bodyPr spcFirstLastPara="1" wrap="square" lIns="0" tIns="0" rIns="0" bIns="0" anchor="t" anchorCtr="0">
            <a:noAutofit/>
          </a:bodyPr>
          <a:lstStyle/>
          <a:p>
            <a:pPr algn="ctr"/>
            <a:endParaRPr sz="3200">
              <a:solidFill>
                <a:srgbClr val="888C92"/>
              </a:solidFill>
              <a:latin typeface="Arial"/>
              <a:ea typeface="Arial"/>
              <a:cs typeface="Arial"/>
              <a:sym typeface="Arial"/>
            </a:endParaRPr>
          </a:p>
        </p:txBody>
      </p:sp>
      <p:sp>
        <p:nvSpPr>
          <p:cNvPr id="61" name="Google Shape;61;p3"/>
          <p:cNvSpPr/>
          <p:nvPr/>
        </p:nvSpPr>
        <p:spPr>
          <a:xfrm>
            <a:off x="2259846" y="4838142"/>
            <a:ext cx="381619" cy="392582"/>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3282" tIns="46628" rIns="93282" bIns="46628" anchor="ctr" anchorCtr="0">
            <a:noAutofit/>
          </a:bodyPr>
          <a:lstStyle/>
          <a:p>
            <a:pPr algn="ctr"/>
            <a:r>
              <a:rPr lang="en-AU" sz="1400" b="1">
                <a:solidFill>
                  <a:srgbClr val="002060"/>
                </a:solidFill>
                <a:latin typeface="Quattrocento Sans"/>
                <a:ea typeface="Quattrocento Sans"/>
                <a:cs typeface="Quattrocento Sans"/>
                <a:sym typeface="Quattrocento Sans"/>
              </a:rPr>
              <a:t>!</a:t>
            </a:r>
            <a:endParaRPr sz="1837"/>
          </a:p>
        </p:txBody>
      </p:sp>
      <p:sp>
        <p:nvSpPr>
          <p:cNvPr id="62" name="Google Shape;62;p3"/>
          <p:cNvSpPr/>
          <p:nvPr/>
        </p:nvSpPr>
        <p:spPr>
          <a:xfrm>
            <a:off x="6088238" y="4948077"/>
            <a:ext cx="3663551" cy="1393278"/>
          </a:xfrm>
          <a:prstGeom prst="rect">
            <a:avLst/>
          </a:prstGeom>
          <a:solidFill>
            <a:srgbClr val="F6A401">
              <a:alpha val="89803"/>
            </a:srgbClr>
          </a:solidFill>
          <a:ln>
            <a:noFill/>
          </a:ln>
        </p:spPr>
        <p:txBody>
          <a:bodyPr spcFirstLastPara="1" wrap="square" lIns="93282" tIns="46628" rIns="93282" bIns="46628" anchor="ctr" anchorCtr="0">
            <a:noAutofit/>
          </a:bodyPr>
          <a:lstStyle/>
          <a:p>
            <a:pPr algn="ctr"/>
            <a:endParaRPr sz="1600">
              <a:solidFill>
                <a:schemeClr val="lt1"/>
              </a:solidFill>
              <a:latin typeface="Arial"/>
              <a:ea typeface="Arial"/>
              <a:cs typeface="Arial"/>
              <a:sym typeface="Arial"/>
            </a:endParaRPr>
          </a:p>
        </p:txBody>
      </p:sp>
      <p:sp>
        <p:nvSpPr>
          <p:cNvPr id="63" name="Google Shape;63;p3"/>
          <p:cNvSpPr/>
          <p:nvPr/>
        </p:nvSpPr>
        <p:spPr>
          <a:xfrm>
            <a:off x="2533141" y="5506225"/>
            <a:ext cx="3528184" cy="463499"/>
          </a:xfrm>
          <a:prstGeom prst="rect">
            <a:avLst/>
          </a:prstGeom>
          <a:noFill/>
          <a:ln>
            <a:noFill/>
          </a:ln>
        </p:spPr>
        <p:txBody>
          <a:bodyPr spcFirstLastPara="1" wrap="square" lIns="93282" tIns="46628" rIns="93282" bIns="46628" anchor="t" anchorCtr="0">
            <a:spAutoFit/>
          </a:bodyPr>
          <a:lstStyle/>
          <a:p>
            <a:pPr algn="ctr"/>
            <a:r>
              <a:rPr lang="en-AU" sz="1200" b="1" dirty="0">
                <a:solidFill>
                  <a:srgbClr val="002060"/>
                </a:solidFill>
                <a:latin typeface="Quattrocento Sans"/>
                <a:sym typeface="Quattrocento Sans"/>
              </a:rPr>
              <a:t>Increase Forecast Revenues and potentially higher maintenance costs are key concerns.</a:t>
            </a:r>
            <a:endParaRPr sz="1837" dirty="0"/>
          </a:p>
        </p:txBody>
      </p:sp>
      <p:sp>
        <p:nvSpPr>
          <p:cNvPr id="64" name="Google Shape;64;p3"/>
          <p:cNvSpPr/>
          <p:nvPr/>
        </p:nvSpPr>
        <p:spPr>
          <a:xfrm>
            <a:off x="6155921" y="5408265"/>
            <a:ext cx="3528184" cy="648165"/>
          </a:xfrm>
          <a:prstGeom prst="rect">
            <a:avLst/>
          </a:prstGeom>
          <a:noFill/>
          <a:ln>
            <a:noFill/>
          </a:ln>
        </p:spPr>
        <p:txBody>
          <a:bodyPr spcFirstLastPara="1" wrap="square" lIns="93282" tIns="46628" rIns="93282" bIns="46628" anchor="t" anchorCtr="0">
            <a:spAutoFit/>
          </a:bodyPr>
          <a:lstStyle/>
          <a:p>
            <a:pPr algn="ctr"/>
            <a:r>
              <a:rPr lang="en-AU" sz="1200" b="1" dirty="0">
                <a:solidFill>
                  <a:srgbClr val="002060"/>
                </a:solidFill>
                <a:latin typeface="Quattrocento Sans"/>
                <a:ea typeface="Quattrocento Sans"/>
                <a:cs typeface="Quattrocento Sans"/>
                <a:sym typeface="Quattrocento Sans"/>
              </a:rPr>
              <a:t>Will need to effectively look at where higher costs are of concern and to identify key problem indicators for production equipment.</a:t>
            </a:r>
            <a:endParaRPr sz="1837" dirty="0"/>
          </a:p>
        </p:txBody>
      </p:sp>
      <p:sp>
        <p:nvSpPr>
          <p:cNvPr id="19" name="Google Shape;54;p3">
            <a:extLst>
              <a:ext uri="{FF2B5EF4-FFF2-40B4-BE49-F238E27FC236}">
                <a16:creationId xmlns:a16="http://schemas.microsoft.com/office/drawing/2014/main" id="{F0C4C786-818C-461E-AB49-D289C67667BF}"/>
              </a:ext>
            </a:extLst>
          </p:cNvPr>
          <p:cNvSpPr/>
          <p:nvPr/>
        </p:nvSpPr>
        <p:spPr>
          <a:xfrm>
            <a:off x="6196692" y="3613248"/>
            <a:ext cx="3528183" cy="648165"/>
          </a:xfrm>
          <a:prstGeom prst="rect">
            <a:avLst/>
          </a:prstGeom>
          <a:noFill/>
          <a:ln>
            <a:noFill/>
          </a:ln>
        </p:spPr>
        <p:txBody>
          <a:bodyPr spcFirstLastPara="1" wrap="square" lIns="93282" tIns="46628" rIns="93282" bIns="46628" anchor="t" anchorCtr="0">
            <a:spAutoFit/>
          </a:bodyPr>
          <a:lstStyle/>
          <a:p>
            <a:pPr algn="ctr"/>
            <a:r>
              <a:rPr lang="en-AU" sz="1200" b="1" dirty="0">
                <a:solidFill>
                  <a:srgbClr val="002060"/>
                </a:solidFill>
                <a:latin typeface="Quattrocento Sans"/>
                <a:sym typeface="Quattrocento Sans"/>
              </a:rPr>
              <a:t>Increased production has led to mechanical issues for water production pumps. Maintenance schedule needs to be re-evaluated.</a:t>
            </a:r>
            <a:endParaRPr sz="1837"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sp>
        <p:nvSpPr>
          <p:cNvPr id="152" name="Google Shape;152;p3"/>
          <p:cNvSpPr txBox="1">
            <a:spLocks noGrp="1"/>
          </p:cNvSpPr>
          <p:nvPr>
            <p:ph type="title"/>
          </p:nvPr>
        </p:nvSpPr>
        <p:spPr>
          <a:xfrm>
            <a:off x="201374" y="177002"/>
            <a:ext cx="11870383" cy="492443"/>
          </a:xfrm>
          <a:prstGeom prst="rect">
            <a:avLst/>
          </a:prstGeom>
          <a:noFill/>
          <a:ln>
            <a:noFill/>
          </a:ln>
        </p:spPr>
        <p:txBody>
          <a:bodyPr spcFirstLastPara="1" wrap="square" lIns="0" tIns="0" rIns="0" bIns="0" anchor="t" anchorCtr="0">
            <a:spAutoFit/>
          </a:bodyPr>
          <a:lstStyle/>
          <a:p>
            <a:r>
              <a:rPr lang="en-US" sz="1600" dirty="0">
                <a:solidFill>
                  <a:schemeClr val="tx1"/>
                </a:solidFill>
              </a:rPr>
              <a:t>Production costs are forecasted to rise significantly beginning in November and peak at April. Notice the individual plant breakdowns below the Overall figure. </a:t>
            </a:r>
            <a:r>
              <a:rPr lang="en-US" sz="1600" dirty="0" err="1">
                <a:solidFill>
                  <a:schemeClr val="tx1"/>
                </a:solidFill>
              </a:rPr>
              <a:t>Kootha</a:t>
            </a:r>
            <a:r>
              <a:rPr lang="en-US" sz="1600" dirty="0">
                <a:solidFill>
                  <a:schemeClr val="tx1"/>
                </a:solidFill>
              </a:rPr>
              <a:t> and </a:t>
            </a:r>
            <a:r>
              <a:rPr lang="en-US" sz="1600" dirty="0" err="1">
                <a:solidFill>
                  <a:schemeClr val="tx1"/>
                </a:solidFill>
              </a:rPr>
              <a:t>Surjek</a:t>
            </a:r>
            <a:r>
              <a:rPr lang="en-US" sz="1600" dirty="0">
                <a:solidFill>
                  <a:schemeClr val="tx1"/>
                </a:solidFill>
              </a:rPr>
              <a:t> show the most increase in Forecasted costs.</a:t>
            </a:r>
            <a:endParaRPr sz="1600" dirty="0">
              <a:solidFill>
                <a:schemeClr val="tx1"/>
              </a:solidFill>
            </a:endParaRPr>
          </a:p>
        </p:txBody>
      </p:sp>
      <p:graphicFrame>
        <p:nvGraphicFramePr>
          <p:cNvPr id="9" name="Chart 8">
            <a:extLst>
              <a:ext uri="{FF2B5EF4-FFF2-40B4-BE49-F238E27FC236}">
                <a16:creationId xmlns:a16="http://schemas.microsoft.com/office/drawing/2014/main" id="{93F6C233-E12D-4A7E-8357-43E01123122E}"/>
              </a:ext>
            </a:extLst>
          </p:cNvPr>
          <p:cNvGraphicFramePr>
            <a:graphicFrameLocks/>
          </p:cNvGraphicFramePr>
          <p:nvPr>
            <p:extLst>
              <p:ext uri="{D42A27DB-BD31-4B8C-83A1-F6EECF244321}">
                <p14:modId xmlns:p14="http://schemas.microsoft.com/office/powerpoint/2010/main" val="150922836"/>
              </p:ext>
            </p:extLst>
          </p:nvPr>
        </p:nvGraphicFramePr>
        <p:xfrm>
          <a:off x="0" y="1040235"/>
          <a:ext cx="12192000" cy="29346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BA2A417A-DBA8-41EE-96C0-B31F9B16DD4E}"/>
              </a:ext>
            </a:extLst>
          </p:cNvPr>
          <p:cNvGraphicFramePr>
            <a:graphicFrameLocks/>
          </p:cNvGraphicFramePr>
          <p:nvPr>
            <p:extLst>
              <p:ext uri="{D42A27DB-BD31-4B8C-83A1-F6EECF244321}">
                <p14:modId xmlns:p14="http://schemas.microsoft.com/office/powerpoint/2010/main" val="2478217803"/>
              </p:ext>
            </p:extLst>
          </p:nvPr>
        </p:nvGraphicFramePr>
        <p:xfrm>
          <a:off x="201375" y="3900027"/>
          <a:ext cx="3036934" cy="29346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4F4F5A48-231E-48EE-9393-EC941598D1CA}"/>
              </a:ext>
            </a:extLst>
          </p:cNvPr>
          <p:cNvGraphicFramePr>
            <a:graphicFrameLocks/>
          </p:cNvGraphicFramePr>
          <p:nvPr>
            <p:extLst>
              <p:ext uri="{D42A27DB-BD31-4B8C-83A1-F6EECF244321}">
                <p14:modId xmlns:p14="http://schemas.microsoft.com/office/powerpoint/2010/main" val="4002196630"/>
              </p:ext>
            </p:extLst>
          </p:nvPr>
        </p:nvGraphicFramePr>
        <p:xfrm>
          <a:off x="4577533" y="3928657"/>
          <a:ext cx="3036934" cy="293468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a:extLst>
              <a:ext uri="{FF2B5EF4-FFF2-40B4-BE49-F238E27FC236}">
                <a16:creationId xmlns:a16="http://schemas.microsoft.com/office/drawing/2014/main" id="{AEA571A8-6CCA-4E7E-9FA2-EEBCFCA19FD4}"/>
              </a:ext>
            </a:extLst>
          </p:cNvPr>
          <p:cNvGraphicFramePr>
            <a:graphicFrameLocks/>
          </p:cNvGraphicFramePr>
          <p:nvPr>
            <p:extLst>
              <p:ext uri="{D42A27DB-BD31-4B8C-83A1-F6EECF244321}">
                <p14:modId xmlns:p14="http://schemas.microsoft.com/office/powerpoint/2010/main" val="1060913530"/>
              </p:ext>
            </p:extLst>
          </p:nvPr>
        </p:nvGraphicFramePr>
        <p:xfrm>
          <a:off x="8953691" y="3894145"/>
          <a:ext cx="2666842" cy="294056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146463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2"/>
        <p:cNvGrpSpPr/>
        <p:nvPr/>
      </p:nvGrpSpPr>
      <p:grpSpPr>
        <a:xfrm>
          <a:off x="0" y="0"/>
          <a:ext cx="0" cy="0"/>
          <a:chOff x="0" y="0"/>
          <a:chExt cx="0" cy="0"/>
        </a:xfrm>
      </p:grpSpPr>
      <p:sp>
        <p:nvSpPr>
          <p:cNvPr id="74" name="Google Shape;74;p8"/>
          <p:cNvSpPr txBox="1">
            <a:spLocks noGrp="1"/>
          </p:cNvSpPr>
          <p:nvPr>
            <p:ph type="title"/>
          </p:nvPr>
        </p:nvSpPr>
        <p:spPr>
          <a:xfrm>
            <a:off x="1715546" y="246737"/>
            <a:ext cx="8760912" cy="439479"/>
          </a:xfrm>
          <a:prstGeom prst="rect">
            <a:avLst/>
          </a:prstGeom>
          <a:noFill/>
          <a:ln>
            <a:noFill/>
          </a:ln>
        </p:spPr>
        <p:txBody>
          <a:bodyPr spcFirstLastPara="1" wrap="square" lIns="0" tIns="0" rIns="0" bIns="0" anchor="t" anchorCtr="0">
            <a:spAutoFit/>
          </a:bodyPr>
          <a:lstStyle/>
          <a:p>
            <a:r>
              <a:rPr lang="en-US" sz="1428" dirty="0">
                <a:solidFill>
                  <a:srgbClr val="002060"/>
                </a:solidFill>
              </a:rPr>
              <a:t>When weighed against the Market Price, </a:t>
            </a:r>
            <a:r>
              <a:rPr lang="en-US" sz="1428" dirty="0" err="1">
                <a:solidFill>
                  <a:srgbClr val="002060"/>
                </a:solidFill>
              </a:rPr>
              <a:t>Jutik</a:t>
            </a:r>
            <a:r>
              <a:rPr lang="en-US" sz="1428" dirty="0">
                <a:solidFill>
                  <a:srgbClr val="002060"/>
                </a:solidFill>
              </a:rPr>
              <a:t> has shown to be the most cost efficient. </a:t>
            </a:r>
            <a:r>
              <a:rPr lang="en-US" sz="1428" dirty="0" err="1">
                <a:solidFill>
                  <a:srgbClr val="002060"/>
                </a:solidFill>
              </a:rPr>
              <a:t>Surjek</a:t>
            </a:r>
            <a:r>
              <a:rPr lang="en-US" sz="1428" dirty="0">
                <a:solidFill>
                  <a:srgbClr val="002060"/>
                </a:solidFill>
              </a:rPr>
              <a:t> cost of production significantly outweigh the other plants.</a:t>
            </a:r>
          </a:p>
        </p:txBody>
      </p:sp>
      <p:sp>
        <p:nvSpPr>
          <p:cNvPr id="75" name="Google Shape;75;p8"/>
          <p:cNvSpPr txBox="1"/>
          <p:nvPr/>
        </p:nvSpPr>
        <p:spPr>
          <a:xfrm>
            <a:off x="1715545" y="990213"/>
            <a:ext cx="7383921" cy="191557"/>
          </a:xfrm>
          <a:prstGeom prst="rect">
            <a:avLst/>
          </a:prstGeom>
          <a:noFill/>
          <a:ln>
            <a:noFill/>
          </a:ln>
        </p:spPr>
        <p:txBody>
          <a:bodyPr spcFirstLastPara="1" wrap="square" lIns="0" tIns="0" rIns="0" bIns="0" anchor="t" anchorCtr="0">
            <a:spAutoFit/>
          </a:bodyPr>
          <a:lstStyle/>
          <a:p>
            <a:pPr defTabSz="932962">
              <a:buClr>
                <a:srgbClr val="000000"/>
              </a:buClr>
              <a:buSzPts val="1196"/>
            </a:pPr>
            <a:r>
              <a:rPr lang="en-US" sz="1220" b="1" kern="0">
                <a:solidFill>
                  <a:srgbClr val="808080"/>
                </a:solidFill>
                <a:latin typeface="Arial"/>
                <a:ea typeface="Arial"/>
                <a:cs typeface="Arial"/>
                <a:sym typeface="Arial"/>
              </a:rPr>
              <a:t>Pseudo Cost Curve Highlighting Cost to Produce versus Market Price</a:t>
            </a:r>
            <a:endParaRPr sz="1220" kern="0">
              <a:solidFill>
                <a:srgbClr val="808080"/>
              </a:solidFill>
              <a:latin typeface="Arial"/>
              <a:ea typeface="Arial"/>
              <a:cs typeface="Arial"/>
              <a:sym typeface="Arial"/>
            </a:endParaRPr>
          </a:p>
        </p:txBody>
      </p:sp>
      <p:sp>
        <p:nvSpPr>
          <p:cNvPr id="77" name="Google Shape;77;p8"/>
          <p:cNvSpPr/>
          <p:nvPr/>
        </p:nvSpPr>
        <p:spPr>
          <a:xfrm>
            <a:off x="2074678" y="6538974"/>
            <a:ext cx="3317249" cy="345261"/>
          </a:xfrm>
          <a:prstGeom prst="rect">
            <a:avLst/>
          </a:prstGeom>
          <a:noFill/>
          <a:ln>
            <a:noFill/>
          </a:ln>
        </p:spPr>
        <p:txBody>
          <a:bodyPr spcFirstLastPara="1" wrap="square" lIns="93282" tIns="46628" rIns="93282" bIns="46628" anchor="t" anchorCtr="0">
            <a:spAutoFit/>
          </a:bodyPr>
          <a:lstStyle/>
          <a:p>
            <a:pPr defTabSz="932962">
              <a:buClr>
                <a:srgbClr val="000000"/>
              </a:buClr>
              <a:buSzPts val="800"/>
            </a:pPr>
            <a:r>
              <a:rPr lang="en-US" sz="816" b="1" kern="0">
                <a:solidFill>
                  <a:srgbClr val="002C46"/>
                </a:solidFill>
                <a:latin typeface="Arial"/>
                <a:ea typeface="Arial"/>
                <a:cs typeface="Arial"/>
                <a:sym typeface="Arial"/>
              </a:rPr>
              <a:t>Source: </a:t>
            </a:r>
            <a:r>
              <a:rPr lang="en-US" sz="816" kern="0">
                <a:solidFill>
                  <a:srgbClr val="002C46"/>
                </a:solidFill>
                <a:latin typeface="Arial"/>
                <a:ea typeface="Arial"/>
                <a:cs typeface="Arial"/>
                <a:sym typeface="Arial"/>
              </a:rPr>
              <a:t>Southern Water Corp Financial Records (SAP) 2013-2015</a:t>
            </a:r>
            <a:endParaRPr sz="1428" kern="0">
              <a:solidFill>
                <a:srgbClr val="000000"/>
              </a:solidFill>
              <a:latin typeface="Arial"/>
              <a:ea typeface="Arial"/>
              <a:cs typeface="Arial"/>
              <a:sym typeface="Arial"/>
            </a:endParaRPr>
          </a:p>
          <a:p>
            <a:pPr defTabSz="932962">
              <a:buClr>
                <a:srgbClr val="000000"/>
              </a:buClr>
              <a:buSzPts val="800"/>
            </a:pPr>
            <a:r>
              <a:rPr lang="en-US" sz="816" b="1" kern="0">
                <a:solidFill>
                  <a:srgbClr val="002C46"/>
                </a:solidFill>
                <a:latin typeface="Arial"/>
                <a:ea typeface="Arial"/>
                <a:cs typeface="Arial"/>
                <a:sym typeface="Arial"/>
              </a:rPr>
              <a:t>Source</a:t>
            </a:r>
            <a:r>
              <a:rPr lang="en-US" sz="816" kern="0">
                <a:solidFill>
                  <a:srgbClr val="002C46"/>
                </a:solidFill>
                <a:latin typeface="Arial"/>
                <a:ea typeface="Arial"/>
                <a:cs typeface="Arial"/>
                <a:sym typeface="Arial"/>
              </a:rPr>
              <a:t>: Open Water Market Data (2013 – 2015)</a:t>
            </a:r>
            <a:endParaRPr sz="1428" kern="0">
              <a:solidFill>
                <a:srgbClr val="000000"/>
              </a:solidFill>
              <a:latin typeface="Arial"/>
              <a:ea typeface="Arial"/>
              <a:cs typeface="Arial"/>
              <a:sym typeface="Arial"/>
            </a:endParaRPr>
          </a:p>
        </p:txBody>
      </p:sp>
      <p:sp>
        <p:nvSpPr>
          <p:cNvPr id="78" name="Google Shape;78;p8"/>
          <p:cNvSpPr/>
          <p:nvPr/>
        </p:nvSpPr>
        <p:spPr>
          <a:xfrm>
            <a:off x="5391927" y="5736584"/>
            <a:ext cx="727394" cy="234718"/>
          </a:xfrm>
          <a:prstGeom prst="rect">
            <a:avLst/>
          </a:prstGeom>
          <a:solidFill>
            <a:srgbClr val="305391"/>
          </a:solidFill>
          <a:ln w="9525" cap="flat" cmpd="sng">
            <a:solidFill>
              <a:schemeClr val="accent6"/>
            </a:solidFill>
            <a:prstDash val="solid"/>
            <a:round/>
            <a:headEnd type="none" w="sm" len="sm"/>
            <a:tailEnd type="none" w="sm" len="sm"/>
          </a:ln>
        </p:spPr>
        <p:txBody>
          <a:bodyPr spcFirstLastPara="1" wrap="square" lIns="93282" tIns="46628" rIns="93282" bIns="46628" anchor="ctr" anchorCtr="0">
            <a:noAutofit/>
          </a:bodyPr>
          <a:lstStyle/>
          <a:p>
            <a:pPr algn="ctr" defTabSz="932962">
              <a:buClr>
                <a:srgbClr val="000000"/>
              </a:buClr>
              <a:buSzPts val="800"/>
            </a:pPr>
            <a:r>
              <a:rPr lang="en-US" sz="816" b="1" kern="0" dirty="0">
                <a:solidFill>
                  <a:srgbClr val="FFFFFF"/>
                </a:solidFill>
                <a:latin typeface="Quattrocento Sans"/>
                <a:ea typeface="Quattrocento Sans"/>
                <a:cs typeface="Quattrocento Sans"/>
                <a:sym typeface="Quattrocento Sans"/>
              </a:rPr>
              <a:t>Most Expensive</a:t>
            </a:r>
            <a:endParaRPr sz="1428" kern="0" dirty="0">
              <a:solidFill>
                <a:srgbClr val="000000"/>
              </a:solidFill>
              <a:latin typeface="Arial"/>
              <a:ea typeface="Arial"/>
              <a:cs typeface="Arial"/>
              <a:sym typeface="Arial"/>
            </a:endParaRPr>
          </a:p>
        </p:txBody>
      </p:sp>
      <p:sp>
        <p:nvSpPr>
          <p:cNvPr id="79" name="Google Shape;79;p8"/>
          <p:cNvSpPr/>
          <p:nvPr/>
        </p:nvSpPr>
        <p:spPr>
          <a:xfrm>
            <a:off x="2568381" y="5744711"/>
            <a:ext cx="727394" cy="234718"/>
          </a:xfrm>
          <a:prstGeom prst="rect">
            <a:avLst/>
          </a:prstGeom>
          <a:solidFill>
            <a:srgbClr val="BDC6E3"/>
          </a:solidFill>
          <a:ln w="9525" cap="flat" cmpd="sng">
            <a:solidFill>
              <a:schemeClr val="accent6"/>
            </a:solidFill>
            <a:prstDash val="solid"/>
            <a:round/>
            <a:headEnd type="none" w="sm" len="sm"/>
            <a:tailEnd type="none" w="sm" len="sm"/>
          </a:ln>
        </p:spPr>
        <p:txBody>
          <a:bodyPr spcFirstLastPara="1" wrap="square" lIns="93282" tIns="46628" rIns="93282" bIns="46628" anchor="ctr" anchorCtr="0">
            <a:noAutofit/>
          </a:bodyPr>
          <a:lstStyle/>
          <a:p>
            <a:pPr algn="ctr" defTabSz="932962">
              <a:buClr>
                <a:srgbClr val="000000"/>
              </a:buClr>
              <a:buSzPts val="800"/>
            </a:pPr>
            <a:r>
              <a:rPr lang="en-US" sz="816" b="1" kern="0">
                <a:solidFill>
                  <a:srgbClr val="1F3042"/>
                </a:solidFill>
                <a:latin typeface="Quattrocento Sans"/>
                <a:ea typeface="Quattrocento Sans"/>
                <a:cs typeface="Quattrocento Sans"/>
                <a:sym typeface="Quattrocento Sans"/>
              </a:rPr>
              <a:t>Least Expensive</a:t>
            </a:r>
            <a:endParaRPr sz="1428" kern="0">
              <a:solidFill>
                <a:srgbClr val="000000"/>
              </a:solidFill>
              <a:latin typeface="Arial"/>
              <a:ea typeface="Arial"/>
              <a:cs typeface="Arial"/>
              <a:sym typeface="Arial"/>
            </a:endParaRPr>
          </a:p>
        </p:txBody>
      </p:sp>
      <p:cxnSp>
        <p:nvCxnSpPr>
          <p:cNvPr id="80" name="Google Shape;80;p8"/>
          <p:cNvCxnSpPr>
            <a:cxnSpLocks/>
          </p:cNvCxnSpPr>
          <p:nvPr/>
        </p:nvCxnSpPr>
        <p:spPr>
          <a:xfrm>
            <a:off x="2292601" y="6206293"/>
            <a:ext cx="3962392" cy="0"/>
          </a:xfrm>
          <a:prstGeom prst="straightConnector1">
            <a:avLst/>
          </a:prstGeom>
          <a:noFill/>
          <a:ln w="38100" cap="flat" cmpd="sng">
            <a:solidFill>
              <a:srgbClr val="305391"/>
            </a:solidFill>
            <a:prstDash val="solid"/>
            <a:round/>
            <a:headEnd type="none" w="sm" len="sm"/>
            <a:tailEnd type="triangle" w="med" len="med"/>
          </a:ln>
        </p:spPr>
      </p:cxnSp>
      <p:graphicFrame>
        <p:nvGraphicFramePr>
          <p:cNvPr id="9" name="Chart 8">
            <a:extLst>
              <a:ext uri="{FF2B5EF4-FFF2-40B4-BE49-F238E27FC236}">
                <a16:creationId xmlns:a16="http://schemas.microsoft.com/office/drawing/2014/main" id="{B3E3E6DE-7C1D-4205-A01C-0BDC6AB8E945}"/>
              </a:ext>
            </a:extLst>
          </p:cNvPr>
          <p:cNvGraphicFramePr>
            <a:graphicFrameLocks/>
          </p:cNvGraphicFramePr>
          <p:nvPr/>
        </p:nvGraphicFramePr>
        <p:xfrm>
          <a:off x="1524269" y="1412966"/>
          <a:ext cx="9143462" cy="409675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414C8774-AB2E-4B18-B9EE-5B7435929972}"/>
              </a:ext>
            </a:extLst>
          </p:cNvPr>
          <p:cNvSpPr txBox="1"/>
          <p:nvPr/>
        </p:nvSpPr>
        <p:spPr>
          <a:xfrm>
            <a:off x="2681942" y="3301828"/>
            <a:ext cx="1227663" cy="478501"/>
          </a:xfrm>
          <a:prstGeom prst="rect">
            <a:avLst/>
          </a:prstGeom>
          <a:noFill/>
          <a:ln w="12700">
            <a:solidFill>
              <a:srgbClr val="FFC000"/>
            </a:solidFill>
            <a:prstDash val="dash"/>
          </a:ln>
        </p:spPr>
        <p:txBody>
          <a:bodyPr wrap="square" rtlCol="0">
            <a:spAutoFit/>
          </a:bodyPr>
          <a:lstStyle/>
          <a:p>
            <a:pPr algn="ctr" defTabSz="932962">
              <a:buClr>
                <a:srgbClr val="000000"/>
              </a:buClr>
              <a:defRPr sz="900" b="0" i="0" u="none" strike="noStrike" kern="1200" baseline="0">
                <a:solidFill>
                  <a:sysClr val="windowText" lastClr="000000">
                    <a:lumMod val="75000"/>
                    <a:lumOff val="25000"/>
                  </a:sysClr>
                </a:solidFill>
                <a:latin typeface="+mn-lt"/>
                <a:ea typeface="+mn-ea"/>
                <a:cs typeface="+mn-cs"/>
              </a:defRPr>
            </a:pPr>
            <a:r>
              <a:rPr lang="en-US" sz="816" b="1" dirty="0">
                <a:solidFill>
                  <a:srgbClr val="FBC14E">
                    <a:lumMod val="75000"/>
                  </a:srgbClr>
                </a:solidFill>
                <a:latin typeface="Arial"/>
                <a:cs typeface="Arial"/>
                <a:sym typeface="Arial"/>
              </a:rPr>
              <a:t>Weighted Market Price</a:t>
            </a:r>
          </a:p>
          <a:p>
            <a:pPr algn="ctr" defTabSz="932962">
              <a:buClr>
                <a:srgbClr val="000000"/>
              </a:buClr>
              <a:defRPr sz="900" b="0" i="0" u="none" strike="noStrike" kern="1200" baseline="0">
                <a:solidFill>
                  <a:sysClr val="windowText" lastClr="000000">
                    <a:lumMod val="75000"/>
                    <a:lumOff val="25000"/>
                  </a:sysClr>
                </a:solidFill>
                <a:latin typeface="+mn-lt"/>
                <a:ea typeface="+mn-ea"/>
                <a:cs typeface="+mn-cs"/>
              </a:defRPr>
            </a:pPr>
            <a:r>
              <a:rPr lang="en-US" sz="816" b="1" dirty="0">
                <a:solidFill>
                  <a:srgbClr val="FBC14E">
                    <a:lumMod val="75000"/>
                  </a:srgbClr>
                </a:solidFill>
                <a:latin typeface="Arial"/>
                <a:cs typeface="Arial"/>
                <a:sym typeface="Arial"/>
              </a:rPr>
              <a:t>53.98  M/L</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699204" y="234864"/>
            <a:ext cx="8793595" cy="565411"/>
          </a:xfrm>
          <a:prstGeom prst="rect">
            <a:avLst/>
          </a:prstGeom>
          <a:noFill/>
          <a:ln>
            <a:noFill/>
          </a:ln>
        </p:spPr>
        <p:txBody>
          <a:bodyPr spcFirstLastPara="1" wrap="square" lIns="0" tIns="0" rIns="0" bIns="0" anchor="t" anchorCtr="0">
            <a:spAutoFit/>
          </a:bodyPr>
          <a:lstStyle/>
          <a:p>
            <a:r>
              <a:rPr lang="en-AU" sz="1837" dirty="0"/>
              <a:t>Several indicators have shown a relationship to pump failure. Notice the value change from Non-pump failure to Pump Failure.</a:t>
            </a:r>
            <a:endParaRPr dirty="0"/>
          </a:p>
        </p:txBody>
      </p:sp>
      <p:cxnSp>
        <p:nvCxnSpPr>
          <p:cNvPr id="104" name="Google Shape;104;p5"/>
          <p:cNvCxnSpPr/>
          <p:nvPr/>
        </p:nvCxnSpPr>
        <p:spPr>
          <a:xfrm>
            <a:off x="1710444" y="6584415"/>
            <a:ext cx="8963414" cy="0"/>
          </a:xfrm>
          <a:prstGeom prst="straightConnector1">
            <a:avLst/>
          </a:prstGeom>
          <a:noFill/>
          <a:ln w="25400" cap="flat" cmpd="sng">
            <a:solidFill>
              <a:srgbClr val="000000"/>
            </a:solidFill>
            <a:prstDash val="solid"/>
            <a:round/>
            <a:headEnd type="none" w="sm" len="sm"/>
            <a:tailEnd type="none" w="sm" len="sm"/>
          </a:ln>
        </p:spPr>
      </p:cxnSp>
      <p:sp>
        <p:nvSpPr>
          <p:cNvPr id="106" name="Google Shape;106;p5"/>
          <p:cNvSpPr/>
          <p:nvPr/>
        </p:nvSpPr>
        <p:spPr>
          <a:xfrm>
            <a:off x="7569713" y="1148902"/>
            <a:ext cx="3023733" cy="5373022"/>
          </a:xfrm>
          <a:prstGeom prst="rect">
            <a:avLst/>
          </a:prstGeom>
          <a:noFill/>
          <a:ln w="19050" cap="flat" cmpd="sng">
            <a:solidFill>
              <a:schemeClr val="accent1"/>
            </a:solidFill>
            <a:prstDash val="solid"/>
            <a:round/>
            <a:headEnd type="none" w="sm" len="sm"/>
            <a:tailEnd type="none" w="sm" len="sm"/>
          </a:ln>
        </p:spPr>
        <p:txBody>
          <a:bodyPr spcFirstLastPara="1" wrap="square" lIns="93282" tIns="46628" rIns="93282" bIns="46628" anchor="ctr" anchorCtr="0">
            <a:noAutofit/>
          </a:bodyPr>
          <a:lstStyle/>
          <a:p>
            <a:pPr algn="ctr" defTabSz="932962">
              <a:buClr>
                <a:srgbClr val="000000"/>
              </a:buClr>
            </a:pPr>
            <a:endParaRPr sz="1632" kern="0">
              <a:solidFill>
                <a:srgbClr val="002C46"/>
              </a:solidFill>
              <a:latin typeface="Arial"/>
              <a:ea typeface="Arial"/>
              <a:cs typeface="Arial"/>
              <a:sym typeface="Arial"/>
            </a:endParaRPr>
          </a:p>
        </p:txBody>
      </p:sp>
      <p:sp>
        <p:nvSpPr>
          <p:cNvPr id="107" name="Google Shape;107;p5"/>
          <p:cNvSpPr txBox="1"/>
          <p:nvPr/>
        </p:nvSpPr>
        <p:spPr>
          <a:xfrm>
            <a:off x="8341555" y="1186582"/>
            <a:ext cx="1562449" cy="318371"/>
          </a:xfrm>
          <a:prstGeom prst="rect">
            <a:avLst/>
          </a:prstGeom>
          <a:noFill/>
          <a:ln>
            <a:noFill/>
          </a:ln>
        </p:spPr>
        <p:txBody>
          <a:bodyPr spcFirstLastPara="1" wrap="square" lIns="93282" tIns="46628" rIns="93282" bIns="46628" anchor="t" anchorCtr="0">
            <a:spAutoFit/>
          </a:bodyPr>
          <a:lstStyle/>
          <a:p>
            <a:pPr defTabSz="932962">
              <a:buClr>
                <a:srgbClr val="000000"/>
              </a:buClr>
            </a:pPr>
            <a:r>
              <a:rPr lang="en-AU" sz="1428" b="1" kern="0" dirty="0">
                <a:solidFill>
                  <a:srgbClr val="002C46"/>
                </a:solidFill>
                <a:latin typeface="Arial"/>
                <a:ea typeface="Arial"/>
                <a:cs typeface="Arial"/>
                <a:sym typeface="Arial"/>
              </a:rPr>
              <a:t>Key Insights</a:t>
            </a:r>
            <a:endParaRPr sz="1428" kern="0" dirty="0">
              <a:solidFill>
                <a:srgbClr val="000000"/>
              </a:solidFill>
              <a:latin typeface="Arial"/>
              <a:cs typeface="Arial"/>
              <a:sym typeface="Arial"/>
            </a:endParaRPr>
          </a:p>
        </p:txBody>
      </p:sp>
      <p:sp>
        <p:nvSpPr>
          <p:cNvPr id="109" name="Google Shape;109;p5"/>
          <p:cNvSpPr txBox="1"/>
          <p:nvPr/>
        </p:nvSpPr>
        <p:spPr>
          <a:xfrm>
            <a:off x="7610913" y="1596021"/>
            <a:ext cx="3023733" cy="2511303"/>
          </a:xfrm>
          <a:prstGeom prst="rect">
            <a:avLst/>
          </a:prstGeom>
          <a:noFill/>
          <a:ln>
            <a:noFill/>
          </a:ln>
        </p:spPr>
        <p:txBody>
          <a:bodyPr spcFirstLastPara="1" wrap="square" lIns="93282" tIns="46628" rIns="93282" bIns="46628" anchor="t" anchorCtr="0">
            <a:spAutoFit/>
          </a:bodyPr>
          <a:lstStyle/>
          <a:p>
            <a:pPr marL="291551" indent="-291551" defTabSz="932962">
              <a:buClr>
                <a:srgbClr val="002C46"/>
              </a:buClr>
              <a:buSzPts val="1400"/>
              <a:buFont typeface="Noto Sans Symbols"/>
              <a:buChar char="▪"/>
            </a:pPr>
            <a:r>
              <a:rPr lang="en-US" sz="1428" kern="0" dirty="0">
                <a:solidFill>
                  <a:srgbClr val="002C46"/>
                </a:solidFill>
                <a:latin typeface="Arial"/>
                <a:cs typeface="Arial"/>
                <a:sym typeface="Arial"/>
              </a:rPr>
              <a:t>Box Plot showing the variables when pump failure </a:t>
            </a:r>
            <a:r>
              <a:rPr lang="en-US" sz="1428" u="sng" kern="0" dirty="0">
                <a:solidFill>
                  <a:srgbClr val="002C46"/>
                </a:solidFill>
                <a:latin typeface="Arial"/>
                <a:cs typeface="Arial"/>
                <a:sym typeface="Arial"/>
              </a:rPr>
              <a:t>does not occur</a:t>
            </a:r>
            <a:r>
              <a:rPr lang="en-US" sz="1428" kern="0" dirty="0">
                <a:solidFill>
                  <a:srgbClr val="002C46"/>
                </a:solidFill>
                <a:latin typeface="Arial"/>
                <a:cs typeface="Arial"/>
                <a:sym typeface="Arial"/>
              </a:rPr>
              <a:t> and </a:t>
            </a:r>
            <a:r>
              <a:rPr lang="en-US" sz="1428" u="sng" kern="0" dirty="0">
                <a:solidFill>
                  <a:srgbClr val="002C46"/>
                </a:solidFill>
                <a:latin typeface="Arial"/>
                <a:cs typeface="Arial"/>
                <a:sym typeface="Arial"/>
              </a:rPr>
              <a:t>does</a:t>
            </a:r>
            <a:r>
              <a:rPr lang="en-US" sz="1428" kern="0" dirty="0">
                <a:solidFill>
                  <a:srgbClr val="002C46"/>
                </a:solidFill>
                <a:latin typeface="Arial"/>
                <a:cs typeface="Arial"/>
                <a:sym typeface="Arial"/>
              </a:rPr>
              <a:t> occur.</a:t>
            </a:r>
            <a:endParaRPr sz="1428" kern="0" dirty="0">
              <a:solidFill>
                <a:srgbClr val="000000"/>
              </a:solidFill>
              <a:latin typeface="Arial"/>
              <a:cs typeface="Arial"/>
              <a:sym typeface="Arial"/>
            </a:endParaRPr>
          </a:p>
          <a:p>
            <a:pPr marL="291551" indent="-291551" defTabSz="932962">
              <a:buClr>
                <a:srgbClr val="002C46"/>
              </a:buClr>
              <a:buSzPts val="1400"/>
              <a:buFont typeface="Noto Sans Symbols"/>
              <a:buChar char="▪"/>
            </a:pPr>
            <a:r>
              <a:rPr lang="en-US" sz="1428" kern="0" dirty="0">
                <a:solidFill>
                  <a:srgbClr val="002C46"/>
                </a:solidFill>
                <a:latin typeface="Arial"/>
                <a:ea typeface="Arial"/>
                <a:cs typeface="Arial"/>
                <a:sym typeface="Arial"/>
              </a:rPr>
              <a:t>Maximum Daily Pump Torque and </a:t>
            </a:r>
            <a:r>
              <a:rPr lang="en-US" sz="1428" kern="0" dirty="0" err="1">
                <a:solidFill>
                  <a:srgbClr val="002C46"/>
                </a:solidFill>
                <a:latin typeface="Arial"/>
                <a:ea typeface="Arial"/>
                <a:cs typeface="Arial"/>
                <a:sym typeface="Arial"/>
              </a:rPr>
              <a:t>Surjek</a:t>
            </a:r>
            <a:r>
              <a:rPr lang="en-US" sz="1428" kern="0" dirty="0">
                <a:solidFill>
                  <a:srgbClr val="002C46"/>
                </a:solidFill>
                <a:latin typeface="Arial"/>
                <a:ea typeface="Arial"/>
                <a:cs typeface="Arial"/>
                <a:sym typeface="Arial"/>
              </a:rPr>
              <a:t> Pump Torque show the highest significance in relation to Pump Failure when comparing both figures.</a:t>
            </a:r>
            <a:endParaRPr sz="1428" kern="0" dirty="0">
              <a:solidFill>
                <a:srgbClr val="000000"/>
              </a:solidFill>
              <a:latin typeface="Arial"/>
              <a:cs typeface="Arial"/>
              <a:sym typeface="Arial"/>
            </a:endParaRPr>
          </a:p>
          <a:p>
            <a:pPr defTabSz="932962">
              <a:buClr>
                <a:srgbClr val="000000"/>
              </a:buClr>
            </a:pPr>
            <a:endParaRPr lang="en-US" sz="1428" kern="0" dirty="0">
              <a:solidFill>
                <a:srgbClr val="002C46"/>
              </a:solidFill>
              <a:latin typeface="Arial"/>
              <a:ea typeface="Arial"/>
              <a:cs typeface="Arial"/>
              <a:sym typeface="Arial"/>
            </a:endParaRPr>
          </a:p>
          <a:p>
            <a:pPr defTabSz="932962">
              <a:buClr>
                <a:srgbClr val="000000"/>
              </a:buClr>
            </a:pPr>
            <a:endParaRPr sz="1428" kern="0" dirty="0">
              <a:solidFill>
                <a:srgbClr val="002C46"/>
              </a:solidFill>
              <a:latin typeface="Arial"/>
              <a:ea typeface="Arial"/>
              <a:cs typeface="Arial"/>
              <a:sym typeface="Arial"/>
            </a:endParaRPr>
          </a:p>
          <a:p>
            <a:pPr marL="291551" indent="-200846" defTabSz="932962">
              <a:buClr>
                <a:srgbClr val="002C46"/>
              </a:buClr>
              <a:buSzPts val="1400"/>
            </a:pPr>
            <a:endParaRPr sz="1428" kern="0" dirty="0">
              <a:solidFill>
                <a:srgbClr val="002C46"/>
              </a:solidFill>
              <a:latin typeface="Arial"/>
              <a:ea typeface="Arial"/>
              <a:cs typeface="Arial"/>
              <a:sym typeface="Arial"/>
            </a:endParaRPr>
          </a:p>
        </p:txBody>
      </p:sp>
      <mc:AlternateContent xmlns:mc="http://schemas.openxmlformats.org/markup-compatibility/2006">
        <mc:Choice xmlns:cx1="http://schemas.microsoft.com/office/drawing/2015/9/8/chartex" Requires="cx1">
          <p:graphicFrame>
            <p:nvGraphicFramePr>
              <p:cNvPr id="8" name="Chart 7">
                <a:extLst>
                  <a:ext uri="{FF2B5EF4-FFF2-40B4-BE49-F238E27FC236}">
                    <a16:creationId xmlns:a16="http://schemas.microsoft.com/office/drawing/2014/main" id="{D12DC89F-20D5-4AE4-BB65-832CA5DD1959}"/>
                  </a:ext>
                </a:extLst>
              </p:cNvPr>
              <p:cNvGraphicFramePr/>
              <p:nvPr/>
            </p:nvGraphicFramePr>
            <p:xfrm>
              <a:off x="1483071" y="897433"/>
              <a:ext cx="6098304" cy="2941086"/>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8" name="Chart 7">
                <a:extLst>
                  <a:ext uri="{FF2B5EF4-FFF2-40B4-BE49-F238E27FC236}">
                    <a16:creationId xmlns:a16="http://schemas.microsoft.com/office/drawing/2014/main" id="{D12DC89F-20D5-4AE4-BB65-832CA5DD1959}"/>
                  </a:ext>
                </a:extLst>
              </p:cNvPr>
              <p:cNvPicPr>
                <a:picLocks noGrp="1" noRot="1" noChangeAspect="1" noMove="1" noResize="1" noEditPoints="1" noAdjustHandles="1" noChangeArrowheads="1" noChangeShapeType="1"/>
              </p:cNvPicPr>
              <p:nvPr/>
            </p:nvPicPr>
            <p:blipFill>
              <a:blip r:embed="rId4"/>
              <a:stretch>
                <a:fillRect/>
              </a:stretch>
            </p:blipFill>
            <p:spPr>
              <a:xfrm>
                <a:off x="1483071" y="897433"/>
                <a:ext cx="6098304" cy="2941086"/>
              </a:xfrm>
              <a:prstGeom prst="rect">
                <a:avLst/>
              </a:prstGeom>
            </p:spPr>
          </p:pic>
        </mc:Fallback>
      </mc:AlternateContent>
      <mc:AlternateContent xmlns:mc="http://schemas.openxmlformats.org/markup-compatibility/2006">
        <mc:Choice xmlns:cx1="http://schemas.microsoft.com/office/drawing/2015/9/8/chartex" Requires="cx1">
          <p:graphicFrame>
            <p:nvGraphicFramePr>
              <p:cNvPr id="9" name="Chart 8">
                <a:extLst>
                  <a:ext uri="{FF2B5EF4-FFF2-40B4-BE49-F238E27FC236}">
                    <a16:creationId xmlns:a16="http://schemas.microsoft.com/office/drawing/2014/main" id="{645828DE-C213-4326-992D-263107AB8EE2}"/>
                  </a:ext>
                </a:extLst>
              </p:cNvPr>
              <p:cNvGraphicFramePr/>
              <p:nvPr/>
            </p:nvGraphicFramePr>
            <p:xfrm>
              <a:off x="1524271" y="3705237"/>
              <a:ext cx="6057105" cy="281668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9" name="Chart 8">
                <a:extLst>
                  <a:ext uri="{FF2B5EF4-FFF2-40B4-BE49-F238E27FC236}">
                    <a16:creationId xmlns:a16="http://schemas.microsoft.com/office/drawing/2014/main" id="{645828DE-C213-4326-992D-263107AB8EE2}"/>
                  </a:ext>
                </a:extLst>
              </p:cNvPr>
              <p:cNvPicPr>
                <a:picLocks noGrp="1" noRot="1" noChangeAspect="1" noMove="1" noResize="1" noEditPoints="1" noAdjustHandles="1" noChangeArrowheads="1" noChangeShapeType="1"/>
              </p:cNvPicPr>
              <p:nvPr/>
            </p:nvPicPr>
            <p:blipFill>
              <a:blip r:embed="rId6"/>
              <a:stretch>
                <a:fillRect/>
              </a:stretch>
            </p:blipFill>
            <p:spPr>
              <a:xfrm>
                <a:off x="1524271" y="3705237"/>
                <a:ext cx="6057105" cy="2816689"/>
              </a:xfrm>
              <a:prstGeom prst="rect">
                <a:avLst/>
              </a:prstGeom>
            </p:spPr>
          </p:pic>
        </mc:Fallback>
      </mc:AlternateContent>
      <p:pic>
        <p:nvPicPr>
          <p:cNvPr id="2" name="Picture 1">
            <a:extLst>
              <a:ext uri="{FF2B5EF4-FFF2-40B4-BE49-F238E27FC236}">
                <a16:creationId xmlns:a16="http://schemas.microsoft.com/office/drawing/2014/main" id="{69F78668-F921-4CDD-A414-7BE1EC3EBD42}"/>
              </a:ext>
            </a:extLst>
          </p:cNvPr>
          <p:cNvPicPr>
            <a:picLocks noChangeAspect="1"/>
          </p:cNvPicPr>
          <p:nvPr/>
        </p:nvPicPr>
        <p:blipFill>
          <a:blip r:embed="rId7"/>
          <a:stretch>
            <a:fillRect/>
          </a:stretch>
        </p:blipFill>
        <p:spPr>
          <a:xfrm>
            <a:off x="7597484" y="5399116"/>
            <a:ext cx="2979853" cy="704975"/>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6"/>
          <p:cNvSpPr txBox="1">
            <a:spLocks noGrp="1"/>
          </p:cNvSpPr>
          <p:nvPr>
            <p:ph type="title"/>
          </p:nvPr>
        </p:nvSpPr>
        <p:spPr>
          <a:xfrm>
            <a:off x="1699204" y="234865"/>
            <a:ext cx="8793595" cy="565411"/>
          </a:xfrm>
          <a:prstGeom prst="rect">
            <a:avLst/>
          </a:prstGeom>
          <a:noFill/>
          <a:ln>
            <a:noFill/>
          </a:ln>
        </p:spPr>
        <p:txBody>
          <a:bodyPr spcFirstLastPara="1" wrap="square" lIns="0" tIns="0" rIns="0" bIns="0" anchor="t" anchorCtr="0">
            <a:spAutoFit/>
          </a:bodyPr>
          <a:lstStyle/>
          <a:p>
            <a:r>
              <a:rPr lang="en-AU" sz="1837" dirty="0"/>
              <a:t>Several </a:t>
            </a:r>
            <a:r>
              <a:rPr lang="en-AU" sz="1837" dirty="0" err="1"/>
              <a:t>Surjek</a:t>
            </a:r>
            <a:r>
              <a:rPr lang="en-AU" sz="1837" dirty="0"/>
              <a:t> pump variables that have shown correlation to pump failure, some higher than others.</a:t>
            </a:r>
            <a:endParaRPr dirty="0"/>
          </a:p>
        </p:txBody>
      </p:sp>
      <p:cxnSp>
        <p:nvCxnSpPr>
          <p:cNvPr id="115" name="Google Shape;115;p6"/>
          <p:cNvCxnSpPr/>
          <p:nvPr/>
        </p:nvCxnSpPr>
        <p:spPr>
          <a:xfrm>
            <a:off x="1710444" y="6584415"/>
            <a:ext cx="8963414" cy="0"/>
          </a:xfrm>
          <a:prstGeom prst="straightConnector1">
            <a:avLst/>
          </a:prstGeom>
          <a:noFill/>
          <a:ln w="25400" cap="flat" cmpd="sng">
            <a:solidFill>
              <a:srgbClr val="000000"/>
            </a:solidFill>
            <a:prstDash val="solid"/>
            <a:round/>
            <a:headEnd type="none" w="sm" len="sm"/>
            <a:tailEnd type="none" w="sm" len="sm"/>
          </a:ln>
        </p:spPr>
      </p:cxnSp>
      <p:sp>
        <p:nvSpPr>
          <p:cNvPr id="116" name="Google Shape;116;p6"/>
          <p:cNvSpPr/>
          <p:nvPr/>
        </p:nvSpPr>
        <p:spPr>
          <a:xfrm>
            <a:off x="7099626" y="1383071"/>
            <a:ext cx="3023733" cy="4934165"/>
          </a:xfrm>
          <a:prstGeom prst="rect">
            <a:avLst/>
          </a:prstGeom>
          <a:noFill/>
          <a:ln w="19050" cap="flat" cmpd="sng">
            <a:solidFill>
              <a:schemeClr val="accent1"/>
            </a:solidFill>
            <a:prstDash val="solid"/>
            <a:round/>
            <a:headEnd type="none" w="sm" len="sm"/>
            <a:tailEnd type="none" w="sm" len="sm"/>
          </a:ln>
        </p:spPr>
        <p:txBody>
          <a:bodyPr spcFirstLastPara="1" wrap="square" lIns="93282" tIns="46628" rIns="93282" bIns="46628" anchor="ctr" anchorCtr="0">
            <a:noAutofit/>
          </a:bodyPr>
          <a:lstStyle/>
          <a:p>
            <a:pPr algn="ctr"/>
            <a:endParaRPr sz="1632">
              <a:solidFill>
                <a:schemeClr val="dk1"/>
              </a:solidFill>
              <a:latin typeface="Arial"/>
              <a:ea typeface="Arial"/>
              <a:cs typeface="Arial"/>
              <a:sym typeface="Arial"/>
            </a:endParaRPr>
          </a:p>
        </p:txBody>
      </p:sp>
      <p:sp>
        <p:nvSpPr>
          <p:cNvPr id="117" name="Google Shape;117;p6"/>
          <p:cNvSpPr txBox="1"/>
          <p:nvPr/>
        </p:nvSpPr>
        <p:spPr>
          <a:xfrm>
            <a:off x="7049044" y="1069042"/>
            <a:ext cx="1562449" cy="318371"/>
          </a:xfrm>
          <a:prstGeom prst="rect">
            <a:avLst/>
          </a:prstGeom>
          <a:noFill/>
          <a:ln>
            <a:noFill/>
          </a:ln>
        </p:spPr>
        <p:txBody>
          <a:bodyPr spcFirstLastPara="1" wrap="square" lIns="93282" tIns="46628" rIns="93282" bIns="46628" anchor="t" anchorCtr="0">
            <a:spAutoFit/>
          </a:bodyPr>
          <a:lstStyle/>
          <a:p>
            <a:r>
              <a:rPr lang="en-AU" sz="1428" b="1">
                <a:solidFill>
                  <a:schemeClr val="dk1"/>
                </a:solidFill>
                <a:latin typeface="Arial"/>
                <a:ea typeface="Arial"/>
                <a:cs typeface="Arial"/>
                <a:sym typeface="Arial"/>
              </a:rPr>
              <a:t>Key Insights</a:t>
            </a:r>
            <a:endParaRPr sz="1837"/>
          </a:p>
        </p:txBody>
      </p:sp>
      <p:sp>
        <p:nvSpPr>
          <p:cNvPr id="119" name="Google Shape;119;p6"/>
          <p:cNvSpPr txBox="1"/>
          <p:nvPr/>
        </p:nvSpPr>
        <p:spPr>
          <a:xfrm>
            <a:off x="7150209" y="1445565"/>
            <a:ext cx="3023733" cy="2692378"/>
          </a:xfrm>
          <a:prstGeom prst="rect">
            <a:avLst/>
          </a:prstGeom>
          <a:noFill/>
          <a:ln>
            <a:noFill/>
          </a:ln>
        </p:spPr>
        <p:txBody>
          <a:bodyPr spcFirstLastPara="1" wrap="square" lIns="93282" tIns="46628" rIns="93282" bIns="46628" anchor="t" anchorCtr="0">
            <a:spAutoFit/>
          </a:bodyPr>
          <a:lstStyle/>
          <a:p>
            <a:pPr marL="291551" indent="-291551">
              <a:buClr>
                <a:schemeClr val="dk1"/>
              </a:buClr>
              <a:buSzPts val="1400"/>
              <a:buFont typeface="Noto Sans Symbols"/>
              <a:buChar char="▪"/>
            </a:pPr>
            <a:r>
              <a:rPr lang="en-US" sz="1400" dirty="0"/>
              <a:t>Correlation methodologies have shown that </a:t>
            </a:r>
            <a:r>
              <a:rPr lang="en-US" sz="1400" dirty="0" err="1"/>
              <a:t>Surjek</a:t>
            </a:r>
            <a:r>
              <a:rPr lang="en-US" sz="1400" dirty="0"/>
              <a:t> Flow Meter 2 </a:t>
            </a:r>
            <a:r>
              <a:rPr lang="en-US" sz="1400" dirty="0" err="1"/>
              <a:t>Surjek</a:t>
            </a:r>
            <a:r>
              <a:rPr lang="en-US" sz="1400" dirty="0"/>
              <a:t> Pump Torque, and Maximum Pump Torque values are the strongest indicators </a:t>
            </a:r>
            <a:r>
              <a:rPr lang="en-US" sz="1400" dirty="0" err="1"/>
              <a:t>torwards</a:t>
            </a:r>
            <a:r>
              <a:rPr lang="en-US" sz="1400" dirty="0"/>
              <a:t> pump failure.</a:t>
            </a:r>
          </a:p>
          <a:p>
            <a:pPr marL="291551" indent="-291551">
              <a:buClr>
                <a:schemeClr val="dk1"/>
              </a:buClr>
              <a:buSzPts val="1400"/>
              <a:buFont typeface="Noto Sans Symbols"/>
              <a:buChar char="▪"/>
            </a:pPr>
            <a:r>
              <a:rPr lang="en-US" sz="1400" dirty="0"/>
              <a:t>Future maintenance schedules will need to take these values into account.</a:t>
            </a:r>
            <a:endParaRPr sz="1400" dirty="0"/>
          </a:p>
          <a:p>
            <a:endParaRPr sz="1428" dirty="0">
              <a:solidFill>
                <a:schemeClr val="dk1"/>
              </a:solidFill>
              <a:latin typeface="Arial"/>
              <a:ea typeface="Arial"/>
              <a:cs typeface="Arial"/>
              <a:sym typeface="Arial"/>
            </a:endParaRPr>
          </a:p>
          <a:p>
            <a:endParaRPr sz="1428" dirty="0">
              <a:solidFill>
                <a:schemeClr val="dk1"/>
              </a:solidFill>
              <a:latin typeface="Arial"/>
              <a:ea typeface="Arial"/>
              <a:cs typeface="Arial"/>
              <a:sym typeface="Arial"/>
            </a:endParaRPr>
          </a:p>
          <a:p>
            <a:pPr marL="291551" indent="-200846">
              <a:buClr>
                <a:schemeClr val="dk1"/>
              </a:buClr>
              <a:buSzPts val="1400"/>
            </a:pPr>
            <a:endParaRPr sz="1428" dirty="0">
              <a:solidFill>
                <a:schemeClr val="dk1"/>
              </a:solidFill>
              <a:latin typeface="Arial"/>
              <a:ea typeface="Arial"/>
              <a:cs typeface="Arial"/>
              <a:sym typeface="Arial"/>
            </a:endParaRPr>
          </a:p>
        </p:txBody>
      </p:sp>
      <p:graphicFrame>
        <p:nvGraphicFramePr>
          <p:cNvPr id="10" name="Chart 9">
            <a:extLst>
              <a:ext uri="{FF2B5EF4-FFF2-40B4-BE49-F238E27FC236}">
                <a16:creationId xmlns:a16="http://schemas.microsoft.com/office/drawing/2014/main" id="{A9A4C803-B85D-4915-84A8-0064576BA54A}"/>
              </a:ext>
            </a:extLst>
          </p:cNvPr>
          <p:cNvGraphicFramePr>
            <a:graphicFrameLocks/>
          </p:cNvGraphicFramePr>
          <p:nvPr/>
        </p:nvGraphicFramePr>
        <p:xfrm>
          <a:off x="1473670" y="3776317"/>
          <a:ext cx="5575358" cy="27456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508348D2-E556-49EA-AAA2-B41D9FBD9ABF}"/>
              </a:ext>
            </a:extLst>
          </p:cNvPr>
          <p:cNvGraphicFramePr>
            <a:graphicFrameLocks/>
          </p:cNvGraphicFramePr>
          <p:nvPr/>
        </p:nvGraphicFramePr>
        <p:xfrm>
          <a:off x="1473669" y="879663"/>
          <a:ext cx="5575358" cy="2745604"/>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D4FF9F6C-B077-4430-8F0D-1DB31AB2137F}"/>
              </a:ext>
            </a:extLst>
          </p:cNvPr>
          <p:cNvSpPr txBox="1"/>
          <p:nvPr/>
        </p:nvSpPr>
        <p:spPr>
          <a:xfrm>
            <a:off x="1524270" y="3174119"/>
            <a:ext cx="693066" cy="254363"/>
          </a:xfrm>
          <a:prstGeom prst="rect">
            <a:avLst/>
          </a:prstGeom>
          <a:noFill/>
        </p:spPr>
        <p:txBody>
          <a:bodyPr wrap="square" rtlCol="0">
            <a:spAutoFit/>
          </a:bodyPr>
          <a:lstStyle/>
          <a:p>
            <a:r>
              <a:rPr lang="en-US" sz="1020" b="1" u="sng" dirty="0"/>
              <a:t>Chart A</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699204" y="234865"/>
            <a:ext cx="8793595" cy="502317"/>
          </a:xfrm>
          <a:prstGeom prst="rect">
            <a:avLst/>
          </a:prstGeom>
          <a:noFill/>
          <a:ln>
            <a:noFill/>
          </a:ln>
        </p:spPr>
        <p:txBody>
          <a:bodyPr spcFirstLastPara="1" wrap="square" lIns="0" tIns="0" rIns="0" bIns="0" anchor="t" anchorCtr="0">
            <a:spAutoFit/>
          </a:bodyPr>
          <a:lstStyle/>
          <a:p>
            <a:r>
              <a:rPr lang="en-AU" sz="1632" dirty="0"/>
              <a:t>Predictive model to map out potential Pump Failure Indication. Important to take into Account of Pump Failure Indicators with Predictive Model.</a:t>
            </a:r>
            <a:endParaRPr lang="en-US" dirty="0"/>
          </a:p>
        </p:txBody>
      </p:sp>
      <p:sp>
        <p:nvSpPr>
          <p:cNvPr id="71" name="Google Shape;71;p2"/>
          <p:cNvSpPr/>
          <p:nvPr/>
        </p:nvSpPr>
        <p:spPr>
          <a:xfrm>
            <a:off x="2074678" y="6617660"/>
            <a:ext cx="2502739" cy="219714"/>
          </a:xfrm>
          <a:prstGeom prst="rect">
            <a:avLst/>
          </a:prstGeom>
          <a:noFill/>
          <a:ln>
            <a:noFill/>
          </a:ln>
        </p:spPr>
        <p:txBody>
          <a:bodyPr spcFirstLastPara="1" wrap="square" lIns="93282" tIns="46628" rIns="93282" bIns="46628" anchor="t" anchorCtr="0">
            <a:spAutoFit/>
          </a:bodyPr>
          <a:lstStyle/>
          <a:p>
            <a:r>
              <a:rPr lang="en-AU" sz="816" b="1">
                <a:solidFill>
                  <a:schemeClr val="dk1"/>
                </a:solidFill>
                <a:latin typeface="Arial"/>
                <a:ea typeface="Arial"/>
                <a:cs typeface="Arial"/>
                <a:sym typeface="Arial"/>
              </a:rPr>
              <a:t>Source: </a:t>
            </a:r>
            <a:r>
              <a:rPr lang="en-AU" sz="816">
                <a:solidFill>
                  <a:schemeClr val="dk1"/>
                </a:solidFill>
                <a:latin typeface="Arial"/>
                <a:ea typeface="Arial"/>
                <a:cs typeface="Arial"/>
                <a:sym typeface="Arial"/>
              </a:rPr>
              <a:t>Southern Water Corp Statistical Records</a:t>
            </a:r>
            <a:endParaRPr sz="1837"/>
          </a:p>
        </p:txBody>
      </p:sp>
      <p:sp>
        <p:nvSpPr>
          <p:cNvPr id="72" name="Google Shape;72;p2"/>
          <p:cNvSpPr txBox="1"/>
          <p:nvPr/>
        </p:nvSpPr>
        <p:spPr>
          <a:xfrm>
            <a:off x="6633141" y="1061357"/>
            <a:ext cx="1562449" cy="318371"/>
          </a:xfrm>
          <a:prstGeom prst="rect">
            <a:avLst/>
          </a:prstGeom>
          <a:noFill/>
          <a:ln>
            <a:noFill/>
          </a:ln>
        </p:spPr>
        <p:txBody>
          <a:bodyPr spcFirstLastPara="1" wrap="square" lIns="93282" tIns="46628" rIns="93282" bIns="46628" anchor="t" anchorCtr="0">
            <a:spAutoFit/>
          </a:bodyPr>
          <a:lstStyle/>
          <a:p>
            <a:r>
              <a:rPr lang="en-AU" sz="1428" b="1">
                <a:solidFill>
                  <a:schemeClr val="dk1"/>
                </a:solidFill>
                <a:latin typeface="Arial"/>
                <a:ea typeface="Arial"/>
                <a:cs typeface="Arial"/>
                <a:sym typeface="Arial"/>
              </a:rPr>
              <a:t>Key Insights</a:t>
            </a:r>
            <a:endParaRPr sz="1837"/>
          </a:p>
        </p:txBody>
      </p:sp>
      <p:sp>
        <p:nvSpPr>
          <p:cNvPr id="73" name="Google Shape;73;p2"/>
          <p:cNvSpPr txBox="1"/>
          <p:nvPr/>
        </p:nvSpPr>
        <p:spPr>
          <a:xfrm>
            <a:off x="6717446" y="1432179"/>
            <a:ext cx="3405914" cy="3486634"/>
          </a:xfrm>
          <a:prstGeom prst="rect">
            <a:avLst/>
          </a:prstGeom>
          <a:noFill/>
          <a:ln>
            <a:noFill/>
          </a:ln>
        </p:spPr>
        <p:txBody>
          <a:bodyPr spcFirstLastPara="1" wrap="square" lIns="93282" tIns="46628" rIns="93282" bIns="46628" anchor="t" anchorCtr="0">
            <a:spAutoFit/>
          </a:bodyPr>
          <a:lstStyle/>
          <a:p>
            <a:pPr marL="342900" indent="-342900">
              <a:buFont typeface="Arial" panose="020B0604020202020204" pitchFamily="34" charset="0"/>
              <a:buChar char="•"/>
            </a:pPr>
            <a:r>
              <a:rPr lang="en-US" sz="1837" dirty="0">
                <a:solidFill>
                  <a:schemeClr val="dk1"/>
                </a:solidFill>
              </a:rPr>
              <a:t>Further analysis of pump failure indicators there are several instances where pump failure may occur due to our predictive model.</a:t>
            </a:r>
          </a:p>
          <a:p>
            <a:pPr marL="342900" indent="-342900">
              <a:buFont typeface="Arial" panose="020B0604020202020204" pitchFamily="34" charset="0"/>
              <a:buChar char="•"/>
            </a:pPr>
            <a:r>
              <a:rPr lang="en-US" sz="1837" dirty="0">
                <a:solidFill>
                  <a:schemeClr val="dk1"/>
                </a:solidFill>
              </a:rPr>
              <a:t>Will need to take into account previously shown pump failure variable indicators to match with pump failure instances.</a:t>
            </a:r>
          </a:p>
          <a:p>
            <a:endParaRPr lang="en-US" sz="1837" dirty="0">
              <a:solidFill>
                <a:schemeClr val="dk1"/>
              </a:solidFill>
            </a:endParaRPr>
          </a:p>
        </p:txBody>
      </p:sp>
      <p:sp>
        <p:nvSpPr>
          <p:cNvPr id="74" name="Google Shape;74;p2"/>
          <p:cNvSpPr/>
          <p:nvPr/>
        </p:nvSpPr>
        <p:spPr>
          <a:xfrm>
            <a:off x="6717446" y="1383071"/>
            <a:ext cx="3405914" cy="4934165"/>
          </a:xfrm>
          <a:prstGeom prst="rect">
            <a:avLst/>
          </a:prstGeom>
          <a:noFill/>
          <a:ln w="19050" cap="flat" cmpd="sng">
            <a:solidFill>
              <a:schemeClr val="accent1"/>
            </a:solidFill>
            <a:prstDash val="solid"/>
            <a:round/>
            <a:headEnd type="none" w="sm" len="sm"/>
            <a:tailEnd type="none" w="sm" len="sm"/>
          </a:ln>
        </p:spPr>
        <p:txBody>
          <a:bodyPr spcFirstLastPara="1" wrap="square" lIns="93282" tIns="46628" rIns="93282" bIns="46628" anchor="ctr" anchorCtr="0">
            <a:noAutofit/>
          </a:bodyPr>
          <a:lstStyle/>
          <a:p>
            <a:pPr algn="ctr"/>
            <a:endParaRPr sz="1632">
              <a:solidFill>
                <a:schemeClr val="dk1"/>
              </a:solidFill>
              <a:latin typeface="Arial"/>
              <a:ea typeface="Arial"/>
              <a:cs typeface="Arial"/>
              <a:sym typeface="Arial"/>
            </a:endParaRPr>
          </a:p>
        </p:txBody>
      </p:sp>
      <p:cxnSp>
        <p:nvCxnSpPr>
          <p:cNvPr id="81" name="Google Shape;81;p2"/>
          <p:cNvCxnSpPr>
            <a:cxnSpLocks/>
          </p:cNvCxnSpPr>
          <p:nvPr/>
        </p:nvCxnSpPr>
        <p:spPr>
          <a:xfrm rot="-5400000" flipH="1">
            <a:off x="8855989" y="5057704"/>
            <a:ext cx="113561" cy="610350"/>
          </a:xfrm>
          <a:prstGeom prst="bentConnector3">
            <a:avLst>
              <a:gd name="adj1" fmla="val 50009"/>
            </a:avLst>
          </a:prstGeom>
          <a:noFill/>
          <a:ln w="12700" cap="flat" cmpd="sng">
            <a:solidFill>
              <a:schemeClr val="lt1"/>
            </a:solidFill>
            <a:prstDash val="solid"/>
            <a:miter lim="800000"/>
            <a:headEnd type="none" w="med" len="med"/>
            <a:tailEnd type="none" w="med" len="med"/>
          </a:ln>
        </p:spPr>
      </p:cxnSp>
      <p:cxnSp>
        <p:nvCxnSpPr>
          <p:cNvPr id="82" name="Google Shape;82;p2"/>
          <p:cNvCxnSpPr>
            <a:cxnSpLocks/>
          </p:cNvCxnSpPr>
          <p:nvPr/>
        </p:nvCxnSpPr>
        <p:spPr>
          <a:xfrm flipH="1">
            <a:off x="8606676" y="5306098"/>
            <a:ext cx="918" cy="113561"/>
          </a:xfrm>
          <a:prstGeom prst="straightConnector1">
            <a:avLst/>
          </a:prstGeom>
          <a:noFill/>
          <a:ln w="12700" cap="flat" cmpd="sng">
            <a:solidFill>
              <a:schemeClr val="lt1"/>
            </a:solidFill>
            <a:prstDash val="solid"/>
            <a:round/>
            <a:headEnd type="none" w="sm" len="sm"/>
            <a:tailEnd type="none" w="sm" len="sm"/>
          </a:ln>
        </p:spPr>
      </p:cxnSp>
      <p:graphicFrame>
        <p:nvGraphicFramePr>
          <p:cNvPr id="16" name="Chart 15">
            <a:extLst>
              <a:ext uri="{FF2B5EF4-FFF2-40B4-BE49-F238E27FC236}">
                <a16:creationId xmlns:a16="http://schemas.microsoft.com/office/drawing/2014/main" id="{F4D3D908-1EB8-4469-A6DD-A5673A02C759}"/>
              </a:ext>
            </a:extLst>
          </p:cNvPr>
          <p:cNvGraphicFramePr>
            <a:graphicFrameLocks/>
          </p:cNvGraphicFramePr>
          <p:nvPr/>
        </p:nvGraphicFramePr>
        <p:xfrm>
          <a:off x="1524271" y="959630"/>
          <a:ext cx="5108870" cy="5130336"/>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3E0A7-F4EE-493D-9548-D1AD9D09CD29}"/>
              </a:ext>
            </a:extLst>
          </p:cNvPr>
          <p:cNvSpPr>
            <a:spLocks noGrp="1"/>
          </p:cNvSpPr>
          <p:nvPr>
            <p:ph type="title"/>
          </p:nvPr>
        </p:nvSpPr>
        <p:spPr>
          <a:xfrm>
            <a:off x="1699205" y="234866"/>
            <a:ext cx="8793596" cy="384553"/>
          </a:xfrm>
        </p:spPr>
        <p:txBody>
          <a:bodyPr/>
          <a:lstStyle/>
          <a:p>
            <a:r>
              <a:rPr lang="en-US" sz="2449" dirty="0">
                <a:solidFill>
                  <a:schemeClr val="tx1"/>
                </a:solidFill>
              </a:rPr>
              <a:t>Summary Of Findings</a:t>
            </a:r>
          </a:p>
        </p:txBody>
      </p:sp>
      <p:sp>
        <p:nvSpPr>
          <p:cNvPr id="3" name="Text Placeholder 2">
            <a:extLst>
              <a:ext uri="{FF2B5EF4-FFF2-40B4-BE49-F238E27FC236}">
                <a16:creationId xmlns:a16="http://schemas.microsoft.com/office/drawing/2014/main" id="{7BE83169-269D-4164-980A-5C7B2F3E38A9}"/>
              </a:ext>
            </a:extLst>
          </p:cNvPr>
          <p:cNvSpPr>
            <a:spLocks noGrp="1"/>
          </p:cNvSpPr>
          <p:nvPr>
            <p:ph type="body" idx="1"/>
          </p:nvPr>
        </p:nvSpPr>
        <p:spPr>
          <a:xfrm>
            <a:off x="1706492" y="1134278"/>
            <a:ext cx="8418902" cy="3013902"/>
          </a:xfrm>
        </p:spPr>
        <p:txBody>
          <a:bodyPr/>
          <a:lstStyle/>
          <a:p>
            <a:endParaRPr lang="en-US" sz="1632" b="1" dirty="0">
              <a:solidFill>
                <a:schemeClr val="tx1"/>
              </a:solidFill>
            </a:endParaRPr>
          </a:p>
          <a:p>
            <a:pPr marL="518990" indent="-285750">
              <a:buFont typeface="Arial" panose="020B0604020202020204" pitchFamily="34" charset="0"/>
              <a:buChar char="•"/>
            </a:pPr>
            <a:r>
              <a:rPr lang="en-US" sz="1632" dirty="0">
                <a:solidFill>
                  <a:schemeClr val="tx1"/>
                </a:solidFill>
              </a:rPr>
              <a:t>Pump Failure has shown to be correlated with key several indicators that will need to be taken into account when developing future maintenance schedules</a:t>
            </a:r>
          </a:p>
          <a:p>
            <a:pPr marL="518990" indent="-285750">
              <a:buFont typeface="Arial" panose="020B0604020202020204" pitchFamily="34" charset="0"/>
              <a:buChar char="•"/>
            </a:pPr>
            <a:r>
              <a:rPr lang="en-US" sz="1632" dirty="0">
                <a:solidFill>
                  <a:schemeClr val="tx1"/>
                </a:solidFill>
              </a:rPr>
              <a:t>Rising Costs to Produce are forecasted to outweigh our actual production Cost to Produce which will need to be factored in when considering our rising Revenue intake.</a:t>
            </a:r>
          </a:p>
          <a:p>
            <a:endParaRPr lang="en-US" sz="1632" dirty="0">
              <a:solidFill>
                <a:schemeClr val="tx1"/>
              </a:solidFill>
            </a:endParaRPr>
          </a:p>
          <a:p>
            <a:r>
              <a:rPr lang="en-US" sz="1632" b="1" u="sng" dirty="0">
                <a:solidFill>
                  <a:schemeClr val="tx1"/>
                </a:solidFill>
              </a:rPr>
              <a:t>RECOMMENDATIONS</a:t>
            </a:r>
          </a:p>
          <a:p>
            <a:r>
              <a:rPr lang="en-US" sz="1632" dirty="0">
                <a:solidFill>
                  <a:schemeClr val="tx1"/>
                </a:solidFill>
              </a:rPr>
              <a:t>* Re-evaluate our most cost heavy production centers and develop </a:t>
            </a:r>
            <a:r>
              <a:rPr lang="en-US" sz="1632" dirty="0" err="1">
                <a:solidFill>
                  <a:schemeClr val="tx1"/>
                </a:solidFill>
              </a:rPr>
              <a:t>transistion</a:t>
            </a:r>
            <a:r>
              <a:rPr lang="en-US" sz="1632" dirty="0">
                <a:solidFill>
                  <a:schemeClr val="tx1"/>
                </a:solidFill>
              </a:rPr>
              <a:t> plan to utilize more efficient water production plants.</a:t>
            </a:r>
          </a:p>
          <a:p>
            <a:r>
              <a:rPr lang="en-US" sz="1632" dirty="0">
                <a:solidFill>
                  <a:schemeClr val="tx1"/>
                </a:solidFill>
              </a:rPr>
              <a:t>* Develop an effective plant maintenance schedule based on pump failure indicators. Potentially develop a new test warning system to further predict future issues.</a:t>
            </a:r>
          </a:p>
        </p:txBody>
      </p:sp>
    </p:spTree>
    <p:extLst>
      <p:ext uri="{BB962C8B-B14F-4D97-AF65-F5344CB8AC3E}">
        <p14:creationId xmlns:p14="http://schemas.microsoft.com/office/powerpoint/2010/main" val="3830905761"/>
      </p:ext>
    </p:extLst>
  </p:cSld>
  <p:clrMapOvr>
    <a:masterClrMapping/>
  </p:clrMapOvr>
</p:sld>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2</TotalTime>
  <Words>736</Words>
  <Application>Microsoft Office PowerPoint</Application>
  <PresentationFormat>Widescreen</PresentationFormat>
  <Paragraphs>78</Paragraphs>
  <Slides>8</Slides>
  <Notes>7</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Calibri Light</vt:lpstr>
      <vt:lpstr>Noto Sans Symbols</vt:lpstr>
      <vt:lpstr>Quattrocento Sans</vt:lpstr>
      <vt:lpstr>Office Theme</vt:lpstr>
      <vt:lpstr>1_Synergy_CF_YNR002</vt:lpstr>
      <vt:lpstr>Synergy_CF_YNR002</vt:lpstr>
      <vt:lpstr>TCLayout.ActiveDocument.1</vt:lpstr>
      <vt:lpstr>Southern Water Corp – Non-Technical Presentation</vt:lpstr>
      <vt:lpstr>Southern Water Corp has been experiencing issues with their Surjek Desalination Plants due to increased demand from agricultural and residential usage. This in turn has led to production issues in regards to Plant Maintenance</vt:lpstr>
      <vt:lpstr>Production costs are forecasted to rise significantly beginning in November and peak at April. Notice the individual plant breakdowns below the Overall figure. Kootha and Surjek show the most increase in Forecasted costs.</vt:lpstr>
      <vt:lpstr>When weighed against the Market Price, Jutik has shown to be the most cost efficient. Surjek cost of production significantly outweigh the other plants.</vt:lpstr>
      <vt:lpstr>Several indicators have shown a relationship to pump failure. Notice the value change from Non-pump failure to Pump Failure.</vt:lpstr>
      <vt:lpstr>Several Surjek pump variables that have shown correlation to pump failure, some higher than others.</vt:lpstr>
      <vt:lpstr>Predictive model to map out potential Pump Failure Indication. Important to take into Account of Pump Failure Indicators with Predictive Model.</vt:lpstr>
      <vt:lpstr>Summary Of Finding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Non-Technical Presentation</dc:title>
  <dc:creator>Derick Lai</dc:creator>
  <cp:lastModifiedBy>Derick Lai</cp:lastModifiedBy>
  <cp:revision>7</cp:revision>
  <dcterms:created xsi:type="dcterms:W3CDTF">2020-05-21T12:35:37Z</dcterms:created>
  <dcterms:modified xsi:type="dcterms:W3CDTF">2020-05-21T13:08:08Z</dcterms:modified>
</cp:coreProperties>
</file>